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3.xml" ContentType="application/vnd.openxmlformats-officedocument.theme+xml"/>
  <Override PartName="/ppt/slideLayouts/slideLayout92.xml" ContentType="application/vnd.openxmlformats-officedocument.presentationml.slideLayout+xml"/>
  <Override PartName="/ppt/theme/theme4.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5.xml" ContentType="application/vnd.openxmlformats-officedocument.them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theme/theme6.xml" ContentType="application/vnd.openxmlformats-officedocument.theme+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 id="2147483657" r:id="rId2"/>
    <p:sldMasterId id="2147483997" r:id="rId3"/>
    <p:sldMasterId id="2147484017" r:id="rId4"/>
    <p:sldMasterId id="2147484019" r:id="rId5"/>
    <p:sldMasterId id="2147484087" r:id="rId6"/>
  </p:sldMasterIdLst>
  <p:notesMasterIdLst>
    <p:notesMasterId r:id="rId30"/>
  </p:notesMasterIdLst>
  <p:handoutMasterIdLst>
    <p:handoutMasterId r:id="rId31"/>
  </p:handoutMasterIdLst>
  <p:sldIdLst>
    <p:sldId id="292" r:id="rId7"/>
    <p:sldId id="257" r:id="rId8"/>
    <p:sldId id="419" r:id="rId9"/>
    <p:sldId id="259" r:id="rId10"/>
    <p:sldId id="260" r:id="rId11"/>
    <p:sldId id="418" r:id="rId12"/>
    <p:sldId id="263" r:id="rId13"/>
    <p:sldId id="264" r:id="rId14"/>
    <p:sldId id="262" r:id="rId15"/>
    <p:sldId id="269" r:id="rId16"/>
    <p:sldId id="270" r:id="rId17"/>
    <p:sldId id="267" r:id="rId18"/>
    <p:sldId id="268" r:id="rId19"/>
    <p:sldId id="375" r:id="rId20"/>
    <p:sldId id="320" r:id="rId21"/>
    <p:sldId id="271" r:id="rId22"/>
    <p:sldId id="323" r:id="rId23"/>
    <p:sldId id="412" r:id="rId24"/>
    <p:sldId id="430" r:id="rId25"/>
    <p:sldId id="274" r:id="rId26"/>
    <p:sldId id="324" r:id="rId27"/>
    <p:sldId id="325" r:id="rId28"/>
    <p:sldId id="442" r:id="rId29"/>
  </p:sldIdLst>
  <p:sldSz cx="24384000" cy="13716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4200" b="1" i="0" u="none" strike="noStrike" cap="small" spc="0" normalizeH="0" baseline="0">
        <a:ln>
          <a:noFill/>
        </a:ln>
        <a:solidFill>
          <a:schemeClr val="accent3"/>
        </a:solidFill>
        <a:effectLst>
          <a:outerShdw blurRad="12700" dist="12700" dir="18900000" rotWithShape="0">
            <a:srgbClr val="000000">
              <a:alpha val="40000"/>
            </a:srgbClr>
          </a:outerShdw>
        </a:effectLst>
        <a:uFillTx/>
        <a:latin typeface="Trebuchet MS"/>
        <a:ea typeface="Trebuchet MS"/>
        <a:cs typeface="Trebuchet MS"/>
        <a:sym typeface="Trebuchet MS"/>
      </a:defRPr>
    </a:lvl1pPr>
    <a:lvl2pPr marL="0" marR="0" indent="0" algn="ctr" defTabSz="825500" rtl="0" fontAlgn="auto" latinLnBrk="0" hangingPunct="0">
      <a:lnSpc>
        <a:spcPct val="100000"/>
      </a:lnSpc>
      <a:spcBef>
        <a:spcPts val="0"/>
      </a:spcBef>
      <a:spcAft>
        <a:spcPts val="0"/>
      </a:spcAft>
      <a:buClrTx/>
      <a:buSzTx/>
      <a:buFontTx/>
      <a:buNone/>
      <a:tabLst/>
      <a:defRPr kumimoji="0" sz="4200" b="1" i="0" u="none" strike="noStrike" cap="small" spc="0" normalizeH="0" baseline="0">
        <a:ln>
          <a:noFill/>
        </a:ln>
        <a:solidFill>
          <a:schemeClr val="accent3"/>
        </a:solidFill>
        <a:effectLst>
          <a:outerShdw blurRad="12700" dist="12700" dir="18900000" rotWithShape="0">
            <a:srgbClr val="000000">
              <a:alpha val="40000"/>
            </a:srgbClr>
          </a:outerShdw>
        </a:effectLst>
        <a:uFillTx/>
        <a:latin typeface="Trebuchet MS"/>
        <a:ea typeface="Trebuchet MS"/>
        <a:cs typeface="Trebuchet MS"/>
        <a:sym typeface="Trebuchet MS"/>
      </a:defRPr>
    </a:lvl2pPr>
    <a:lvl3pPr marL="0" marR="0" indent="0" algn="ctr" defTabSz="825500" rtl="0" fontAlgn="auto" latinLnBrk="0" hangingPunct="0">
      <a:lnSpc>
        <a:spcPct val="100000"/>
      </a:lnSpc>
      <a:spcBef>
        <a:spcPts val="0"/>
      </a:spcBef>
      <a:spcAft>
        <a:spcPts val="0"/>
      </a:spcAft>
      <a:buClrTx/>
      <a:buSzTx/>
      <a:buFontTx/>
      <a:buNone/>
      <a:tabLst/>
      <a:defRPr kumimoji="0" sz="4200" b="1" i="0" u="none" strike="noStrike" cap="small" spc="0" normalizeH="0" baseline="0">
        <a:ln>
          <a:noFill/>
        </a:ln>
        <a:solidFill>
          <a:schemeClr val="accent3"/>
        </a:solidFill>
        <a:effectLst>
          <a:outerShdw blurRad="12700" dist="12700" dir="18900000" rotWithShape="0">
            <a:srgbClr val="000000">
              <a:alpha val="40000"/>
            </a:srgbClr>
          </a:outerShdw>
        </a:effectLst>
        <a:uFillTx/>
        <a:latin typeface="Trebuchet MS"/>
        <a:ea typeface="Trebuchet MS"/>
        <a:cs typeface="Trebuchet MS"/>
        <a:sym typeface="Trebuchet MS"/>
      </a:defRPr>
    </a:lvl3pPr>
    <a:lvl4pPr marL="0" marR="0" indent="0" algn="ctr" defTabSz="825500" rtl="0" fontAlgn="auto" latinLnBrk="0" hangingPunct="0">
      <a:lnSpc>
        <a:spcPct val="100000"/>
      </a:lnSpc>
      <a:spcBef>
        <a:spcPts val="0"/>
      </a:spcBef>
      <a:spcAft>
        <a:spcPts val="0"/>
      </a:spcAft>
      <a:buClrTx/>
      <a:buSzTx/>
      <a:buFontTx/>
      <a:buNone/>
      <a:tabLst/>
      <a:defRPr kumimoji="0" sz="4200" b="1" i="0" u="none" strike="noStrike" cap="small" spc="0" normalizeH="0" baseline="0">
        <a:ln>
          <a:noFill/>
        </a:ln>
        <a:solidFill>
          <a:schemeClr val="accent3"/>
        </a:solidFill>
        <a:effectLst>
          <a:outerShdw blurRad="12700" dist="12700" dir="18900000" rotWithShape="0">
            <a:srgbClr val="000000">
              <a:alpha val="40000"/>
            </a:srgbClr>
          </a:outerShdw>
        </a:effectLst>
        <a:uFillTx/>
        <a:latin typeface="Trebuchet MS"/>
        <a:ea typeface="Trebuchet MS"/>
        <a:cs typeface="Trebuchet MS"/>
        <a:sym typeface="Trebuchet MS"/>
      </a:defRPr>
    </a:lvl4pPr>
    <a:lvl5pPr marL="0" marR="0" indent="0" algn="ctr" defTabSz="825500" rtl="0" fontAlgn="auto" latinLnBrk="0" hangingPunct="0">
      <a:lnSpc>
        <a:spcPct val="100000"/>
      </a:lnSpc>
      <a:spcBef>
        <a:spcPts val="0"/>
      </a:spcBef>
      <a:spcAft>
        <a:spcPts val="0"/>
      </a:spcAft>
      <a:buClrTx/>
      <a:buSzTx/>
      <a:buFontTx/>
      <a:buNone/>
      <a:tabLst/>
      <a:defRPr kumimoji="0" sz="4200" b="1" i="0" u="none" strike="noStrike" cap="small" spc="0" normalizeH="0" baseline="0">
        <a:ln>
          <a:noFill/>
        </a:ln>
        <a:solidFill>
          <a:schemeClr val="accent3"/>
        </a:solidFill>
        <a:effectLst>
          <a:outerShdw blurRad="12700" dist="12700" dir="18900000" rotWithShape="0">
            <a:srgbClr val="000000">
              <a:alpha val="40000"/>
            </a:srgbClr>
          </a:outerShdw>
        </a:effectLst>
        <a:uFillTx/>
        <a:latin typeface="Trebuchet MS"/>
        <a:ea typeface="Trebuchet MS"/>
        <a:cs typeface="Trebuchet MS"/>
        <a:sym typeface="Trebuchet MS"/>
      </a:defRPr>
    </a:lvl5pPr>
    <a:lvl6pPr marL="0" marR="0" indent="0" algn="ctr" defTabSz="825500" rtl="0" fontAlgn="auto" latinLnBrk="0" hangingPunct="0">
      <a:lnSpc>
        <a:spcPct val="100000"/>
      </a:lnSpc>
      <a:spcBef>
        <a:spcPts val="0"/>
      </a:spcBef>
      <a:spcAft>
        <a:spcPts val="0"/>
      </a:spcAft>
      <a:buClrTx/>
      <a:buSzTx/>
      <a:buFontTx/>
      <a:buNone/>
      <a:tabLst/>
      <a:defRPr kumimoji="0" sz="4200" b="1" i="0" u="none" strike="noStrike" cap="small" spc="0" normalizeH="0" baseline="0">
        <a:ln>
          <a:noFill/>
        </a:ln>
        <a:solidFill>
          <a:schemeClr val="accent3"/>
        </a:solidFill>
        <a:effectLst>
          <a:outerShdw blurRad="12700" dist="12700" dir="18900000" rotWithShape="0">
            <a:srgbClr val="000000">
              <a:alpha val="40000"/>
            </a:srgbClr>
          </a:outerShdw>
        </a:effectLst>
        <a:uFillTx/>
        <a:latin typeface="Trebuchet MS"/>
        <a:ea typeface="Trebuchet MS"/>
        <a:cs typeface="Trebuchet MS"/>
        <a:sym typeface="Trebuchet MS"/>
      </a:defRPr>
    </a:lvl6pPr>
    <a:lvl7pPr marL="0" marR="0" indent="0" algn="ctr" defTabSz="825500" rtl="0" fontAlgn="auto" latinLnBrk="0" hangingPunct="0">
      <a:lnSpc>
        <a:spcPct val="100000"/>
      </a:lnSpc>
      <a:spcBef>
        <a:spcPts val="0"/>
      </a:spcBef>
      <a:spcAft>
        <a:spcPts val="0"/>
      </a:spcAft>
      <a:buClrTx/>
      <a:buSzTx/>
      <a:buFontTx/>
      <a:buNone/>
      <a:tabLst/>
      <a:defRPr kumimoji="0" sz="4200" b="1" i="0" u="none" strike="noStrike" cap="small" spc="0" normalizeH="0" baseline="0">
        <a:ln>
          <a:noFill/>
        </a:ln>
        <a:solidFill>
          <a:schemeClr val="accent3"/>
        </a:solidFill>
        <a:effectLst>
          <a:outerShdw blurRad="12700" dist="12700" dir="18900000" rotWithShape="0">
            <a:srgbClr val="000000">
              <a:alpha val="40000"/>
            </a:srgbClr>
          </a:outerShdw>
        </a:effectLst>
        <a:uFillTx/>
        <a:latin typeface="Trebuchet MS"/>
        <a:ea typeface="Trebuchet MS"/>
        <a:cs typeface="Trebuchet MS"/>
        <a:sym typeface="Trebuchet MS"/>
      </a:defRPr>
    </a:lvl7pPr>
    <a:lvl8pPr marL="0" marR="0" indent="0" algn="ctr" defTabSz="825500" rtl="0" fontAlgn="auto" latinLnBrk="0" hangingPunct="0">
      <a:lnSpc>
        <a:spcPct val="100000"/>
      </a:lnSpc>
      <a:spcBef>
        <a:spcPts val="0"/>
      </a:spcBef>
      <a:spcAft>
        <a:spcPts val="0"/>
      </a:spcAft>
      <a:buClrTx/>
      <a:buSzTx/>
      <a:buFontTx/>
      <a:buNone/>
      <a:tabLst/>
      <a:defRPr kumimoji="0" sz="4200" b="1" i="0" u="none" strike="noStrike" cap="small" spc="0" normalizeH="0" baseline="0">
        <a:ln>
          <a:noFill/>
        </a:ln>
        <a:solidFill>
          <a:schemeClr val="accent3"/>
        </a:solidFill>
        <a:effectLst>
          <a:outerShdw blurRad="12700" dist="12700" dir="18900000" rotWithShape="0">
            <a:srgbClr val="000000">
              <a:alpha val="40000"/>
            </a:srgbClr>
          </a:outerShdw>
        </a:effectLst>
        <a:uFillTx/>
        <a:latin typeface="Trebuchet MS"/>
        <a:ea typeface="Trebuchet MS"/>
        <a:cs typeface="Trebuchet MS"/>
        <a:sym typeface="Trebuchet MS"/>
      </a:defRPr>
    </a:lvl8pPr>
    <a:lvl9pPr marL="0" marR="0" indent="0" algn="ctr" defTabSz="825500" rtl="0" fontAlgn="auto" latinLnBrk="0" hangingPunct="0">
      <a:lnSpc>
        <a:spcPct val="100000"/>
      </a:lnSpc>
      <a:spcBef>
        <a:spcPts val="0"/>
      </a:spcBef>
      <a:spcAft>
        <a:spcPts val="0"/>
      </a:spcAft>
      <a:buClrTx/>
      <a:buSzTx/>
      <a:buFontTx/>
      <a:buNone/>
      <a:tabLst/>
      <a:defRPr kumimoji="0" sz="4200" b="1" i="0" u="none" strike="noStrike" cap="small" spc="0" normalizeH="0" baseline="0">
        <a:ln>
          <a:noFill/>
        </a:ln>
        <a:solidFill>
          <a:schemeClr val="accent3"/>
        </a:solidFill>
        <a:effectLst>
          <a:outerShdw blurRad="12700" dist="12700" dir="18900000" rotWithShape="0">
            <a:srgbClr val="000000">
              <a:alpha val="40000"/>
            </a:srgbClr>
          </a:outerShdw>
        </a:effectLst>
        <a:uFillTx/>
        <a:latin typeface="Trebuchet MS"/>
        <a:ea typeface="Trebuchet MS"/>
        <a:cs typeface="Trebuchet MS"/>
        <a:sym typeface="Trebuchet M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22BF00"/>
    <a:srgbClr val="4F81BD"/>
    <a:srgbClr val="F8A72C"/>
    <a:srgbClr val="CB7246"/>
    <a:srgbClr val="3A608F"/>
    <a:srgbClr val="FBCD87"/>
    <a:srgbClr val="1A77B9"/>
    <a:srgbClr val="00AEEF"/>
    <a:srgbClr val="F8AE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252D30"/>
        </a:fontRef>
        <a:srgbClr val="252D30"/>
      </a:tcTxStyle>
      <a:tcStyle>
        <a:tcBdr>
          <a:left>
            <a:ln w="12700" cap="flat">
              <a:solidFill>
                <a:srgbClr val="FEFCFF"/>
              </a:solidFill>
              <a:prstDash val="solid"/>
              <a:round/>
            </a:ln>
          </a:left>
          <a:right>
            <a:ln w="12700" cap="flat">
              <a:solidFill>
                <a:srgbClr val="FEFCFF"/>
              </a:solidFill>
              <a:prstDash val="solid"/>
              <a:round/>
            </a:ln>
          </a:right>
          <a:top>
            <a:ln w="12700" cap="flat">
              <a:solidFill>
                <a:srgbClr val="FEFCFF"/>
              </a:solidFill>
              <a:prstDash val="solid"/>
              <a:round/>
            </a:ln>
          </a:top>
          <a:bottom>
            <a:ln w="12700" cap="flat">
              <a:solidFill>
                <a:srgbClr val="FEFCFF"/>
              </a:solidFill>
              <a:prstDash val="solid"/>
              <a:round/>
            </a:ln>
          </a:bottom>
          <a:insideH>
            <a:ln w="12700" cap="flat">
              <a:solidFill>
                <a:srgbClr val="FEFCFF"/>
              </a:solidFill>
              <a:prstDash val="solid"/>
              <a:round/>
            </a:ln>
          </a:insideH>
          <a:insideV>
            <a:ln w="12700" cap="flat">
              <a:solidFill>
                <a:srgbClr val="FEFCFF"/>
              </a:solidFill>
              <a:prstDash val="solid"/>
              <a:round/>
            </a:ln>
          </a:insideV>
        </a:tcBdr>
        <a:fill>
          <a:solidFill>
            <a:srgbClr val="CAD5E8"/>
          </a:solidFill>
        </a:fill>
      </a:tcStyle>
    </a:wholeTbl>
    <a:band2H>
      <a:tcTxStyle/>
      <a:tcStyle>
        <a:tcBdr/>
        <a:fill>
          <a:solidFill>
            <a:srgbClr val="E6EBF4"/>
          </a:solidFill>
        </a:fill>
      </a:tcStyle>
    </a:band2H>
    <a:firstCol>
      <a:tcTxStyle b="on" i="off">
        <a:fontRef idx="minor">
          <a:srgbClr val="FEFCFF"/>
        </a:fontRef>
        <a:srgbClr val="FEFCFF"/>
      </a:tcTxStyle>
      <a:tcStyle>
        <a:tcBdr>
          <a:left>
            <a:ln w="12700" cap="flat">
              <a:solidFill>
                <a:srgbClr val="FEFCFF"/>
              </a:solidFill>
              <a:prstDash val="solid"/>
              <a:round/>
            </a:ln>
          </a:left>
          <a:right>
            <a:ln w="12700" cap="flat">
              <a:solidFill>
                <a:srgbClr val="FEFCFF"/>
              </a:solidFill>
              <a:prstDash val="solid"/>
              <a:round/>
            </a:ln>
          </a:right>
          <a:top>
            <a:ln w="12700" cap="flat">
              <a:solidFill>
                <a:srgbClr val="FEFCFF"/>
              </a:solidFill>
              <a:prstDash val="solid"/>
              <a:round/>
            </a:ln>
          </a:top>
          <a:bottom>
            <a:ln w="12700" cap="flat">
              <a:solidFill>
                <a:srgbClr val="FEFCFF"/>
              </a:solidFill>
              <a:prstDash val="solid"/>
              <a:round/>
            </a:ln>
          </a:bottom>
          <a:insideH>
            <a:ln w="12700" cap="flat">
              <a:solidFill>
                <a:srgbClr val="FEFCFF"/>
              </a:solidFill>
              <a:prstDash val="solid"/>
              <a:round/>
            </a:ln>
          </a:insideH>
          <a:insideV>
            <a:ln w="12700" cap="flat">
              <a:solidFill>
                <a:srgbClr val="FEFCFF"/>
              </a:solidFill>
              <a:prstDash val="solid"/>
              <a:round/>
            </a:ln>
          </a:insideV>
        </a:tcBdr>
        <a:fill>
          <a:solidFill>
            <a:schemeClr val="accent1"/>
          </a:solidFill>
        </a:fill>
      </a:tcStyle>
    </a:firstCol>
    <a:lastRow>
      <a:tcTxStyle b="on" i="off">
        <a:fontRef idx="minor">
          <a:srgbClr val="FEFCFF"/>
        </a:fontRef>
        <a:srgbClr val="FEFCFF"/>
      </a:tcTxStyle>
      <a:tcStyle>
        <a:tcBdr>
          <a:left>
            <a:ln w="12700" cap="flat">
              <a:solidFill>
                <a:srgbClr val="FEFCFF"/>
              </a:solidFill>
              <a:prstDash val="solid"/>
              <a:round/>
            </a:ln>
          </a:left>
          <a:right>
            <a:ln w="12700" cap="flat">
              <a:solidFill>
                <a:srgbClr val="FEFCFF"/>
              </a:solidFill>
              <a:prstDash val="solid"/>
              <a:round/>
            </a:ln>
          </a:right>
          <a:top>
            <a:ln w="38100" cap="flat">
              <a:solidFill>
                <a:srgbClr val="FEFCFF"/>
              </a:solidFill>
              <a:prstDash val="solid"/>
              <a:round/>
            </a:ln>
          </a:top>
          <a:bottom>
            <a:ln w="12700" cap="flat">
              <a:solidFill>
                <a:srgbClr val="FEFCFF"/>
              </a:solidFill>
              <a:prstDash val="solid"/>
              <a:round/>
            </a:ln>
          </a:bottom>
          <a:insideH>
            <a:ln w="12700" cap="flat">
              <a:solidFill>
                <a:srgbClr val="FEFCFF"/>
              </a:solidFill>
              <a:prstDash val="solid"/>
              <a:round/>
            </a:ln>
          </a:insideH>
          <a:insideV>
            <a:ln w="12700" cap="flat">
              <a:solidFill>
                <a:srgbClr val="FEFCFF"/>
              </a:solidFill>
              <a:prstDash val="solid"/>
              <a:round/>
            </a:ln>
          </a:insideV>
        </a:tcBdr>
        <a:fill>
          <a:solidFill>
            <a:schemeClr val="accent1"/>
          </a:solidFill>
        </a:fill>
      </a:tcStyle>
    </a:lastRow>
    <a:firstRow>
      <a:tcTxStyle b="on" i="off">
        <a:fontRef idx="minor">
          <a:srgbClr val="FEFCFF"/>
        </a:fontRef>
        <a:srgbClr val="FEFCFF"/>
      </a:tcTxStyle>
      <a:tcStyle>
        <a:tcBdr>
          <a:left>
            <a:ln w="12700" cap="flat">
              <a:solidFill>
                <a:srgbClr val="FEFCFF"/>
              </a:solidFill>
              <a:prstDash val="solid"/>
              <a:round/>
            </a:ln>
          </a:left>
          <a:right>
            <a:ln w="12700" cap="flat">
              <a:solidFill>
                <a:srgbClr val="FEFCFF"/>
              </a:solidFill>
              <a:prstDash val="solid"/>
              <a:round/>
            </a:ln>
          </a:right>
          <a:top>
            <a:ln w="12700" cap="flat">
              <a:solidFill>
                <a:srgbClr val="FEFCFF"/>
              </a:solidFill>
              <a:prstDash val="solid"/>
              <a:round/>
            </a:ln>
          </a:top>
          <a:bottom>
            <a:ln w="38100" cap="flat">
              <a:solidFill>
                <a:srgbClr val="FEFCFF"/>
              </a:solidFill>
              <a:prstDash val="solid"/>
              <a:round/>
            </a:ln>
          </a:bottom>
          <a:insideH>
            <a:ln w="12700" cap="flat">
              <a:solidFill>
                <a:srgbClr val="FEFCFF"/>
              </a:solidFill>
              <a:prstDash val="solid"/>
              <a:round/>
            </a:ln>
          </a:insideH>
          <a:insideV>
            <a:ln w="12700" cap="flat">
              <a:solidFill>
                <a:srgbClr val="FEFCFF"/>
              </a:solidFill>
              <a:prstDash val="solid"/>
              <a:round/>
            </a:ln>
          </a:insideV>
        </a:tcBdr>
        <a:fill>
          <a:solidFill>
            <a:schemeClr val="accent1"/>
          </a:solidFill>
        </a:fill>
      </a:tcStyle>
    </a:firstRow>
  </a:tblStyle>
  <a:tblStyle styleId="{C7B018BB-80A7-4F77-B60F-C8B233D01FF8}" styleName="">
    <a:tblBg/>
    <a:wholeTbl>
      <a:tcTxStyle b="off" i="off">
        <a:fontRef idx="minor">
          <a:srgbClr val="252D30"/>
        </a:fontRef>
        <a:srgbClr val="252D3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D1DB"/>
          </a:solidFill>
        </a:fill>
      </a:tcStyle>
    </a:wholeTbl>
    <a:band2H>
      <a:tcTxStyle/>
      <a:tcStyle>
        <a:tcBdr/>
        <a:fill>
          <a:solidFill>
            <a:srgbClr val="E6E9EE"/>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EEE7283C-3CF3-47DC-8721-378D4A62B228}" styleName="">
    <a:tblBg/>
    <a:wholeTbl>
      <a:tcTxStyle b="off" i="off">
        <a:fontRef idx="minor">
          <a:srgbClr val="252D30"/>
        </a:fontRef>
        <a:srgbClr val="252D3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BD5E6"/>
          </a:solidFill>
        </a:fill>
      </a:tcStyle>
    </a:wholeTbl>
    <a:band2H>
      <a:tcTxStyle/>
      <a:tcStyle>
        <a:tcBdr/>
        <a:fill>
          <a:solidFill>
            <a:srgbClr val="E7EBF3"/>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Row>
  </a:tblStyle>
  <a:tblStyle styleId="{CF821DB8-F4EB-4A41-A1BA-3FCAFE7338EE}" styleName="">
    <a:tblBg/>
    <a:wholeTbl>
      <a:tcTxStyle b="off" i="off">
        <a:fontRef idx="minor">
          <a:srgbClr val="252D30"/>
        </a:fontRef>
        <a:srgbClr val="252D3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ADADB"/>
          </a:solidFill>
        </a:fill>
      </a:tcStyle>
    </a:wholeTbl>
    <a:band2H>
      <a:tcTxStyle/>
      <a:tcStyle>
        <a:tcBdr/>
        <a:fill>
          <a:solidFill>
            <a:srgbClr val="EDEDEE"/>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Row>
  </a:tblStyle>
  <a:tblStyle styleId="{33BA23B1-9221-436E-865A-0063620EA4FD}" styleName="">
    <a:tblBg/>
    <a:wholeTbl>
      <a:tcTxStyle b="off" i="off">
        <a:fontRef idx="minor">
          <a:srgbClr val="252D30"/>
        </a:fontRef>
        <a:srgbClr val="252D3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7E7E7"/>
          </a:solidFill>
        </a:fill>
      </a:tcStyle>
    </a:wholeTbl>
    <a:band2H>
      <a:tcTxStyle/>
      <a:tcStyle>
        <a:tcBdr/>
        <a:fill>
          <a:solidFill>
            <a:srgbClr val="FFFFFF"/>
          </a:solidFill>
        </a:fill>
      </a:tcStyle>
    </a:band2H>
    <a:firstCol>
      <a:tcTxStyle b="on" i="off">
        <a:fontRef idx="min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Ref idx="minor">
          <a:srgbClr val="252D30"/>
        </a:fontRef>
        <a:srgbClr val="252D30"/>
      </a:tcTxStyle>
      <a:tcStyle>
        <a:tcBdr>
          <a:left>
            <a:ln w="12700" cap="flat">
              <a:noFill/>
              <a:miter lim="400000"/>
            </a:ln>
          </a:left>
          <a:right>
            <a:ln w="12700" cap="flat">
              <a:noFill/>
              <a:miter lim="400000"/>
            </a:ln>
          </a:right>
          <a:top>
            <a:ln w="50800" cap="flat">
              <a:solidFill>
                <a:srgbClr val="252D30"/>
              </a:solidFill>
              <a:prstDash val="solid"/>
              <a:round/>
            </a:ln>
          </a:top>
          <a:bottom>
            <a:ln w="25400" cap="flat">
              <a:solidFill>
                <a:srgbClr val="252D30"/>
              </a:solidFill>
              <a:prstDash val="solid"/>
              <a:round/>
            </a:ln>
          </a:bottom>
          <a:insideH>
            <a:ln w="12700" cap="flat">
              <a:noFill/>
              <a:miter lim="400000"/>
            </a:ln>
          </a:insideH>
          <a:insideV>
            <a:ln w="12700" cap="flat">
              <a:noFill/>
              <a:miter lim="400000"/>
            </a:ln>
          </a:insideV>
        </a:tcBdr>
        <a:fill>
          <a:solidFill>
            <a:srgbClr val="FFFFFF"/>
          </a:solidFill>
        </a:fill>
      </a:tcStyle>
    </a:lastRow>
    <a:firstRow>
      <a:tcTxStyle b="on" i="off">
        <a:fontRef idx="minor">
          <a:srgbClr val="FFFFFF"/>
        </a:fontRef>
        <a:srgbClr val="FFFFFF"/>
      </a:tcTxStyle>
      <a:tcStyle>
        <a:tcBdr>
          <a:left>
            <a:ln w="12700" cap="flat">
              <a:noFill/>
              <a:miter lim="400000"/>
            </a:ln>
          </a:left>
          <a:right>
            <a:ln w="12700" cap="flat">
              <a:noFill/>
              <a:miter lim="400000"/>
            </a:ln>
          </a:right>
          <a:top>
            <a:ln w="25400" cap="flat">
              <a:solidFill>
                <a:srgbClr val="252D30"/>
              </a:solidFill>
              <a:prstDash val="solid"/>
              <a:round/>
            </a:ln>
          </a:top>
          <a:bottom>
            <a:ln w="25400" cap="flat">
              <a:solidFill>
                <a:srgbClr val="252D3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2708684C-4D16-4618-839F-0558EEFCDFE6}" styleName="">
    <a:tblBg/>
    <a:wholeTbl>
      <a:tcTxStyle b="off" i="off">
        <a:fontRef idx="minor">
          <a:srgbClr val="252D30"/>
        </a:fontRef>
        <a:srgbClr val="252D3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BCCCC"/>
          </a:solidFill>
        </a:fill>
      </a:tcStyle>
    </a:wholeTbl>
    <a:band2H>
      <a:tcTxStyle/>
      <a:tcStyle>
        <a:tcBdr/>
        <a:fill>
          <a:solidFill>
            <a:srgbClr val="E7E7E7"/>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252D30"/>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252D30"/>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252D30"/>
          </a:solidFill>
        </a:fill>
      </a:tcStyle>
    </a:firstRow>
  </a:tblStyle>
  <a:tblStyle styleId="{8F44A2F1-9E1F-4B54-A3A2-5F16C0AD49E2}" styleName="">
    <a:tblBg/>
    <a:wholeTbl>
      <a:tcTxStyle b="off" i="off">
        <a:font>
          <a:latin typeface="Trebuchet MS"/>
          <a:ea typeface="Trebuchet MS"/>
          <a:cs typeface="Trebuchet MS"/>
        </a:font>
        <a:srgbClr val="000000"/>
      </a:tcTxStyle>
      <a:tcStyle>
        <a:tcBdr>
          <a:left>
            <a:ln w="38100" cap="flat">
              <a:solidFill>
                <a:srgbClr val="A7A7A7"/>
              </a:solidFill>
              <a:prstDash val="solid"/>
              <a:miter lim="400000"/>
            </a:ln>
          </a:left>
          <a:right>
            <a:ln w="38100" cap="flat">
              <a:solidFill>
                <a:srgbClr val="A7A7A7"/>
              </a:solidFill>
              <a:prstDash val="solid"/>
              <a:miter lim="400000"/>
            </a:ln>
          </a:right>
          <a:top>
            <a:ln w="38100" cap="flat">
              <a:solidFill>
                <a:srgbClr val="A7A7A7"/>
              </a:solidFill>
              <a:prstDash val="solid"/>
              <a:miter lim="400000"/>
            </a:ln>
          </a:top>
          <a:bottom>
            <a:ln w="38100" cap="flat">
              <a:solidFill>
                <a:srgbClr val="A7A7A7"/>
              </a:solidFill>
              <a:prstDash val="solid"/>
              <a:miter lim="400000"/>
            </a:ln>
          </a:bottom>
          <a:insideH>
            <a:ln w="38100" cap="flat">
              <a:solidFill>
                <a:srgbClr val="A7A7A7"/>
              </a:solidFill>
              <a:prstDash val="solid"/>
              <a:miter lim="400000"/>
            </a:ln>
          </a:insideH>
          <a:insideV>
            <a:ln w="38100" cap="flat">
              <a:solidFill>
                <a:srgbClr val="A7A7A7"/>
              </a:solidFill>
              <a:prstDash val="solid"/>
              <a:miter lim="400000"/>
            </a:ln>
          </a:insideV>
        </a:tcBdr>
        <a:fill>
          <a:noFill/>
        </a:fill>
      </a:tcStyle>
    </a:wholeTbl>
    <a:band2H>
      <a:tcTxStyle/>
      <a:tcStyle>
        <a:tcBdr/>
        <a:fill>
          <a:solidFill>
            <a:srgbClr val="DDDDDD"/>
          </a:solidFill>
        </a:fill>
      </a:tcStyle>
    </a:band2H>
    <a:firstCol>
      <a:tcTxStyle b="off" i="off">
        <a:font>
          <a:latin typeface="Perpetua"/>
          <a:ea typeface="Perpetua"/>
          <a:cs typeface="Perpetua"/>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noFill/>
        </a:fill>
      </a:tcStyle>
    </a:firstCol>
    <a:lastRow>
      <a:tcTxStyle b="off" i="off">
        <a:font>
          <a:latin typeface="Perpetua"/>
          <a:ea typeface="Perpetua"/>
          <a:cs typeface="Perpetua"/>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noFill/>
        </a:fill>
      </a:tcStyle>
    </a:lastRow>
    <a:firstRow>
      <a:tcTxStyle b="off" i="off">
        <a:font>
          <a:latin typeface="Perpetua"/>
          <a:ea typeface="Perpetua"/>
          <a:cs typeface="Perpetua"/>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noFill/>
        </a:fill>
      </a:tcStyle>
    </a:firstRow>
  </a:tblStyle>
  <a:tblStyle styleId="{D51ADE6A-740E-44AE-83CC-AE7238B6C88D}" styleName="">
    <a:tblBg/>
    <a:wholeTbl>
      <a:tcTxStyle b="off" i="off">
        <a:font>
          <a:latin typeface="Trebuchet MS"/>
          <a:ea typeface="Trebuchet MS"/>
          <a:cs typeface="Trebuchet MS"/>
        </a:font>
        <a:srgbClr val="000000"/>
      </a:tcTxStyle>
      <a:tcStyle>
        <a:tcBdr>
          <a:left>
            <a:ln w="38100" cap="flat">
              <a:solidFill>
                <a:srgbClr val="A7A7A7"/>
              </a:solidFill>
              <a:prstDash val="solid"/>
              <a:miter lim="400000"/>
            </a:ln>
          </a:left>
          <a:right>
            <a:ln w="38100" cap="flat">
              <a:solidFill>
                <a:srgbClr val="A7A7A7"/>
              </a:solidFill>
              <a:prstDash val="solid"/>
              <a:miter lim="400000"/>
            </a:ln>
          </a:right>
          <a:top>
            <a:ln w="38100" cap="flat">
              <a:solidFill>
                <a:srgbClr val="A7A7A7"/>
              </a:solidFill>
              <a:prstDash val="solid"/>
              <a:miter lim="400000"/>
            </a:ln>
          </a:top>
          <a:bottom>
            <a:ln w="38100" cap="flat">
              <a:solidFill>
                <a:srgbClr val="A7A7A7"/>
              </a:solidFill>
              <a:prstDash val="solid"/>
              <a:miter lim="400000"/>
            </a:ln>
          </a:bottom>
          <a:insideH>
            <a:ln w="38100" cap="flat">
              <a:solidFill>
                <a:srgbClr val="A7A7A7"/>
              </a:solidFill>
              <a:prstDash val="solid"/>
              <a:miter lim="400000"/>
            </a:ln>
          </a:insideH>
          <a:insideV>
            <a:ln w="38100" cap="flat">
              <a:solidFill>
                <a:srgbClr val="A7A7A7"/>
              </a:solidFill>
              <a:prstDash val="solid"/>
              <a:miter lim="400000"/>
            </a:ln>
          </a:insideV>
        </a:tcBdr>
        <a:fill>
          <a:noFill/>
        </a:fill>
      </a:tcStyle>
    </a:wholeTbl>
    <a:band2H>
      <a:tcTxStyle/>
      <a:tcStyle>
        <a:tcBdr/>
        <a:fill>
          <a:solidFill>
            <a:srgbClr val="DDDDDD"/>
          </a:solidFill>
        </a:fill>
      </a:tcStyle>
    </a:band2H>
    <a:firstCol>
      <a:tcTxStyle b="off" i="off">
        <a:font>
          <a:latin typeface="Perpetua"/>
          <a:ea typeface="Perpetua"/>
          <a:cs typeface="Perpetua"/>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noFill/>
        </a:fill>
      </a:tcStyle>
    </a:firstCol>
    <a:lastRow>
      <a:tcTxStyle b="off" i="off">
        <a:font>
          <a:latin typeface="Perpetua"/>
          <a:ea typeface="Perpetua"/>
          <a:cs typeface="Perpetua"/>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noFill/>
        </a:fill>
      </a:tcStyle>
    </a:lastRow>
    <a:firstRow>
      <a:tcTxStyle b="off" i="off">
        <a:font>
          <a:latin typeface="Perpetua"/>
          <a:ea typeface="Perpetua"/>
          <a:cs typeface="Perpetua"/>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7" autoAdjust="0"/>
    <p:restoredTop sz="95256" autoAdjust="0"/>
  </p:normalViewPr>
  <p:slideViewPr>
    <p:cSldViewPr snapToGrid="0" snapToObjects="1">
      <p:cViewPr varScale="1">
        <p:scale>
          <a:sx n="54" d="100"/>
          <a:sy n="54" d="100"/>
        </p:scale>
        <p:origin x="824" y="22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 Target="slides/slide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oleObject" Target="file:///C:\Users\absen\OneDrive\Desktop\QBPR\Quarterly%20Budget%20Performance%20Review%20Data.xlsx"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c:style val="2"/>
  <c:chart>
    <c:autoTitleDeleted val="1"/>
    <c:plotArea>
      <c:layout>
        <c:manualLayout>
          <c:layoutTarget val="inner"/>
          <c:xMode val="edge"/>
          <c:yMode val="edge"/>
          <c:x val="5.0000000000000001E-3"/>
          <c:y val="5.0000000000000001E-3"/>
          <c:w val="0.99"/>
          <c:h val="0.98750000000000004"/>
        </c:manualLayout>
      </c:layout>
      <c:doughnutChart>
        <c:varyColors val="0"/>
        <c:ser>
          <c:idx val="0"/>
          <c:order val="0"/>
          <c:tx>
            <c:strRef>
              <c:f>Sheet1!$A$2</c:f>
              <c:strCache>
                <c:ptCount val="1"/>
                <c:pt idx="0">
                  <c:v>Sales</c:v>
                </c:pt>
              </c:strCache>
            </c:strRef>
          </c:tx>
          <c:spPr>
            <a:solidFill>
              <a:schemeClr val="accent3"/>
            </a:solidFill>
            <a:ln w="38100" cap="flat">
              <a:solidFill>
                <a:srgbClr val="000000"/>
              </a:solidFill>
              <a:prstDash val="solid"/>
              <a:miter lim="400000"/>
            </a:ln>
            <a:effectLst>
              <a:outerShdw blurRad="127000" dist="76200" dir="18900000" algn="tl">
                <a:srgbClr val="000000">
                  <a:alpha val="75000"/>
                </a:srgbClr>
              </a:outerShdw>
            </a:effectLst>
          </c:spPr>
          <c:dPt>
            <c:idx val="0"/>
            <c:bubble3D val="0"/>
            <c:extLst>
              <c:ext xmlns:c16="http://schemas.microsoft.com/office/drawing/2014/chart" uri="{C3380CC4-5D6E-409C-BE32-E72D297353CC}">
                <c16:uniqueId val="{00000001-AB63-F744-9EA6-510DA166C469}"/>
              </c:ext>
            </c:extLst>
          </c:dPt>
          <c:cat>
            <c:strRef>
              <c:f>Sheet1!$B$1:$B$1</c:f>
              <c:strCache>
                <c:ptCount val="1"/>
                <c:pt idx="0">
                  <c:v>Step1</c:v>
                </c:pt>
              </c:strCache>
            </c:strRef>
          </c:cat>
          <c:val>
            <c:numRef>
              <c:f>Sheet1!$B$2:$B$2</c:f>
              <c:numCache>
                <c:formatCode>General</c:formatCode>
                <c:ptCount val="1"/>
                <c:pt idx="0">
                  <c:v>8.1999999999999993</c:v>
                </c:pt>
              </c:numCache>
            </c:numRef>
          </c:val>
          <c:extLst>
            <c:ext xmlns:c16="http://schemas.microsoft.com/office/drawing/2014/chart" uri="{C3380CC4-5D6E-409C-BE32-E72D297353CC}">
              <c16:uniqueId val="{00000002-AB63-F744-9EA6-510DA166C469}"/>
            </c:ext>
          </c:extLst>
        </c:ser>
        <c:dLbls>
          <c:showLegendKey val="0"/>
          <c:showVal val="0"/>
          <c:showCatName val="0"/>
          <c:showSerName val="0"/>
          <c:showPercent val="0"/>
          <c:showBubbleSize val="0"/>
          <c:showLeaderLines val="1"/>
        </c:dLbls>
        <c:firstSliceAng val="0"/>
        <c:holeSize val="75"/>
      </c:doughnutChart>
      <c:spPr>
        <a:noFill/>
        <a:ln w="12700" cap="flat">
          <a:noFill/>
          <a:miter lim="400000"/>
        </a:ln>
        <a:effectLst/>
      </c:spPr>
    </c:plotArea>
    <c:plotVisOnly val="1"/>
    <c:dispBlanksAs val="gap"/>
    <c:showDLblsOverMax val="1"/>
  </c:chart>
  <c:spPr>
    <a:noFill/>
    <a:ln>
      <a:noFill/>
    </a:ln>
    <a:effectLst/>
  </c:sp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9150606628689354E-2"/>
          <c:y val="0.25082790072603173"/>
          <c:w val="0.91672893851274717"/>
          <c:h val="0.68379262970296772"/>
        </c:manualLayout>
      </c:layout>
      <c:barChart>
        <c:barDir val="col"/>
        <c:grouping val="clustered"/>
        <c:varyColors val="0"/>
        <c:ser>
          <c:idx val="0"/>
          <c:order val="0"/>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Trebuchet MS" panose="020B0603020202020204" pitchFamily="34" charset="0"/>
                    <a:ea typeface="+mn-ea"/>
                    <a:cs typeface="+mn-cs"/>
                  </a:defRPr>
                </a:pPr>
                <a:endParaRPr lang="en-NG"/>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Q1 '!$B$58:$B$69</c:f>
              <c:numCache>
                <c:formatCode>mmm\-yy</c:formatCode>
                <c:ptCount val="12"/>
                <c:pt idx="0">
                  <c:v>43922</c:v>
                </c:pt>
                <c:pt idx="1">
                  <c:v>43952</c:v>
                </c:pt>
                <c:pt idx="2">
                  <c:v>43983</c:v>
                </c:pt>
                <c:pt idx="3">
                  <c:v>44013</c:v>
                </c:pt>
                <c:pt idx="4">
                  <c:v>44044</c:v>
                </c:pt>
                <c:pt idx="5">
                  <c:v>44075</c:v>
                </c:pt>
                <c:pt idx="6">
                  <c:v>44105</c:v>
                </c:pt>
                <c:pt idx="7">
                  <c:v>44136</c:v>
                </c:pt>
                <c:pt idx="8">
                  <c:v>44166</c:v>
                </c:pt>
                <c:pt idx="9">
                  <c:v>44197</c:v>
                </c:pt>
                <c:pt idx="10">
                  <c:v>44228</c:v>
                </c:pt>
                <c:pt idx="11">
                  <c:v>44256</c:v>
                </c:pt>
              </c:numCache>
            </c:numRef>
          </c:cat>
          <c:val>
            <c:numRef>
              <c:f>'Q1 '!$C$58:$C$69</c:f>
              <c:numCache>
                <c:formatCode>#,##0.00</c:formatCode>
                <c:ptCount val="12"/>
                <c:pt idx="0">
                  <c:v>15.03</c:v>
                </c:pt>
                <c:pt idx="1">
                  <c:v>15.04</c:v>
                </c:pt>
                <c:pt idx="2" formatCode="General">
                  <c:v>15.18</c:v>
                </c:pt>
                <c:pt idx="3" formatCode="General">
                  <c:v>15.48</c:v>
                </c:pt>
                <c:pt idx="4" formatCode="General">
                  <c:v>16</c:v>
                </c:pt>
                <c:pt idx="5" formatCode="General">
                  <c:v>16.66</c:v>
                </c:pt>
                <c:pt idx="6" formatCode="General">
                  <c:v>17.38</c:v>
                </c:pt>
                <c:pt idx="7" formatCode="General">
                  <c:v>18.3</c:v>
                </c:pt>
                <c:pt idx="8" formatCode="General">
                  <c:v>19.559999999999999</c:v>
                </c:pt>
                <c:pt idx="9" formatCode="General">
                  <c:v>20.57</c:v>
                </c:pt>
                <c:pt idx="10" formatCode="General">
                  <c:v>21.79</c:v>
                </c:pt>
                <c:pt idx="11" formatCode="General">
                  <c:v>22.95</c:v>
                </c:pt>
              </c:numCache>
            </c:numRef>
          </c:val>
          <c:extLst>
            <c:ext xmlns:c16="http://schemas.microsoft.com/office/drawing/2014/chart" uri="{C3380CC4-5D6E-409C-BE32-E72D297353CC}">
              <c16:uniqueId val="{00000000-6F69-400A-A6C4-3F8A40221050}"/>
            </c:ext>
          </c:extLst>
        </c:ser>
        <c:dLbls>
          <c:showLegendKey val="0"/>
          <c:showVal val="0"/>
          <c:showCatName val="0"/>
          <c:showSerName val="0"/>
          <c:showPercent val="0"/>
          <c:showBubbleSize val="0"/>
        </c:dLbls>
        <c:gapWidth val="31"/>
        <c:overlap val="-27"/>
        <c:axId val="-1853721248"/>
        <c:axId val="-1853730496"/>
      </c:barChart>
      <c:dateAx>
        <c:axId val="-1853721248"/>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Trebuchet MS" panose="020B0603020202020204" pitchFamily="34" charset="0"/>
                <a:ea typeface="+mn-ea"/>
                <a:cs typeface="+mn-cs"/>
              </a:defRPr>
            </a:pPr>
            <a:endParaRPr lang="en-NG"/>
          </a:p>
        </c:txPr>
        <c:crossAx val="-1853730496"/>
        <c:crosses val="autoZero"/>
        <c:auto val="1"/>
        <c:lblOffset val="100"/>
        <c:baseTimeUnit val="months"/>
      </c:dateAx>
      <c:valAx>
        <c:axId val="-1853730496"/>
        <c:scaling>
          <c:orientation val="minMax"/>
        </c:scaling>
        <c:delete val="0"/>
        <c:axPos val="l"/>
        <c:title>
          <c:tx>
            <c:rich>
              <a:bodyPr rot="-54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r>
                  <a:rPr lang="en-GB" sz="2000" b="1" baseline="0" dirty="0">
                    <a:latin typeface="Trebuchet MS" panose="020B0603020202020204" pitchFamily="34" charset="0"/>
                  </a:rPr>
                  <a:t>INFLATION RATE (%)</a:t>
                </a:r>
                <a:endParaRPr lang="en-GB" sz="2000" b="1" dirty="0">
                  <a:latin typeface="Trebuchet MS" panose="020B0603020202020204" pitchFamily="34" charset="0"/>
                </a:endParaRPr>
              </a:p>
            </c:rich>
          </c:tx>
          <c:overlay val="0"/>
          <c:spPr>
            <a:noFill/>
            <a:ln>
              <a:noFill/>
            </a:ln>
            <a:effectLst/>
          </c:spPr>
          <c:txPr>
            <a:bodyPr rot="-54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endParaRPr lang="en-NG"/>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Trebuchet MS" panose="020B0603020202020204" pitchFamily="34" charset="0"/>
                <a:ea typeface="+mn-ea"/>
                <a:cs typeface="+mn-cs"/>
              </a:defRPr>
            </a:pPr>
            <a:endParaRPr lang="en-NG"/>
          </a:p>
        </c:txPr>
        <c:crossAx val="-1853721248"/>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a:pPr>
      <a:endParaRPr lang="en-NG"/>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00206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Trebuchet MS" panose="020B0603020202020204" pitchFamily="34" charset="0"/>
                    <a:ea typeface="+mn-ea"/>
                    <a:cs typeface="+mn-cs"/>
                  </a:defRPr>
                </a:pPr>
                <a:endParaRPr lang="en-NG"/>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Q1 '!$F$82:$J$82</c:f>
              <c:numCache>
                <c:formatCode>mmm\-yy</c:formatCode>
                <c:ptCount val="5"/>
                <c:pt idx="0">
                  <c:v>44105</c:v>
                </c:pt>
                <c:pt idx="1">
                  <c:v>44136</c:v>
                </c:pt>
                <c:pt idx="2">
                  <c:v>44166</c:v>
                </c:pt>
                <c:pt idx="3">
                  <c:v>44197</c:v>
                </c:pt>
                <c:pt idx="4">
                  <c:v>44228</c:v>
                </c:pt>
              </c:numCache>
            </c:numRef>
          </c:cat>
          <c:val>
            <c:numRef>
              <c:f>'Q1 '!$F$83:$J$83</c:f>
              <c:numCache>
                <c:formatCode>General</c:formatCode>
                <c:ptCount val="5"/>
                <c:pt idx="0">
                  <c:v>16.899999999999999</c:v>
                </c:pt>
                <c:pt idx="1">
                  <c:v>17.5</c:v>
                </c:pt>
                <c:pt idx="2">
                  <c:v>15.7</c:v>
                </c:pt>
                <c:pt idx="3">
                  <c:v>12.6</c:v>
                </c:pt>
                <c:pt idx="4">
                  <c:v>17.899999999999999</c:v>
                </c:pt>
              </c:numCache>
            </c:numRef>
          </c:val>
          <c:extLst>
            <c:ext xmlns:c16="http://schemas.microsoft.com/office/drawing/2014/chart" uri="{C3380CC4-5D6E-409C-BE32-E72D297353CC}">
              <c16:uniqueId val="{00000000-37F2-4A7F-B8FB-3ADC69826EE2}"/>
            </c:ext>
          </c:extLst>
        </c:ser>
        <c:dLbls>
          <c:showLegendKey val="0"/>
          <c:showVal val="0"/>
          <c:showCatName val="0"/>
          <c:showSerName val="0"/>
          <c:showPercent val="0"/>
          <c:showBubbleSize val="0"/>
        </c:dLbls>
        <c:gapWidth val="70"/>
        <c:overlap val="-28"/>
        <c:axId val="-1853721792"/>
        <c:axId val="-1853728320"/>
      </c:barChart>
      <c:lineChart>
        <c:grouping val="standard"/>
        <c:varyColors val="0"/>
        <c:ser>
          <c:idx val="1"/>
          <c:order val="1"/>
          <c:spPr>
            <a:ln w="44450" cap="rnd">
              <a:solidFill>
                <a:srgbClr val="FF0000"/>
              </a:solidFill>
              <a:round/>
            </a:ln>
            <a:effectLst/>
          </c:spPr>
          <c:marker>
            <c:symbol val="circle"/>
            <c:size val="10"/>
            <c:spPr>
              <a:solidFill>
                <a:srgbClr val="FF0000"/>
              </a:solidFill>
              <a:ln w="9525">
                <a:noFill/>
              </a:ln>
              <a:effectLst/>
            </c:spPr>
          </c:marker>
          <c:cat>
            <c:numRef>
              <c:f>'Q1 '!$F$82:$J$82</c:f>
              <c:numCache>
                <c:formatCode>mmm\-yy</c:formatCode>
                <c:ptCount val="5"/>
                <c:pt idx="0">
                  <c:v>44105</c:v>
                </c:pt>
                <c:pt idx="1">
                  <c:v>44136</c:v>
                </c:pt>
                <c:pt idx="2">
                  <c:v>44166</c:v>
                </c:pt>
                <c:pt idx="3">
                  <c:v>44197</c:v>
                </c:pt>
                <c:pt idx="4">
                  <c:v>44228</c:v>
                </c:pt>
              </c:numCache>
            </c:numRef>
          </c:cat>
          <c:val>
            <c:numRef>
              <c:f>'Q1 '!$F$84:$J$84</c:f>
              <c:numCache>
                <c:formatCode>General</c:formatCode>
                <c:ptCount val="5"/>
                <c:pt idx="0">
                  <c:v>17.899999999999999</c:v>
                </c:pt>
                <c:pt idx="1">
                  <c:v>18.5</c:v>
                </c:pt>
                <c:pt idx="2">
                  <c:v>16.7</c:v>
                </c:pt>
                <c:pt idx="3">
                  <c:v>13.6</c:v>
                </c:pt>
                <c:pt idx="4">
                  <c:v>18.899999999999999</c:v>
                </c:pt>
              </c:numCache>
            </c:numRef>
          </c:val>
          <c:smooth val="0"/>
          <c:extLst>
            <c:ext xmlns:c16="http://schemas.microsoft.com/office/drawing/2014/chart" uri="{C3380CC4-5D6E-409C-BE32-E72D297353CC}">
              <c16:uniqueId val="{00000001-37F2-4A7F-B8FB-3ADC69826EE2}"/>
            </c:ext>
          </c:extLst>
        </c:ser>
        <c:dLbls>
          <c:showLegendKey val="0"/>
          <c:showVal val="0"/>
          <c:showCatName val="0"/>
          <c:showSerName val="0"/>
          <c:showPercent val="0"/>
          <c:showBubbleSize val="0"/>
        </c:dLbls>
        <c:marker val="1"/>
        <c:smooth val="0"/>
        <c:axId val="-1853721792"/>
        <c:axId val="-1853728320"/>
      </c:lineChart>
      <c:dateAx>
        <c:axId val="-1853721792"/>
        <c:scaling>
          <c:orientation val="minMax"/>
        </c:scaling>
        <c:delete val="0"/>
        <c:axPos val="b"/>
        <c:numFmt formatCode="mmm\-yy" sourceLinked="1"/>
        <c:majorTickMark val="none"/>
        <c:minorTickMark val="none"/>
        <c:tickLblPos val="nextTo"/>
        <c:spPr>
          <a:noFill/>
          <a:ln w="12700" cap="flat" cmpd="sng" algn="ctr">
            <a:solidFill>
              <a:schemeClr val="bg1">
                <a:lumMod val="50000"/>
              </a:schemeClr>
            </a:solidFill>
            <a:round/>
          </a:ln>
          <a:effectLst/>
        </c:spPr>
        <c:txPr>
          <a:bodyPr rot="-60000000" spcFirstLastPara="1" vertOverflow="ellipsis" vert="horz" wrap="square" anchor="ctr" anchorCtr="1"/>
          <a:lstStyle/>
          <a:p>
            <a:pPr>
              <a:defRPr sz="1800" b="1" i="0" u="none" strike="noStrike" kern="1200" baseline="0">
                <a:solidFill>
                  <a:sysClr val="windowText" lastClr="000000"/>
                </a:solidFill>
                <a:latin typeface="Trebuchet MS" panose="020B0603020202020204" pitchFamily="34" charset="0"/>
                <a:ea typeface="+mn-ea"/>
                <a:cs typeface="+mn-cs"/>
              </a:defRPr>
            </a:pPr>
            <a:endParaRPr lang="en-NG"/>
          </a:p>
        </c:txPr>
        <c:crossAx val="-1853728320"/>
        <c:crosses val="autoZero"/>
        <c:auto val="1"/>
        <c:lblOffset val="100"/>
        <c:baseTimeUnit val="months"/>
      </c:dateAx>
      <c:valAx>
        <c:axId val="-1853728320"/>
        <c:scaling>
          <c:orientation val="minMax"/>
        </c:scaling>
        <c:delete val="0"/>
        <c:axPos val="l"/>
        <c:title>
          <c:tx>
            <c:rich>
              <a:bodyPr rot="-5400000" spcFirstLastPara="1" vertOverflow="ellipsis" vert="horz" wrap="square" anchor="ctr" anchorCtr="1"/>
              <a:lstStyle/>
              <a:p>
                <a:pPr>
                  <a:defRPr sz="1800" b="1" i="0" u="none" strike="noStrike" kern="1200" baseline="0">
                    <a:solidFill>
                      <a:srgbClr val="000000"/>
                    </a:solidFill>
                    <a:latin typeface="Trebuchet MS" panose="020B0603020202020204" pitchFamily="34" charset="0"/>
                    <a:ea typeface="+mn-ea"/>
                    <a:cs typeface="+mn-cs"/>
                  </a:defRPr>
                </a:pPr>
                <a:r>
                  <a:rPr lang="en-US" sz="1800" b="1" dirty="0">
                    <a:solidFill>
                      <a:srgbClr val="000000"/>
                    </a:solidFill>
                    <a:latin typeface="Trebuchet MS" panose="020B0603020202020204" pitchFamily="34" charset="0"/>
                  </a:rPr>
                  <a:t>INFLATION</a:t>
                </a:r>
                <a:r>
                  <a:rPr lang="en-US" sz="1800" b="1" baseline="0" dirty="0">
                    <a:solidFill>
                      <a:srgbClr val="000000"/>
                    </a:solidFill>
                    <a:latin typeface="Trebuchet MS" panose="020B0603020202020204" pitchFamily="34" charset="0"/>
                  </a:rPr>
                  <a:t> RATE (%)</a:t>
                </a:r>
                <a:endParaRPr lang="en-GB" sz="1800" b="1" dirty="0">
                  <a:solidFill>
                    <a:srgbClr val="000000"/>
                  </a:solidFill>
                  <a:latin typeface="Trebuchet MS" panose="020B0603020202020204" pitchFamily="34" charset="0"/>
                </a:endParaRPr>
              </a:p>
            </c:rich>
          </c:tx>
          <c:overlay val="0"/>
          <c:spPr>
            <a:noFill/>
            <a:ln>
              <a:noFill/>
            </a:ln>
            <a:effectLst/>
          </c:spPr>
          <c:txPr>
            <a:bodyPr rot="-5400000" spcFirstLastPara="1" vertOverflow="ellipsis" vert="horz" wrap="square" anchor="ctr" anchorCtr="1"/>
            <a:lstStyle/>
            <a:p>
              <a:pPr>
                <a:defRPr sz="1800" b="1" i="0" u="none" strike="noStrike" kern="1200" baseline="0">
                  <a:solidFill>
                    <a:srgbClr val="000000"/>
                  </a:solidFill>
                  <a:latin typeface="Trebuchet MS" panose="020B0603020202020204" pitchFamily="34" charset="0"/>
                  <a:ea typeface="+mn-ea"/>
                  <a:cs typeface="+mn-cs"/>
                </a:defRPr>
              </a:pPr>
              <a:endParaRPr lang="en-NG"/>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800" b="1" i="0" u="none" strike="noStrike" kern="1200" baseline="0">
                <a:solidFill>
                  <a:sysClr val="windowText" lastClr="000000"/>
                </a:solidFill>
                <a:latin typeface="Trebuchet MS" panose="020B0603020202020204" pitchFamily="34" charset="0"/>
                <a:ea typeface="+mn-ea"/>
                <a:cs typeface="+mn-cs"/>
              </a:defRPr>
            </a:pPr>
            <a:endParaRPr lang="en-NG"/>
          </a:p>
        </c:txPr>
        <c:crossAx val="-1853721792"/>
        <c:crosses val="autoZero"/>
        <c:crossBetween val="between"/>
        <c:majorUnit val="4"/>
      </c:valAx>
      <c:spPr>
        <a:noFill/>
        <a:ln>
          <a:noFill/>
        </a:ln>
        <a:effectLst/>
      </c:spPr>
    </c:plotArea>
    <c:plotVisOnly val="1"/>
    <c:dispBlanksAs val="gap"/>
    <c:showDLblsOverMax val="0"/>
  </c:chart>
  <c:spPr>
    <a:noFill/>
    <a:ln w="9525" cap="flat" cmpd="sng" algn="ctr">
      <a:noFill/>
      <a:round/>
    </a:ln>
    <a:effectLst/>
  </c:spPr>
  <c:txPr>
    <a:bodyPr/>
    <a:lstStyle/>
    <a:p>
      <a:pPr>
        <a:defRPr/>
      </a:pPr>
      <a:endParaRPr lang="en-NG"/>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c:style val="2"/>
  <c:chart>
    <c:autoTitleDeleted val="1"/>
    <c:plotArea>
      <c:layout>
        <c:manualLayout>
          <c:layoutTarget val="inner"/>
          <c:xMode val="edge"/>
          <c:yMode val="edge"/>
          <c:x val="7.8121700000000002E-2"/>
          <c:y val="0.123501"/>
          <c:w val="0.91438200000000003"/>
          <c:h val="0.68584299999999998"/>
        </c:manualLayout>
      </c:layout>
      <c:barChart>
        <c:barDir val="col"/>
        <c:grouping val="clustered"/>
        <c:varyColors val="0"/>
        <c:ser>
          <c:idx val="0"/>
          <c:order val="0"/>
          <c:tx>
            <c:strRef>
              <c:f>Sheet1!$B$1</c:f>
              <c:strCache>
                <c:ptCount val="1"/>
                <c:pt idx="0">
                  <c:v>Lagos</c:v>
                </c:pt>
              </c:strCache>
            </c:strRef>
          </c:tx>
          <c:spPr>
            <a:solidFill>
              <a:srgbClr val="00AEEF"/>
            </a:solidFill>
            <a:ln w="12700" cap="flat">
              <a:noFill/>
              <a:miter lim="400000"/>
            </a:ln>
            <a:effectLst>
              <a:outerShdw blurRad="25400" dist="27480" dir="18900000" algn="tl">
                <a:srgbClr val="000000">
                  <a:alpha val="42032"/>
                </a:srgbClr>
              </a:outerShdw>
            </a:effectLst>
          </c:spPr>
          <c:invertIfNegative val="0"/>
          <c:dLbls>
            <c:dLbl>
              <c:idx val="3"/>
              <c:tx>
                <c:rich>
                  <a:bodyPr/>
                  <a:lstStyle/>
                  <a:p>
                    <a:r>
                      <a:rPr lang="en-US" dirty="0"/>
                      <a:t>2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F33-473E-A047-9702487110FE}"/>
                </c:ext>
              </c:extLst>
            </c:dLbl>
            <c:numFmt formatCode="0.#" sourceLinked="0"/>
            <c:spPr>
              <a:noFill/>
              <a:ln>
                <a:noFill/>
              </a:ln>
              <a:effectLst/>
            </c:spPr>
            <c:txPr>
              <a:bodyPr/>
              <a:lstStyle/>
              <a:p>
                <a:pPr>
                  <a:defRPr sz="2400" b="0" i="0" u="none" strike="noStrike">
                    <a:solidFill>
                      <a:srgbClr val="2A2A2A"/>
                    </a:solidFill>
                    <a:latin typeface="Trebuchet MS"/>
                  </a:defRPr>
                </a:pPr>
                <a:endParaRPr lang="en-NG"/>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Unemployment Rate: 
(&lt; 40hrs/week)</c:v>
                </c:pt>
                <c:pt idx="1">
                  <c:v>Unemployment Rate: 
(&lt; 20hrs/week)</c:v>
                </c:pt>
                <c:pt idx="2">
                  <c:v>Unemployment Rate: 
(0hrs/week)</c:v>
                </c:pt>
                <c:pt idx="3">
                  <c:v>Under-employment rate 
(Underutilized)</c:v>
                </c:pt>
              </c:strCache>
            </c:strRef>
          </c:cat>
          <c:val>
            <c:numRef>
              <c:f>Sheet1!$B$2:$B$5</c:f>
              <c:numCache>
                <c:formatCode>General</c:formatCode>
                <c:ptCount val="4"/>
                <c:pt idx="0">
                  <c:v>41.5</c:v>
                </c:pt>
                <c:pt idx="1">
                  <c:v>19.5</c:v>
                </c:pt>
                <c:pt idx="2">
                  <c:v>12.7</c:v>
                </c:pt>
                <c:pt idx="3">
                  <c:v>22</c:v>
                </c:pt>
              </c:numCache>
            </c:numRef>
          </c:val>
          <c:extLst>
            <c:ext xmlns:c16="http://schemas.microsoft.com/office/drawing/2014/chart" uri="{C3380CC4-5D6E-409C-BE32-E72D297353CC}">
              <c16:uniqueId val="{00000000-722B-0049-8C29-4D7131D4070A}"/>
            </c:ext>
          </c:extLst>
        </c:ser>
        <c:ser>
          <c:idx val="1"/>
          <c:order val="1"/>
          <c:tx>
            <c:strRef>
              <c:f>Sheet1!$C$1</c:f>
              <c:strCache>
                <c:ptCount val="1"/>
                <c:pt idx="0">
                  <c:v>Nigeria</c:v>
                </c:pt>
              </c:strCache>
            </c:strRef>
          </c:tx>
          <c:spPr>
            <a:solidFill>
              <a:srgbClr val="F8AE47"/>
            </a:solidFill>
            <a:ln w="12700" cap="flat">
              <a:noFill/>
              <a:miter lim="400000"/>
            </a:ln>
            <a:effectLst>
              <a:outerShdw blurRad="25400" dist="27480" dir="18900000" algn="tl">
                <a:srgbClr val="000000">
                  <a:alpha val="42032"/>
                </a:srgbClr>
              </a:outerShdw>
            </a:effectLst>
          </c:spPr>
          <c:invertIfNegative val="0"/>
          <c:dLbls>
            <c:dLbl>
              <c:idx val="2"/>
              <c:tx>
                <c:rich>
                  <a:bodyPr/>
                  <a:lstStyle/>
                  <a:p>
                    <a:r>
                      <a:rPr lang="en-US"/>
                      <a:t>11</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6F33-473E-A047-9702487110FE}"/>
                </c:ext>
              </c:extLst>
            </c:dLbl>
            <c:numFmt formatCode="0.#" sourceLinked="0"/>
            <c:spPr>
              <a:noFill/>
              <a:ln>
                <a:noFill/>
              </a:ln>
              <a:effectLst/>
            </c:spPr>
            <c:txPr>
              <a:bodyPr/>
              <a:lstStyle/>
              <a:p>
                <a:pPr>
                  <a:defRPr sz="2400" b="0" i="0" u="none" strike="noStrike">
                    <a:solidFill>
                      <a:srgbClr val="2A2A2A"/>
                    </a:solidFill>
                    <a:latin typeface="Trebuchet MS"/>
                  </a:defRPr>
                </a:pPr>
                <a:endParaRPr lang="en-NG"/>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Unemployment Rate: 
(&lt; 40hrs/week)</c:v>
                </c:pt>
                <c:pt idx="1">
                  <c:v>Unemployment Rate: 
(&lt; 20hrs/week)</c:v>
                </c:pt>
                <c:pt idx="2">
                  <c:v>Unemployment Rate: 
(0hrs/week)</c:v>
                </c:pt>
                <c:pt idx="3">
                  <c:v>Under-employment rate 
(Underutilized)</c:v>
                </c:pt>
              </c:strCache>
            </c:strRef>
          </c:cat>
          <c:val>
            <c:numRef>
              <c:f>Sheet1!$C$2:$C$5</c:f>
              <c:numCache>
                <c:formatCode>General</c:formatCode>
                <c:ptCount val="4"/>
                <c:pt idx="0">
                  <c:v>55.7</c:v>
                </c:pt>
                <c:pt idx="1">
                  <c:v>27.1</c:v>
                </c:pt>
                <c:pt idx="2">
                  <c:v>11</c:v>
                </c:pt>
                <c:pt idx="3">
                  <c:v>28.6</c:v>
                </c:pt>
              </c:numCache>
            </c:numRef>
          </c:val>
          <c:extLst>
            <c:ext xmlns:c16="http://schemas.microsoft.com/office/drawing/2014/chart" uri="{C3380CC4-5D6E-409C-BE32-E72D297353CC}">
              <c16:uniqueId val="{00000001-722B-0049-8C29-4D7131D4070A}"/>
            </c:ext>
          </c:extLst>
        </c:ser>
        <c:dLbls>
          <c:showLegendKey val="0"/>
          <c:showVal val="0"/>
          <c:showCatName val="0"/>
          <c:showSerName val="0"/>
          <c:showPercent val="0"/>
          <c:showBubbleSize val="0"/>
        </c:dLbls>
        <c:gapWidth val="70"/>
        <c:overlap val="-20"/>
        <c:axId val="-1853729952"/>
        <c:axId val="-1853718528"/>
      </c:barChart>
      <c:catAx>
        <c:axId val="-1853729952"/>
        <c:scaling>
          <c:orientation val="minMax"/>
        </c:scaling>
        <c:delete val="0"/>
        <c:axPos val="b"/>
        <c:numFmt formatCode="General" sourceLinked="0"/>
        <c:majorTickMark val="none"/>
        <c:minorTickMark val="none"/>
        <c:tickLblPos val="low"/>
        <c:spPr>
          <a:ln w="12700" cap="flat">
            <a:noFill/>
            <a:miter lim="400000"/>
          </a:ln>
        </c:spPr>
        <c:txPr>
          <a:bodyPr rot="0"/>
          <a:lstStyle/>
          <a:p>
            <a:pPr>
              <a:defRPr sz="2300" b="0" i="0" u="none" strike="noStrike">
                <a:solidFill>
                  <a:srgbClr val="2A2A2A"/>
                </a:solidFill>
                <a:latin typeface="Trebuchet MS"/>
              </a:defRPr>
            </a:pPr>
            <a:endParaRPr lang="en-NG"/>
          </a:p>
        </c:txPr>
        <c:crossAx val="-1853718528"/>
        <c:crosses val="autoZero"/>
        <c:auto val="1"/>
        <c:lblAlgn val="ctr"/>
        <c:lblOffset val="100"/>
        <c:noMultiLvlLbl val="1"/>
      </c:catAx>
      <c:valAx>
        <c:axId val="-1853718528"/>
        <c:scaling>
          <c:orientation val="minMax"/>
        </c:scaling>
        <c:delete val="0"/>
        <c:axPos val="l"/>
        <c:title>
          <c:tx>
            <c:rich>
              <a:bodyPr rot="-5400000"/>
              <a:lstStyle/>
              <a:p>
                <a:pPr>
                  <a:defRPr sz="2000" b="1" i="0" u="none" strike="noStrike">
                    <a:solidFill>
                      <a:srgbClr val="2A2A2A"/>
                    </a:solidFill>
                    <a:latin typeface="Trebuchet MS"/>
                  </a:defRPr>
                </a:pPr>
                <a:r>
                  <a:rPr lang="en-US" sz="2000" b="1" i="0" u="none" strike="noStrike" dirty="0">
                    <a:solidFill>
                      <a:srgbClr val="2A2A2A"/>
                    </a:solidFill>
                    <a:latin typeface="Trebuchet MS"/>
                  </a:rPr>
                  <a:t>UNEMPLOYMENT RATE</a:t>
                </a:r>
              </a:p>
            </c:rich>
          </c:tx>
          <c:overlay val="1"/>
        </c:title>
        <c:numFmt formatCode="0.#" sourceLinked="0"/>
        <c:majorTickMark val="none"/>
        <c:minorTickMark val="none"/>
        <c:tickLblPos val="nextTo"/>
        <c:spPr>
          <a:ln w="12700" cap="flat">
            <a:noFill/>
            <a:miter lim="400000"/>
          </a:ln>
        </c:spPr>
        <c:txPr>
          <a:bodyPr rot="0"/>
          <a:lstStyle/>
          <a:p>
            <a:pPr>
              <a:defRPr sz="2400" b="0" i="0" u="none" strike="noStrike">
                <a:solidFill>
                  <a:srgbClr val="2A2A2A"/>
                </a:solidFill>
                <a:latin typeface="Trebuchet MS"/>
              </a:defRPr>
            </a:pPr>
            <a:endParaRPr lang="en-NG"/>
          </a:p>
        </c:txPr>
        <c:crossAx val="-1853729952"/>
        <c:crosses val="autoZero"/>
        <c:crossBetween val="between"/>
        <c:majorUnit val="15"/>
        <c:minorUnit val="7.5"/>
      </c:valAx>
      <c:spPr>
        <a:noFill/>
        <a:ln w="12700" cap="flat">
          <a:noFill/>
          <a:miter lim="400000"/>
        </a:ln>
        <a:effectLst/>
      </c:spPr>
    </c:plotArea>
    <c:legend>
      <c:legendPos val="t"/>
      <c:layout>
        <c:manualLayout>
          <c:xMode val="edge"/>
          <c:yMode val="edge"/>
          <c:x val="0.37839299999999998"/>
          <c:y val="0"/>
          <c:w val="0.230018"/>
          <c:h val="0.101329"/>
        </c:manualLayout>
      </c:layout>
      <c:overlay val="1"/>
      <c:spPr>
        <a:noFill/>
        <a:ln w="12700" cap="flat">
          <a:noFill/>
          <a:miter lim="400000"/>
        </a:ln>
        <a:effectLst/>
      </c:spPr>
      <c:txPr>
        <a:bodyPr rot="0"/>
        <a:lstStyle/>
        <a:p>
          <a:pPr>
            <a:defRPr sz="2400" b="0" i="0" u="none" strike="noStrike">
              <a:solidFill>
                <a:srgbClr val="2A2A2A"/>
              </a:solidFill>
              <a:latin typeface="Trebuchet MS"/>
            </a:defRPr>
          </a:pPr>
          <a:endParaRPr lang="en-NG"/>
        </a:p>
      </c:txPr>
    </c:legend>
    <c:plotVisOnly val="1"/>
    <c:dispBlanksAs val="gap"/>
    <c:showDLblsOverMax val="1"/>
  </c:chart>
  <c:spPr>
    <a:noFill/>
    <a:ln>
      <a:noFill/>
    </a:ln>
    <a:effectLst/>
  </c:sp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GB"/>
  <c:roundedCorners val="0"/>
  <c:style val="2"/>
  <c:chart>
    <c:autoTitleDeleted val="1"/>
    <c:plotArea>
      <c:layout>
        <c:manualLayout>
          <c:layoutTarget val="inner"/>
          <c:xMode val="edge"/>
          <c:yMode val="edge"/>
          <c:x val="0.36270891828939916"/>
          <c:y val="6.0659601109109958E-2"/>
          <c:w val="0.63729108171060089"/>
          <c:h val="0.87361948221730756"/>
        </c:manualLayout>
      </c:layout>
      <c:barChart>
        <c:barDir val="bar"/>
        <c:grouping val="clustered"/>
        <c:varyColors val="0"/>
        <c:ser>
          <c:idx val="0"/>
          <c:order val="0"/>
          <c:tx>
            <c:strRef>
              <c:f>Sheet1!$A$2</c:f>
              <c:strCache>
                <c:ptCount val="1"/>
                <c:pt idx="0">
                  <c:v>General Public Service </c:v>
                </c:pt>
              </c:strCache>
            </c:strRef>
          </c:tx>
          <c:spPr>
            <a:solidFill>
              <a:srgbClr val="22C00F"/>
            </a:solidFill>
            <a:ln w="9525" cap="flat">
              <a:solidFill>
                <a:srgbClr val="F9F9F9"/>
              </a:solidFill>
              <a:prstDash val="solid"/>
              <a:round/>
            </a:ln>
            <a:effectLst>
              <a:outerShdw blurRad="12700" dist="12700" dir="18900000" algn="tl">
                <a:srgbClr val="000000">
                  <a:alpha val="47605"/>
                </a:srgbClr>
              </a:outerShdw>
            </a:effectLst>
          </c:spPr>
          <c:invertIfNegative val="0"/>
          <c:dLbls>
            <c:spPr>
              <a:noFill/>
              <a:ln>
                <a:noFill/>
              </a:ln>
              <a:effectLst/>
            </c:spPr>
            <c:txPr>
              <a:bodyPr wrap="square" lIns="38100" tIns="19050" rIns="38100" bIns="19050" anchor="ctr">
                <a:spAutoFit/>
              </a:bodyPr>
              <a:lstStyle/>
              <a:p>
                <a:pPr>
                  <a:defRPr sz="2000">
                    <a:solidFill>
                      <a:srgbClr val="000000"/>
                    </a:solidFill>
                    <a:latin typeface="Trebuchet MS" panose="020B0603020202020204" pitchFamily="34" charset="0"/>
                  </a:defRPr>
                </a:pPr>
                <a:endParaRPr lang="en-NG"/>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multiLvlStrRef>
              <c:f>Sheet1!$B$1</c:f>
            </c:multiLvlStrRef>
          </c:cat>
          <c:val>
            <c:numRef>
              <c:f>Sheet1!$B$2</c:f>
              <c:numCache>
                <c:formatCode>General</c:formatCode>
                <c:ptCount val="1"/>
                <c:pt idx="0">
                  <c:v>11.59</c:v>
                </c:pt>
              </c:numCache>
            </c:numRef>
          </c:val>
          <c:extLst>
            <c:ext xmlns:c16="http://schemas.microsoft.com/office/drawing/2014/chart" uri="{C3380CC4-5D6E-409C-BE32-E72D297353CC}">
              <c16:uniqueId val="{00000000-BC0B-5B42-BEB7-9B9F6EEB76D9}"/>
            </c:ext>
          </c:extLst>
        </c:ser>
        <c:ser>
          <c:idx val="1"/>
          <c:order val="1"/>
          <c:tx>
            <c:strRef>
              <c:f>Sheet1!$A$3</c:f>
              <c:strCache>
                <c:ptCount val="1"/>
                <c:pt idx="0">
                  <c:v>Public Order and Safety </c:v>
                </c:pt>
              </c:strCache>
            </c:strRef>
          </c:tx>
          <c:spPr>
            <a:solidFill>
              <a:srgbClr val="AB4CA9"/>
            </a:solidFill>
            <a:ln w="9525" cap="flat">
              <a:solidFill>
                <a:srgbClr val="F9F9F9"/>
              </a:solidFill>
              <a:prstDash val="solid"/>
              <a:round/>
            </a:ln>
            <a:effectLst>
              <a:outerShdw blurRad="12700" dist="12700" dir="18900000" algn="tl">
                <a:srgbClr val="000000">
                  <a:alpha val="47605"/>
                </a:srgbClr>
              </a:outerShdw>
            </a:effectLst>
          </c:spPr>
          <c:invertIfNegative val="0"/>
          <c:dLbls>
            <c:spPr>
              <a:noFill/>
              <a:ln>
                <a:noFill/>
              </a:ln>
              <a:effectLst/>
            </c:spPr>
            <c:txPr>
              <a:bodyPr wrap="square" lIns="38100" tIns="19050" rIns="38100" bIns="19050" anchor="ctr">
                <a:spAutoFit/>
              </a:bodyPr>
              <a:lstStyle/>
              <a:p>
                <a:pPr>
                  <a:defRPr sz="2000">
                    <a:solidFill>
                      <a:srgbClr val="000000"/>
                    </a:solidFill>
                    <a:latin typeface="Trebuchet MS" panose="020B0603020202020204" pitchFamily="34" charset="0"/>
                  </a:defRPr>
                </a:pPr>
                <a:endParaRPr lang="en-NG"/>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multiLvlStrRef>
              <c:f>Sheet1!$B$1</c:f>
            </c:multiLvlStrRef>
          </c:cat>
          <c:val>
            <c:numRef>
              <c:f>Sheet1!$B$3</c:f>
              <c:numCache>
                <c:formatCode>General</c:formatCode>
                <c:ptCount val="1"/>
                <c:pt idx="0">
                  <c:v>3.96</c:v>
                </c:pt>
              </c:numCache>
            </c:numRef>
          </c:val>
          <c:extLst>
            <c:ext xmlns:c16="http://schemas.microsoft.com/office/drawing/2014/chart" uri="{C3380CC4-5D6E-409C-BE32-E72D297353CC}">
              <c16:uniqueId val="{00000001-BC0B-5B42-BEB7-9B9F6EEB76D9}"/>
            </c:ext>
          </c:extLst>
        </c:ser>
        <c:ser>
          <c:idx val="2"/>
          <c:order val="2"/>
          <c:tx>
            <c:strRef>
              <c:f>Sheet1!$A$4</c:f>
              <c:strCache>
                <c:ptCount val="1"/>
                <c:pt idx="0">
                  <c:v>Economic Affairs </c:v>
                </c:pt>
              </c:strCache>
            </c:strRef>
          </c:tx>
          <c:spPr>
            <a:solidFill>
              <a:srgbClr val="FFB73F"/>
            </a:solidFill>
            <a:ln w="9525" cap="flat">
              <a:solidFill>
                <a:srgbClr val="F9F9F9"/>
              </a:solidFill>
              <a:prstDash val="solid"/>
              <a:round/>
            </a:ln>
            <a:effectLst>
              <a:outerShdw blurRad="12700" dist="12700" dir="18900000" algn="tl">
                <a:srgbClr val="000000">
                  <a:alpha val="47605"/>
                </a:srgbClr>
              </a:outerShdw>
            </a:effectLst>
          </c:spPr>
          <c:invertIfNegative val="0"/>
          <c:dLbls>
            <c:dLbl>
              <c:idx val="0"/>
              <c:layout>
                <c:manualLayout>
                  <c:x val="-5.5296332306536668E-2"/>
                  <c:y val="-8.9249596562452835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D8B-40DF-8982-FBF16F30CB51}"/>
                </c:ext>
              </c:extLst>
            </c:dLbl>
            <c:spPr>
              <a:noFill/>
              <a:ln>
                <a:noFill/>
              </a:ln>
              <a:effectLst/>
            </c:spPr>
            <c:txPr>
              <a:bodyPr wrap="square" lIns="38100" tIns="19050" rIns="38100" bIns="19050" anchor="ctr">
                <a:spAutoFit/>
              </a:bodyPr>
              <a:lstStyle/>
              <a:p>
                <a:pPr>
                  <a:defRPr sz="2000">
                    <a:solidFill>
                      <a:srgbClr val="000000"/>
                    </a:solidFill>
                    <a:latin typeface="Trebuchet MS" panose="020B0603020202020204" pitchFamily="34" charset="0"/>
                  </a:defRPr>
                </a:pPr>
                <a:endParaRPr lang="en-NG"/>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multiLvlStrRef>
              <c:f>Sheet1!$B$1</c:f>
            </c:multiLvlStrRef>
          </c:cat>
          <c:val>
            <c:numRef>
              <c:f>Sheet1!$B$4</c:f>
              <c:numCache>
                <c:formatCode>General</c:formatCode>
                <c:ptCount val="1"/>
                <c:pt idx="0">
                  <c:v>29.35</c:v>
                </c:pt>
              </c:numCache>
            </c:numRef>
          </c:val>
          <c:extLst>
            <c:ext xmlns:c16="http://schemas.microsoft.com/office/drawing/2014/chart" uri="{C3380CC4-5D6E-409C-BE32-E72D297353CC}">
              <c16:uniqueId val="{00000002-BC0B-5B42-BEB7-9B9F6EEB76D9}"/>
            </c:ext>
          </c:extLst>
        </c:ser>
        <c:ser>
          <c:idx val="3"/>
          <c:order val="3"/>
          <c:tx>
            <c:strRef>
              <c:f>Sheet1!$A$5</c:f>
              <c:strCache>
                <c:ptCount val="1"/>
                <c:pt idx="0">
                  <c:v>Environmental Protection </c:v>
                </c:pt>
              </c:strCache>
            </c:strRef>
          </c:tx>
          <c:spPr>
            <a:solidFill>
              <a:srgbClr val="FE2515"/>
            </a:solidFill>
            <a:ln w="12700" cap="flat">
              <a:noFill/>
              <a:miter lim="400000"/>
            </a:ln>
            <a:effectLst>
              <a:outerShdw blurRad="12700" dist="12700" dir="18900000" algn="tl">
                <a:srgbClr val="000000">
                  <a:alpha val="47605"/>
                </a:srgbClr>
              </a:outerShdw>
            </a:effectLst>
          </c:spPr>
          <c:invertIfNegative val="0"/>
          <c:dLbls>
            <c:spPr>
              <a:noFill/>
              <a:ln>
                <a:noFill/>
              </a:ln>
              <a:effectLst/>
            </c:spPr>
            <c:txPr>
              <a:bodyPr wrap="square" lIns="38100" tIns="19050" rIns="38100" bIns="19050" anchor="ctr">
                <a:spAutoFit/>
              </a:bodyPr>
              <a:lstStyle/>
              <a:p>
                <a:pPr>
                  <a:defRPr sz="2000">
                    <a:solidFill>
                      <a:srgbClr val="000000"/>
                    </a:solidFill>
                    <a:latin typeface="Trebuchet MS" panose="020B0603020202020204" pitchFamily="34" charset="0"/>
                  </a:defRPr>
                </a:pPr>
                <a:endParaRPr lang="en-NG"/>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multiLvlStrRef>
              <c:f>Sheet1!$B$1</c:f>
            </c:multiLvlStrRef>
          </c:cat>
          <c:val>
            <c:numRef>
              <c:f>Sheet1!$B$5</c:f>
              <c:numCache>
                <c:formatCode>General</c:formatCode>
                <c:ptCount val="1"/>
                <c:pt idx="0">
                  <c:v>5.13</c:v>
                </c:pt>
              </c:numCache>
            </c:numRef>
          </c:val>
          <c:extLst>
            <c:ext xmlns:c16="http://schemas.microsoft.com/office/drawing/2014/chart" uri="{C3380CC4-5D6E-409C-BE32-E72D297353CC}">
              <c16:uniqueId val="{00000003-BC0B-5B42-BEB7-9B9F6EEB76D9}"/>
            </c:ext>
          </c:extLst>
        </c:ser>
        <c:ser>
          <c:idx val="4"/>
          <c:order val="4"/>
          <c:tx>
            <c:strRef>
              <c:f>Sheet1!$A$6</c:f>
              <c:strCache>
                <c:ptCount val="1"/>
                <c:pt idx="0">
                  <c:v>Housing &amp; Community Amenities </c:v>
                </c:pt>
              </c:strCache>
            </c:strRef>
          </c:tx>
          <c:spPr>
            <a:solidFill>
              <a:srgbClr val="B0B0B0"/>
            </a:solidFill>
            <a:ln w="12700" cap="flat">
              <a:noFill/>
              <a:miter lim="400000"/>
            </a:ln>
            <a:effectLst>
              <a:outerShdw blurRad="12700" dist="12700" dir="18900000" algn="tl">
                <a:srgbClr val="000000">
                  <a:alpha val="47605"/>
                </a:srgbClr>
              </a:outerShdw>
            </a:effectLst>
          </c:spPr>
          <c:invertIfNegative val="0"/>
          <c:dLbls>
            <c:spPr>
              <a:noFill/>
              <a:ln>
                <a:noFill/>
              </a:ln>
              <a:effectLst/>
            </c:spPr>
            <c:txPr>
              <a:bodyPr wrap="square" lIns="38100" tIns="19050" rIns="38100" bIns="19050" anchor="ctr">
                <a:spAutoFit/>
              </a:bodyPr>
              <a:lstStyle/>
              <a:p>
                <a:pPr>
                  <a:defRPr sz="2000">
                    <a:solidFill>
                      <a:srgbClr val="000000"/>
                    </a:solidFill>
                    <a:latin typeface="Trebuchet MS" panose="020B0603020202020204" pitchFamily="34" charset="0"/>
                  </a:defRPr>
                </a:pPr>
                <a:endParaRPr lang="en-NG"/>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multiLvlStrRef>
              <c:f>Sheet1!$B$1</c:f>
            </c:multiLvlStrRef>
          </c:cat>
          <c:val>
            <c:numRef>
              <c:f>Sheet1!$B$6</c:f>
              <c:numCache>
                <c:formatCode>General</c:formatCode>
                <c:ptCount val="1"/>
                <c:pt idx="0">
                  <c:v>3.18</c:v>
                </c:pt>
              </c:numCache>
            </c:numRef>
          </c:val>
          <c:extLst>
            <c:ext xmlns:c16="http://schemas.microsoft.com/office/drawing/2014/chart" uri="{C3380CC4-5D6E-409C-BE32-E72D297353CC}">
              <c16:uniqueId val="{00000004-BC0B-5B42-BEB7-9B9F6EEB76D9}"/>
            </c:ext>
          </c:extLst>
        </c:ser>
        <c:ser>
          <c:idx val="5"/>
          <c:order val="5"/>
          <c:tx>
            <c:strRef>
              <c:f>Sheet1!$A$7</c:f>
              <c:strCache>
                <c:ptCount val="1"/>
                <c:pt idx="0">
                  <c:v>Health </c:v>
                </c:pt>
              </c:strCache>
            </c:strRef>
          </c:tx>
          <c:spPr>
            <a:solidFill>
              <a:schemeClr val="accent4"/>
            </a:solidFill>
            <a:ln w="12700" cap="flat">
              <a:noFill/>
              <a:miter lim="400000"/>
            </a:ln>
            <a:effectLst>
              <a:outerShdw blurRad="12700" dist="12700" dir="18900000" algn="tl">
                <a:srgbClr val="000000">
                  <a:alpha val="47605"/>
                </a:srgbClr>
              </a:outerShdw>
            </a:effectLst>
          </c:spPr>
          <c:invertIfNegative val="0"/>
          <c:dLbls>
            <c:spPr>
              <a:noFill/>
              <a:ln>
                <a:noFill/>
              </a:ln>
              <a:effectLst/>
            </c:spPr>
            <c:txPr>
              <a:bodyPr wrap="square" lIns="38100" tIns="19050" rIns="38100" bIns="19050" anchor="ctr">
                <a:spAutoFit/>
              </a:bodyPr>
              <a:lstStyle/>
              <a:p>
                <a:pPr>
                  <a:defRPr sz="2000">
                    <a:solidFill>
                      <a:srgbClr val="000000"/>
                    </a:solidFill>
                    <a:latin typeface="Trebuchet MS" panose="020B0603020202020204" pitchFamily="34" charset="0"/>
                  </a:defRPr>
                </a:pPr>
                <a:endParaRPr lang="en-NG"/>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multiLvlStrRef>
              <c:f>Sheet1!$B$1</c:f>
            </c:multiLvlStrRef>
          </c:cat>
          <c:val>
            <c:numRef>
              <c:f>Sheet1!$B$7</c:f>
              <c:numCache>
                <c:formatCode>General</c:formatCode>
                <c:ptCount val="1"/>
                <c:pt idx="0">
                  <c:v>9.11</c:v>
                </c:pt>
              </c:numCache>
            </c:numRef>
          </c:val>
          <c:extLst>
            <c:ext xmlns:c16="http://schemas.microsoft.com/office/drawing/2014/chart" uri="{C3380CC4-5D6E-409C-BE32-E72D297353CC}">
              <c16:uniqueId val="{00000005-BC0B-5B42-BEB7-9B9F6EEB76D9}"/>
            </c:ext>
          </c:extLst>
        </c:ser>
        <c:ser>
          <c:idx val="6"/>
          <c:order val="6"/>
          <c:tx>
            <c:strRef>
              <c:f>Sheet1!$A$8</c:f>
              <c:strCache>
                <c:ptCount val="1"/>
                <c:pt idx="0">
                  <c:v>Recreation, Culture &amp; Religion </c:v>
                </c:pt>
              </c:strCache>
            </c:strRef>
          </c:tx>
          <c:spPr>
            <a:solidFill>
              <a:srgbClr val="5E5E5E"/>
            </a:solidFill>
            <a:ln w="12700" cap="flat">
              <a:noFill/>
              <a:miter lim="400000"/>
            </a:ln>
            <a:effectLst>
              <a:outerShdw blurRad="12700" dist="12700" dir="18900000" algn="tl">
                <a:srgbClr val="000000">
                  <a:alpha val="47605"/>
                </a:srgbClr>
              </a:outerShdw>
            </a:effectLst>
          </c:spPr>
          <c:invertIfNegative val="0"/>
          <c:dLbls>
            <c:spPr>
              <a:noFill/>
              <a:ln>
                <a:noFill/>
              </a:ln>
              <a:effectLst/>
            </c:spPr>
            <c:txPr>
              <a:bodyPr wrap="square" lIns="38100" tIns="19050" rIns="38100" bIns="19050" anchor="ctr">
                <a:spAutoFit/>
              </a:bodyPr>
              <a:lstStyle/>
              <a:p>
                <a:pPr>
                  <a:defRPr sz="2000">
                    <a:solidFill>
                      <a:srgbClr val="000000"/>
                    </a:solidFill>
                    <a:latin typeface="Trebuchet MS" panose="020B0603020202020204" pitchFamily="34" charset="0"/>
                  </a:defRPr>
                </a:pPr>
                <a:endParaRPr lang="en-NG"/>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multiLvlStrRef>
              <c:f>Sheet1!$B$1</c:f>
            </c:multiLvlStrRef>
          </c:cat>
          <c:val>
            <c:numRef>
              <c:f>Sheet1!$B$8</c:f>
              <c:numCache>
                <c:formatCode>General</c:formatCode>
                <c:ptCount val="1"/>
                <c:pt idx="0">
                  <c:v>0.63</c:v>
                </c:pt>
              </c:numCache>
            </c:numRef>
          </c:val>
          <c:extLst>
            <c:ext xmlns:c16="http://schemas.microsoft.com/office/drawing/2014/chart" uri="{C3380CC4-5D6E-409C-BE32-E72D297353CC}">
              <c16:uniqueId val="{00000006-BC0B-5B42-BEB7-9B9F6EEB76D9}"/>
            </c:ext>
          </c:extLst>
        </c:ser>
        <c:ser>
          <c:idx val="7"/>
          <c:order val="7"/>
          <c:tx>
            <c:strRef>
              <c:f>Sheet1!$A$9</c:f>
              <c:strCache>
                <c:ptCount val="1"/>
                <c:pt idx="0">
                  <c:v>Education </c:v>
                </c:pt>
              </c:strCache>
            </c:strRef>
          </c:tx>
          <c:spPr>
            <a:solidFill>
              <a:srgbClr val="00ACFF"/>
            </a:solidFill>
            <a:ln w="12700" cap="flat">
              <a:noFill/>
              <a:miter lim="400000"/>
            </a:ln>
            <a:effectLst>
              <a:outerShdw blurRad="12700" dist="12700" dir="18900000" algn="tl">
                <a:srgbClr val="000000">
                  <a:alpha val="47605"/>
                </a:srgbClr>
              </a:outerShdw>
            </a:effectLst>
          </c:spPr>
          <c:invertIfNegative val="0"/>
          <c:dLbls>
            <c:spPr>
              <a:noFill/>
              <a:ln>
                <a:noFill/>
              </a:ln>
              <a:effectLst/>
            </c:spPr>
            <c:txPr>
              <a:bodyPr wrap="square" lIns="38100" tIns="19050" rIns="38100" bIns="19050" anchor="ctr">
                <a:spAutoFit/>
              </a:bodyPr>
              <a:lstStyle/>
              <a:p>
                <a:pPr>
                  <a:defRPr sz="2000">
                    <a:solidFill>
                      <a:srgbClr val="000000"/>
                    </a:solidFill>
                    <a:latin typeface="Trebuchet MS" panose="020B0603020202020204" pitchFamily="34" charset="0"/>
                  </a:defRPr>
                </a:pPr>
                <a:endParaRPr lang="en-NG"/>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multiLvlStrRef>
              <c:f>Sheet1!$B$1</c:f>
            </c:multiLvlStrRef>
          </c:cat>
          <c:val>
            <c:numRef>
              <c:f>Sheet1!$B$9</c:f>
              <c:numCache>
                <c:formatCode>General</c:formatCode>
                <c:ptCount val="1"/>
                <c:pt idx="0">
                  <c:v>12.63</c:v>
                </c:pt>
              </c:numCache>
            </c:numRef>
          </c:val>
          <c:extLst>
            <c:ext xmlns:c16="http://schemas.microsoft.com/office/drawing/2014/chart" uri="{C3380CC4-5D6E-409C-BE32-E72D297353CC}">
              <c16:uniqueId val="{00000007-BC0B-5B42-BEB7-9B9F6EEB76D9}"/>
            </c:ext>
          </c:extLst>
        </c:ser>
        <c:ser>
          <c:idx val="8"/>
          <c:order val="8"/>
          <c:tx>
            <c:strRef>
              <c:f>Sheet1!$A$10</c:f>
              <c:strCache>
                <c:ptCount val="1"/>
                <c:pt idx="0">
                  <c:v>Social Protection </c:v>
                </c:pt>
              </c:strCache>
            </c:strRef>
          </c:tx>
          <c:spPr>
            <a:solidFill>
              <a:srgbClr val="25817E"/>
            </a:solidFill>
            <a:ln w="12700" cap="flat">
              <a:noFill/>
              <a:miter lim="400000"/>
            </a:ln>
            <a:effectLst>
              <a:outerShdw blurRad="12700" dist="12700" dir="18900000" algn="tl">
                <a:srgbClr val="000000">
                  <a:alpha val="47605"/>
                </a:srgbClr>
              </a:outerShdw>
            </a:effectLst>
          </c:spPr>
          <c:invertIfNegative val="0"/>
          <c:dLbls>
            <c:spPr>
              <a:noFill/>
              <a:ln>
                <a:noFill/>
              </a:ln>
              <a:effectLst/>
            </c:spPr>
            <c:txPr>
              <a:bodyPr wrap="square" lIns="38100" tIns="19050" rIns="38100" bIns="19050" anchor="ctr">
                <a:spAutoFit/>
              </a:bodyPr>
              <a:lstStyle/>
              <a:p>
                <a:pPr>
                  <a:defRPr sz="2000">
                    <a:solidFill>
                      <a:srgbClr val="000000"/>
                    </a:solidFill>
                    <a:latin typeface="Trebuchet MS" panose="020B0603020202020204" pitchFamily="34" charset="0"/>
                  </a:defRPr>
                </a:pPr>
                <a:endParaRPr lang="en-NG"/>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multiLvlStrRef>
              <c:f>Sheet1!$B$1</c:f>
            </c:multiLvlStrRef>
          </c:cat>
          <c:val>
            <c:numRef>
              <c:f>Sheet1!$B$10</c:f>
              <c:numCache>
                <c:formatCode>General</c:formatCode>
                <c:ptCount val="1"/>
                <c:pt idx="0">
                  <c:v>0.79</c:v>
                </c:pt>
              </c:numCache>
            </c:numRef>
          </c:val>
          <c:extLst>
            <c:ext xmlns:c16="http://schemas.microsoft.com/office/drawing/2014/chart" uri="{C3380CC4-5D6E-409C-BE32-E72D297353CC}">
              <c16:uniqueId val="{00000008-BC0B-5B42-BEB7-9B9F6EEB76D9}"/>
            </c:ext>
          </c:extLst>
        </c:ser>
        <c:ser>
          <c:idx val="9"/>
          <c:order val="9"/>
          <c:tx>
            <c:strRef>
              <c:f>Sheet1!$A$11</c:f>
              <c:strCache>
                <c:ptCount val="1"/>
                <c:pt idx="0">
                  <c:v>Grant &amp; Counterpart Fund</c:v>
                </c:pt>
              </c:strCache>
            </c:strRef>
          </c:tx>
          <c:invertIfNegative val="0"/>
          <c:dLbls>
            <c:spPr>
              <a:noFill/>
              <a:ln>
                <a:noFill/>
              </a:ln>
              <a:effectLst/>
            </c:spPr>
            <c:txPr>
              <a:bodyPr wrap="square" lIns="38100" tIns="19050" rIns="38100" bIns="19050" anchor="ctr">
                <a:spAutoFit/>
              </a:bodyPr>
              <a:lstStyle/>
              <a:p>
                <a:pPr>
                  <a:defRPr sz="2000">
                    <a:solidFill>
                      <a:srgbClr val="000000"/>
                    </a:solidFill>
                    <a:latin typeface="Trebuchet MS" panose="020B0603020202020204" pitchFamily="34" charset="0"/>
                  </a:defRPr>
                </a:pPr>
                <a:endParaRPr lang="en-NG"/>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multiLvlStrRef>
              <c:f>Sheet1!$B$1</c:f>
            </c:multiLvlStrRef>
          </c:cat>
          <c:val>
            <c:numRef>
              <c:f>Sheet1!$B$11</c:f>
              <c:numCache>
                <c:formatCode>General</c:formatCode>
                <c:ptCount val="1"/>
                <c:pt idx="0">
                  <c:v>4.9000000000000004</c:v>
                </c:pt>
              </c:numCache>
            </c:numRef>
          </c:val>
          <c:extLst>
            <c:ext xmlns:c16="http://schemas.microsoft.com/office/drawing/2014/chart" uri="{C3380CC4-5D6E-409C-BE32-E72D297353CC}">
              <c16:uniqueId val="{00000000-2D8B-40DF-8982-FBF16F30CB51}"/>
            </c:ext>
          </c:extLst>
        </c:ser>
        <c:ser>
          <c:idx val="10"/>
          <c:order val="10"/>
          <c:tx>
            <c:strRef>
              <c:f>Sheet1!$A$12</c:f>
              <c:strCache>
                <c:ptCount val="1"/>
                <c:pt idx="0">
                  <c:v>Contingency Reserve</c:v>
                </c:pt>
              </c:strCache>
            </c:strRef>
          </c:tx>
          <c:invertIfNegative val="0"/>
          <c:dLbls>
            <c:numFmt formatCode="#,##0.00" sourceLinked="0"/>
            <c:spPr>
              <a:noFill/>
              <a:ln>
                <a:noFill/>
              </a:ln>
              <a:effectLst/>
            </c:spPr>
            <c:txPr>
              <a:bodyPr wrap="square" lIns="38100" tIns="19050" rIns="38100" bIns="19050" anchor="ctr">
                <a:spAutoFit/>
              </a:bodyPr>
              <a:lstStyle/>
              <a:p>
                <a:pPr>
                  <a:defRPr sz="2000">
                    <a:solidFill>
                      <a:srgbClr val="000000"/>
                    </a:solidFill>
                    <a:latin typeface="Trebuchet MS" panose="020B0603020202020204" pitchFamily="34" charset="0"/>
                  </a:defRPr>
                </a:pPr>
                <a:endParaRPr lang="en-NG"/>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multiLvlStrRef>
              <c:f>Sheet1!$B$1</c:f>
            </c:multiLvlStrRef>
          </c:cat>
          <c:val>
            <c:numRef>
              <c:f>Sheet1!$B$12</c:f>
              <c:numCache>
                <c:formatCode>General</c:formatCode>
                <c:ptCount val="1"/>
                <c:pt idx="0">
                  <c:v>1.85</c:v>
                </c:pt>
              </c:numCache>
            </c:numRef>
          </c:val>
          <c:extLst>
            <c:ext xmlns:c16="http://schemas.microsoft.com/office/drawing/2014/chart" uri="{C3380CC4-5D6E-409C-BE32-E72D297353CC}">
              <c16:uniqueId val="{00000001-2D8B-40DF-8982-FBF16F30CB51}"/>
            </c:ext>
          </c:extLst>
        </c:ser>
        <c:ser>
          <c:idx val="11"/>
          <c:order val="11"/>
          <c:tx>
            <c:strRef>
              <c:f>Sheet1!$A$13</c:f>
              <c:strCache>
                <c:ptCount val="1"/>
                <c:pt idx="0">
                  <c:v>Loans</c:v>
                </c:pt>
              </c:strCache>
            </c:strRef>
          </c:tx>
          <c:invertIfNegative val="0"/>
          <c:dLbls>
            <c:spPr>
              <a:noFill/>
              <a:ln>
                <a:noFill/>
              </a:ln>
              <a:effectLst/>
            </c:spPr>
            <c:txPr>
              <a:bodyPr wrap="square" lIns="38100" tIns="19050" rIns="38100" bIns="19050" anchor="ctr">
                <a:spAutoFit/>
              </a:bodyPr>
              <a:lstStyle/>
              <a:p>
                <a:pPr>
                  <a:defRPr sz="2000">
                    <a:solidFill>
                      <a:srgbClr val="000000"/>
                    </a:solidFill>
                    <a:latin typeface="Trebuchet MS" panose="020B0603020202020204" pitchFamily="34" charset="0"/>
                  </a:defRPr>
                </a:pPr>
                <a:endParaRPr lang="en-NG"/>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multiLvlStrRef>
              <c:f>Sheet1!$B$1</c:f>
            </c:multiLvlStrRef>
          </c:cat>
          <c:val>
            <c:numRef>
              <c:f>Sheet1!$B$13</c:f>
              <c:numCache>
                <c:formatCode>General</c:formatCode>
                <c:ptCount val="1"/>
                <c:pt idx="0">
                  <c:v>13.61</c:v>
                </c:pt>
              </c:numCache>
            </c:numRef>
          </c:val>
          <c:extLst>
            <c:ext xmlns:c16="http://schemas.microsoft.com/office/drawing/2014/chart" uri="{C3380CC4-5D6E-409C-BE32-E72D297353CC}">
              <c16:uniqueId val="{00000002-2D8B-40DF-8982-FBF16F30CB51}"/>
            </c:ext>
          </c:extLst>
        </c:ser>
        <c:ser>
          <c:idx val="12"/>
          <c:order val="12"/>
          <c:tx>
            <c:strRef>
              <c:f>Sheet1!$A$14</c:f>
              <c:strCache>
                <c:ptCount val="1"/>
                <c:pt idx="0">
                  <c:v>Personnel Cost</c:v>
                </c:pt>
              </c:strCache>
            </c:strRef>
          </c:tx>
          <c:invertIfNegative val="0"/>
          <c:dLbls>
            <c:spPr>
              <a:noFill/>
              <a:ln>
                <a:noFill/>
              </a:ln>
              <a:effectLst/>
            </c:spPr>
            <c:txPr>
              <a:bodyPr wrap="square" lIns="38100" tIns="19050" rIns="38100" bIns="19050" anchor="ctr">
                <a:spAutoFit/>
              </a:bodyPr>
              <a:lstStyle/>
              <a:p>
                <a:pPr>
                  <a:defRPr sz="2000">
                    <a:solidFill>
                      <a:srgbClr val="000000"/>
                    </a:solidFill>
                    <a:latin typeface="Trebuchet MS" panose="020B0603020202020204" pitchFamily="34" charset="0"/>
                  </a:defRPr>
                </a:pPr>
                <a:endParaRPr lang="en-NG"/>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multiLvlStrRef>
              <c:f>Sheet1!$B$1</c:f>
            </c:multiLvlStrRef>
          </c:cat>
          <c:val>
            <c:numRef>
              <c:f>Sheet1!$B$14</c:f>
              <c:numCache>
                <c:formatCode>General</c:formatCode>
                <c:ptCount val="1"/>
                <c:pt idx="0">
                  <c:v>3.26</c:v>
                </c:pt>
              </c:numCache>
            </c:numRef>
          </c:val>
          <c:extLst>
            <c:ext xmlns:c16="http://schemas.microsoft.com/office/drawing/2014/chart" uri="{C3380CC4-5D6E-409C-BE32-E72D297353CC}">
              <c16:uniqueId val="{00000003-2D8B-40DF-8982-FBF16F30CB51}"/>
            </c:ext>
          </c:extLst>
        </c:ser>
        <c:dLbls>
          <c:dLblPos val="outEnd"/>
          <c:showLegendKey val="0"/>
          <c:showVal val="1"/>
          <c:showCatName val="0"/>
          <c:showSerName val="0"/>
          <c:showPercent val="0"/>
          <c:showBubbleSize val="0"/>
        </c:dLbls>
        <c:gapWidth val="10"/>
        <c:axId val="-1853725056"/>
        <c:axId val="-1853727776"/>
      </c:barChart>
      <c:catAx>
        <c:axId val="-1853725056"/>
        <c:scaling>
          <c:orientation val="minMax"/>
        </c:scaling>
        <c:delete val="1"/>
        <c:axPos val="l"/>
        <c:numFmt formatCode="General" sourceLinked="0"/>
        <c:majorTickMark val="none"/>
        <c:minorTickMark val="none"/>
        <c:tickLblPos val="nextTo"/>
        <c:crossAx val="-1853727776"/>
        <c:crosses val="autoZero"/>
        <c:auto val="1"/>
        <c:lblAlgn val="ctr"/>
        <c:lblOffset val="100"/>
        <c:noMultiLvlLbl val="1"/>
      </c:catAx>
      <c:valAx>
        <c:axId val="-1853727776"/>
        <c:scaling>
          <c:orientation val="minMax"/>
        </c:scaling>
        <c:delete val="0"/>
        <c:axPos val="b"/>
        <c:numFmt formatCode="#,##0%" sourceLinked="0"/>
        <c:majorTickMark val="none"/>
        <c:minorTickMark val="none"/>
        <c:tickLblPos val="none"/>
        <c:spPr>
          <a:ln w="12700" cap="flat">
            <a:noFill/>
            <a:prstDash val="solid"/>
            <a:round/>
          </a:ln>
        </c:spPr>
        <c:txPr>
          <a:bodyPr rot="0"/>
          <a:lstStyle/>
          <a:p>
            <a:pPr>
              <a:defRPr sz="7100" b="0" i="0" u="none" strike="noStrike">
                <a:solidFill>
                  <a:srgbClr val="000000"/>
                </a:solidFill>
                <a:latin typeface="Trebuchet MS"/>
              </a:defRPr>
            </a:pPr>
            <a:endParaRPr lang="en-NG"/>
          </a:p>
        </c:txPr>
        <c:crossAx val="-1853725056"/>
        <c:crosses val="autoZero"/>
        <c:crossBetween val="between"/>
        <c:majorUnit val="15.625"/>
        <c:minorUnit val="7.8125"/>
      </c:valAx>
      <c:spPr>
        <a:noFill/>
        <a:ln w="12700" cap="flat">
          <a:noFill/>
          <a:miter lim="400000"/>
        </a:ln>
        <a:effectLst/>
      </c:spPr>
    </c:plotArea>
    <c:legend>
      <c:legendPos val="l"/>
      <c:layout>
        <c:manualLayout>
          <c:xMode val="edge"/>
          <c:yMode val="edge"/>
          <c:x val="7.2125650834613045E-3"/>
          <c:y val="4.1285251202823108E-2"/>
          <c:w val="0.31495208282220666"/>
          <c:h val="0.89917368740724757"/>
        </c:manualLayout>
      </c:layout>
      <c:overlay val="1"/>
      <c:txPr>
        <a:bodyPr/>
        <a:lstStyle/>
        <a:p>
          <a:pPr>
            <a:defRPr sz="2000">
              <a:solidFill>
                <a:srgbClr val="000000"/>
              </a:solidFill>
              <a:latin typeface="Trebuchet MS" panose="020B0603020202020204" pitchFamily="34" charset="0"/>
            </a:defRPr>
          </a:pPr>
          <a:endParaRPr lang="en-NG"/>
        </a:p>
      </c:txPr>
    </c:legend>
    <c:plotVisOnly val="1"/>
    <c:dispBlanksAs val="gap"/>
    <c:showDLblsOverMax val="1"/>
  </c:chart>
  <c:spPr>
    <a:noFill/>
    <a:ln>
      <a:noFill/>
    </a:ln>
    <a:effectLst/>
  </c:sp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812209428517368"/>
          <c:y val="9.954885827611077E-3"/>
          <c:w val="0.99"/>
          <c:h val="0.98750000000000004"/>
        </c:manualLayout>
      </c:layout>
      <c:doughnutChart>
        <c:varyColors val="0"/>
        <c:ser>
          <c:idx val="0"/>
          <c:order val="0"/>
          <c:tx>
            <c:strRef>
              <c:f>Sheet1!$A$2</c:f>
              <c:strCache>
                <c:ptCount val="1"/>
                <c:pt idx="0">
                  <c:v>Actual</c:v>
                </c:pt>
              </c:strCache>
            </c:strRef>
          </c:tx>
          <c:spPr>
            <a:solidFill>
              <a:schemeClr val="accent3"/>
            </a:solidFill>
            <a:ln w="12700" cap="flat">
              <a:solidFill>
                <a:srgbClr val="000000"/>
              </a:solidFill>
              <a:prstDash val="solid"/>
              <a:miter lim="400000"/>
            </a:ln>
            <a:effectLst>
              <a:outerShdw blurRad="25400" dist="19460" dir="18900000" algn="tl">
                <a:srgbClr val="000000">
                  <a:alpha val="44731"/>
                </a:srgbClr>
              </a:outerShdw>
            </a:effectLst>
          </c:spPr>
          <c:dPt>
            <c:idx val="0"/>
            <c:bubble3D val="0"/>
            <c:extLst>
              <c:ext xmlns:c16="http://schemas.microsoft.com/office/drawing/2014/chart" uri="{C3380CC4-5D6E-409C-BE32-E72D297353CC}">
                <c16:uniqueId val="{00000000-6B1D-44D5-824A-392566D1F124}"/>
              </c:ext>
            </c:extLst>
          </c:dPt>
          <c:dPt>
            <c:idx val="1"/>
            <c:bubble3D val="0"/>
            <c:spPr>
              <a:solidFill>
                <a:srgbClr val="A7A7A7"/>
              </a:solidFill>
              <a:ln w="12700" cap="flat">
                <a:solidFill>
                  <a:srgbClr val="000000"/>
                </a:solidFill>
                <a:prstDash val="solid"/>
                <a:miter lim="400000"/>
              </a:ln>
              <a:effectLst/>
            </c:spPr>
            <c:extLst>
              <c:ext xmlns:c16="http://schemas.microsoft.com/office/drawing/2014/chart" uri="{C3380CC4-5D6E-409C-BE32-E72D297353CC}">
                <c16:uniqueId val="{00000002-6B1D-44D5-824A-392566D1F124}"/>
              </c:ext>
            </c:extLst>
          </c:dPt>
          <c:cat>
            <c:strRef>
              <c:f>Sheet1!$B$1:$C$1</c:f>
              <c:strCache>
                <c:ptCount val="1"/>
                <c:pt idx="0">
                  <c:v>2020</c:v>
                </c:pt>
              </c:strCache>
            </c:strRef>
          </c:cat>
          <c:val>
            <c:numRef>
              <c:f>Sheet1!$B$2:$C$2</c:f>
              <c:numCache>
                <c:formatCode>General</c:formatCode>
                <c:ptCount val="2"/>
                <c:pt idx="0">
                  <c:v>78</c:v>
                </c:pt>
                <c:pt idx="1">
                  <c:v>22</c:v>
                </c:pt>
              </c:numCache>
            </c:numRef>
          </c:val>
          <c:extLst>
            <c:ext xmlns:c16="http://schemas.microsoft.com/office/drawing/2014/chart" uri="{C3380CC4-5D6E-409C-BE32-E72D297353CC}">
              <c16:uniqueId val="{00000003-6B1D-44D5-824A-392566D1F124}"/>
            </c:ext>
          </c:extLst>
        </c:ser>
        <c:dLbls>
          <c:showLegendKey val="0"/>
          <c:showVal val="0"/>
          <c:showCatName val="0"/>
          <c:showSerName val="0"/>
          <c:showPercent val="0"/>
          <c:showBubbleSize val="0"/>
          <c:showLeaderLines val="1"/>
        </c:dLbls>
        <c:firstSliceAng val="0"/>
        <c:holeSize val="75"/>
      </c:doughnutChart>
      <c:spPr>
        <a:noFill/>
        <a:ln w="12700" cap="flat">
          <a:noFill/>
          <a:miter lim="400000"/>
        </a:ln>
        <a:effectLst/>
      </c:spPr>
    </c:plotArea>
    <c:plotVisOnly val="1"/>
    <c:dispBlanksAs val="gap"/>
    <c:showDLblsOverMax val="1"/>
  </c:chart>
  <c:spPr>
    <a:noFill/>
    <a:ln>
      <a:noFill/>
    </a:ln>
    <a:effectLst/>
  </c:sp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18D7AEC-790C-42E4-A278-228B757A550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00E4E89-89D8-43A6-BFE4-107C7AD3E28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7024509-5245-41AD-9A25-8D4F0443665C}" type="datetimeFigureOut">
              <a:rPr lang="en-US" smtClean="0"/>
              <a:t>5/6/21</a:t>
            </a:fld>
            <a:endParaRPr lang="en-US"/>
          </a:p>
        </p:txBody>
      </p:sp>
      <p:sp>
        <p:nvSpPr>
          <p:cNvPr id="4" name="Footer Placeholder 3">
            <a:extLst>
              <a:ext uri="{FF2B5EF4-FFF2-40B4-BE49-F238E27FC236}">
                <a16:creationId xmlns:a16="http://schemas.microsoft.com/office/drawing/2014/main" id="{B048ADCC-B6B3-4416-A8B7-9E360FE6D99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EFBCBED-E71D-48B0-B7E2-734FFF4CEB4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A51B2E-0F72-46FA-B03C-890DC0BF3621}" type="slidenum">
              <a:rPr lang="en-US" smtClean="0"/>
              <a:t>‹#›</a:t>
            </a:fld>
            <a:endParaRPr lang="en-US"/>
          </a:p>
        </p:txBody>
      </p:sp>
    </p:spTree>
    <p:extLst>
      <p:ext uri="{BB962C8B-B14F-4D97-AF65-F5344CB8AC3E}">
        <p14:creationId xmlns:p14="http://schemas.microsoft.com/office/powerpoint/2010/main" val="2038481802"/>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5" name="Shape 135"/>
          <p:cNvSpPr>
            <a:spLocks noGrp="1" noRot="1" noChangeAspect="1"/>
          </p:cNvSpPr>
          <p:nvPr>
            <p:ph type="sldImg"/>
          </p:nvPr>
        </p:nvSpPr>
        <p:spPr>
          <a:xfrm>
            <a:off x="1143000" y="685800"/>
            <a:ext cx="4572000" cy="3429000"/>
          </a:xfrm>
          <a:prstGeom prst="rect">
            <a:avLst/>
          </a:prstGeom>
        </p:spPr>
        <p:txBody>
          <a:bodyPr/>
          <a:lstStyle/>
          <a:p>
            <a:endParaRPr/>
          </a:p>
        </p:txBody>
      </p:sp>
      <p:sp>
        <p:nvSpPr>
          <p:cNvPr id="136" name="Shape 136"/>
          <p:cNvSpPr>
            <a:spLocks noGrp="1"/>
          </p:cNvSpPr>
          <p:nvPr>
            <p:ph type="body" sz="quarter" idx="1"/>
          </p:nvPr>
        </p:nvSpPr>
        <p:spPr>
          <a:xfrm>
            <a:off x="914400" y="4343400"/>
            <a:ext cx="5029200" cy="4114800"/>
          </a:xfrm>
          <a:prstGeom prst="rect">
            <a:avLst/>
          </a:prstGeom>
        </p:spPr>
        <p:txBody>
          <a:bodyPr/>
          <a:lstStyle/>
          <a:p>
            <a:endParaRPr/>
          </a:p>
        </p:txBody>
      </p:sp>
    </p:spTree>
    <p:extLst>
      <p:ext uri="{BB962C8B-B14F-4D97-AF65-F5344CB8AC3E}">
        <p14:creationId xmlns:p14="http://schemas.microsoft.com/office/powerpoint/2010/main" val="843098356"/>
      </p:ext>
    </p:extLst>
  </p:cSld>
  <p:clrMap bg1="lt1" tx1="dk1" bg2="lt2" tx2="dk2" accent1="accent1" accent2="accent2" accent3="accent3" accent4="accent4" accent5="accent5" accent6="accent6" hlink="hlink" folHlink="folHlink"/>
  <p:hf sldNum="0" hdr="0" ftr="0" dt="0"/>
  <p:notesStyle>
    <a:lvl1pPr defTabSz="457200" latinLnBrk="0">
      <a:lnSpc>
        <a:spcPct val="116999"/>
      </a:lnSpc>
      <a:defRPr sz="2200">
        <a:latin typeface="+mn-lt"/>
        <a:ea typeface="+mn-ea"/>
        <a:cs typeface="+mn-cs"/>
        <a:sym typeface="Helvetica Neue"/>
      </a:defRPr>
    </a:lvl1pPr>
    <a:lvl2pPr indent="228600" defTabSz="457200" latinLnBrk="0">
      <a:lnSpc>
        <a:spcPct val="116999"/>
      </a:lnSpc>
      <a:defRPr sz="2200">
        <a:latin typeface="+mn-lt"/>
        <a:ea typeface="+mn-ea"/>
        <a:cs typeface="+mn-cs"/>
        <a:sym typeface="Helvetica Neue"/>
      </a:defRPr>
    </a:lvl2pPr>
    <a:lvl3pPr indent="457200" defTabSz="457200" latinLnBrk="0">
      <a:lnSpc>
        <a:spcPct val="116999"/>
      </a:lnSpc>
      <a:defRPr sz="2200">
        <a:latin typeface="+mn-lt"/>
        <a:ea typeface="+mn-ea"/>
        <a:cs typeface="+mn-cs"/>
        <a:sym typeface="Helvetica Neue"/>
      </a:defRPr>
    </a:lvl3pPr>
    <a:lvl4pPr indent="685800" defTabSz="457200" latinLnBrk="0">
      <a:lnSpc>
        <a:spcPct val="116999"/>
      </a:lnSpc>
      <a:defRPr sz="2200">
        <a:latin typeface="+mn-lt"/>
        <a:ea typeface="+mn-ea"/>
        <a:cs typeface="+mn-cs"/>
        <a:sym typeface="Helvetica Neue"/>
      </a:defRPr>
    </a:lvl4pPr>
    <a:lvl5pPr indent="914400" defTabSz="457200" latinLnBrk="0">
      <a:lnSpc>
        <a:spcPct val="116999"/>
      </a:lnSpc>
      <a:defRPr sz="2200">
        <a:latin typeface="+mn-lt"/>
        <a:ea typeface="+mn-ea"/>
        <a:cs typeface="+mn-cs"/>
        <a:sym typeface="Helvetica Neue"/>
      </a:defRPr>
    </a:lvl5pPr>
    <a:lvl6pPr indent="1143000" defTabSz="457200" latinLnBrk="0">
      <a:lnSpc>
        <a:spcPct val="116999"/>
      </a:lnSpc>
      <a:defRPr sz="2200">
        <a:latin typeface="+mn-lt"/>
        <a:ea typeface="+mn-ea"/>
        <a:cs typeface="+mn-cs"/>
        <a:sym typeface="Helvetica Neue"/>
      </a:defRPr>
    </a:lvl6pPr>
    <a:lvl7pPr indent="1371600" defTabSz="457200" latinLnBrk="0">
      <a:lnSpc>
        <a:spcPct val="116999"/>
      </a:lnSpc>
      <a:defRPr sz="2200">
        <a:latin typeface="+mn-lt"/>
        <a:ea typeface="+mn-ea"/>
        <a:cs typeface="+mn-cs"/>
        <a:sym typeface="Helvetica Neue"/>
      </a:defRPr>
    </a:lvl7pPr>
    <a:lvl8pPr indent="1600200" defTabSz="457200" latinLnBrk="0">
      <a:lnSpc>
        <a:spcPct val="116999"/>
      </a:lnSpc>
      <a:defRPr sz="2200">
        <a:latin typeface="+mn-lt"/>
        <a:ea typeface="+mn-ea"/>
        <a:cs typeface="+mn-cs"/>
        <a:sym typeface="Helvetica Neue"/>
      </a:defRPr>
    </a:lvl8pPr>
    <a:lvl9pPr indent="1828800" defTabSz="457200" latinLnBrk="0">
      <a:lnSpc>
        <a:spcPct val="116999"/>
      </a:lnSpc>
      <a:defRPr sz="2200">
        <a:latin typeface="+mn-lt"/>
        <a:ea typeface="+mn-ea"/>
        <a:cs typeface="+mn-cs"/>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379955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4.xml"/><Relationship Id="rId1" Type="http://schemas.openxmlformats.org/officeDocument/2006/relationships/vmlDrawing" Target="../drawings/vmlDrawing71.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71.bin"/></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5.xml"/><Relationship Id="rId1" Type="http://schemas.openxmlformats.org/officeDocument/2006/relationships/vmlDrawing" Target="../drawings/vmlDrawing72.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72.bin"/></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23.jpg"/><Relationship Id="rId3" Type="http://schemas.openxmlformats.org/officeDocument/2006/relationships/tags" Target="../tags/tag137.xml"/><Relationship Id="rId7" Type="http://schemas.openxmlformats.org/officeDocument/2006/relationships/image" Target="../media/image22.emf"/><Relationship Id="rId2" Type="http://schemas.openxmlformats.org/officeDocument/2006/relationships/tags" Target="../tags/tag136.xml"/><Relationship Id="rId1" Type="http://schemas.openxmlformats.org/officeDocument/2006/relationships/vmlDrawing" Target="../drawings/vmlDrawing73.vml"/><Relationship Id="rId6" Type="http://schemas.openxmlformats.org/officeDocument/2006/relationships/oleObject" Target="../embeddings/oleObject73.bin"/><Relationship Id="rId5" Type="http://schemas.openxmlformats.org/officeDocument/2006/relationships/slideMaster" Target="../slideMasters/slideMaster5.xml"/><Relationship Id="rId4" Type="http://schemas.openxmlformats.org/officeDocument/2006/relationships/tags" Target="../tags/tag138.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7.pn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tags" Target="../tags/tag140.xml"/><Relationship Id="rId7" Type="http://schemas.openxmlformats.org/officeDocument/2006/relationships/oleObject" Target="../embeddings/oleObject74.bin"/><Relationship Id="rId2" Type="http://schemas.openxmlformats.org/officeDocument/2006/relationships/tags" Target="../tags/tag139.xml"/><Relationship Id="rId1" Type="http://schemas.openxmlformats.org/officeDocument/2006/relationships/vmlDrawing" Target="../drawings/vmlDrawing74.vml"/><Relationship Id="rId6" Type="http://schemas.openxmlformats.org/officeDocument/2006/relationships/slideMaster" Target="../slideMasters/slideMaster5.xml"/><Relationship Id="rId5" Type="http://schemas.openxmlformats.org/officeDocument/2006/relationships/tags" Target="../tags/tag142.xml"/><Relationship Id="rId10" Type="http://schemas.openxmlformats.org/officeDocument/2006/relationships/image" Target="../media/image23.jpg"/><Relationship Id="rId4" Type="http://schemas.openxmlformats.org/officeDocument/2006/relationships/tags" Target="../tags/tag141.xml"/><Relationship Id="rId9" Type="http://schemas.openxmlformats.org/officeDocument/2006/relationships/image" Target="../media/image7.pn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7.png"/><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3.xml"/><Relationship Id="rId1" Type="http://schemas.openxmlformats.org/officeDocument/2006/relationships/vmlDrawing" Target="../drawings/vmlDrawing75.vml"/><Relationship Id="rId6" Type="http://schemas.openxmlformats.org/officeDocument/2006/relationships/image" Target="../media/image8.png"/><Relationship Id="rId5" Type="http://schemas.openxmlformats.org/officeDocument/2006/relationships/image" Target="../media/image24.emf"/><Relationship Id="rId4" Type="http://schemas.openxmlformats.org/officeDocument/2006/relationships/oleObject" Target="../embeddings/oleObject75.bin"/></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7.png"/><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4.xml"/><Relationship Id="rId1" Type="http://schemas.openxmlformats.org/officeDocument/2006/relationships/vmlDrawing" Target="../drawings/vmlDrawing76.vml"/><Relationship Id="rId6" Type="http://schemas.openxmlformats.org/officeDocument/2006/relationships/image" Target="../media/image26.png"/><Relationship Id="rId5" Type="http://schemas.openxmlformats.org/officeDocument/2006/relationships/image" Target="../media/image22.emf"/><Relationship Id="rId4" Type="http://schemas.openxmlformats.org/officeDocument/2006/relationships/oleObject" Target="../embeddings/oleObject76.bin"/></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8" Type="http://schemas.openxmlformats.org/officeDocument/2006/relationships/image" Target="../media/image23.jpg"/><Relationship Id="rId3" Type="http://schemas.openxmlformats.org/officeDocument/2006/relationships/tags" Target="../tags/tag146.xml"/><Relationship Id="rId7" Type="http://schemas.openxmlformats.org/officeDocument/2006/relationships/image" Target="../media/image22.emf"/><Relationship Id="rId2" Type="http://schemas.openxmlformats.org/officeDocument/2006/relationships/tags" Target="../tags/tag145.xml"/><Relationship Id="rId1" Type="http://schemas.openxmlformats.org/officeDocument/2006/relationships/vmlDrawing" Target="../drawings/vmlDrawing77.vml"/><Relationship Id="rId6" Type="http://schemas.openxmlformats.org/officeDocument/2006/relationships/oleObject" Target="../embeddings/oleObject77.bin"/><Relationship Id="rId5" Type="http://schemas.openxmlformats.org/officeDocument/2006/relationships/slideMaster" Target="../slideMasters/slideMaster5.xml"/><Relationship Id="rId4" Type="http://schemas.openxmlformats.org/officeDocument/2006/relationships/tags" Target="../tags/tag147.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7.png"/><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3" Type="http://schemas.openxmlformats.org/officeDocument/2006/relationships/tags" Target="../tags/tag149.xml"/><Relationship Id="rId2" Type="http://schemas.openxmlformats.org/officeDocument/2006/relationships/tags" Target="../tags/tag148.xml"/><Relationship Id="rId1" Type="http://schemas.openxmlformats.org/officeDocument/2006/relationships/vmlDrawing" Target="../drawings/vmlDrawing78.vml"/><Relationship Id="rId6" Type="http://schemas.openxmlformats.org/officeDocument/2006/relationships/image" Target="../media/image21.emf"/><Relationship Id="rId5" Type="http://schemas.openxmlformats.org/officeDocument/2006/relationships/oleObject" Target="../embeddings/oleObject78.bin"/><Relationship Id="rId4"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0.xml"/><Relationship Id="rId1" Type="http://schemas.openxmlformats.org/officeDocument/2006/relationships/vmlDrawing" Target="../drawings/vmlDrawing79.vml"/><Relationship Id="rId5" Type="http://schemas.openxmlformats.org/officeDocument/2006/relationships/image" Target="../media/image21.emf"/><Relationship Id="rId4" Type="http://schemas.openxmlformats.org/officeDocument/2006/relationships/oleObject" Target="../embeddings/oleObject79.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1.xml"/><Relationship Id="rId1" Type="http://schemas.openxmlformats.org/officeDocument/2006/relationships/vmlDrawing" Target="../drawings/vmlDrawing80.vml"/><Relationship Id="rId5" Type="http://schemas.openxmlformats.org/officeDocument/2006/relationships/image" Target="../media/image21.emf"/><Relationship Id="rId4" Type="http://schemas.openxmlformats.org/officeDocument/2006/relationships/oleObject" Target="../embeddings/oleObject80.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2.xml"/><Relationship Id="rId1" Type="http://schemas.openxmlformats.org/officeDocument/2006/relationships/vmlDrawing" Target="../drawings/vmlDrawing81.vml"/><Relationship Id="rId6" Type="http://schemas.openxmlformats.org/officeDocument/2006/relationships/image" Target="../media/image7.png"/><Relationship Id="rId5" Type="http://schemas.openxmlformats.org/officeDocument/2006/relationships/image" Target="../media/image21.emf"/><Relationship Id="rId4" Type="http://schemas.openxmlformats.org/officeDocument/2006/relationships/oleObject" Target="../embeddings/oleObject81.bin"/></Relationships>
</file>

<file path=ppt/slideLayouts/_rels/slideLayout155.xml.rels><?xml version="1.0" encoding="UTF-8" standalone="yes"?>
<Relationships xmlns="http://schemas.openxmlformats.org/package/2006/relationships"><Relationship Id="rId3" Type="http://schemas.openxmlformats.org/officeDocument/2006/relationships/tags" Target="../tags/tag154.xml"/><Relationship Id="rId2" Type="http://schemas.openxmlformats.org/officeDocument/2006/relationships/tags" Target="../tags/tag153.xml"/><Relationship Id="rId1" Type="http://schemas.openxmlformats.org/officeDocument/2006/relationships/vmlDrawing" Target="../drawings/vmlDrawing82.vml"/><Relationship Id="rId6" Type="http://schemas.openxmlformats.org/officeDocument/2006/relationships/image" Target="../media/image21.emf"/><Relationship Id="rId5" Type="http://schemas.openxmlformats.org/officeDocument/2006/relationships/oleObject" Target="../embeddings/oleObject82.bin"/><Relationship Id="rId4"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5.xml"/><Relationship Id="rId1" Type="http://schemas.openxmlformats.org/officeDocument/2006/relationships/vmlDrawing" Target="../drawings/vmlDrawing83.vml"/><Relationship Id="rId5" Type="http://schemas.openxmlformats.org/officeDocument/2006/relationships/image" Target="../media/image21.emf"/><Relationship Id="rId4" Type="http://schemas.openxmlformats.org/officeDocument/2006/relationships/oleObject" Target="../embeddings/oleObject83.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6.xml"/><Relationship Id="rId1" Type="http://schemas.openxmlformats.org/officeDocument/2006/relationships/vmlDrawing" Target="../drawings/vmlDrawing84.vml"/><Relationship Id="rId5" Type="http://schemas.openxmlformats.org/officeDocument/2006/relationships/image" Target="../media/image21.emf"/><Relationship Id="rId4" Type="http://schemas.openxmlformats.org/officeDocument/2006/relationships/oleObject" Target="../embeddings/oleObject84.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7.xml"/><Relationship Id="rId1" Type="http://schemas.openxmlformats.org/officeDocument/2006/relationships/vmlDrawing" Target="../drawings/vmlDrawing85.vml"/><Relationship Id="rId6" Type="http://schemas.openxmlformats.org/officeDocument/2006/relationships/image" Target="../media/image7.png"/><Relationship Id="rId5" Type="http://schemas.openxmlformats.org/officeDocument/2006/relationships/image" Target="../media/image21.emf"/><Relationship Id="rId4" Type="http://schemas.openxmlformats.org/officeDocument/2006/relationships/oleObject" Target="../embeddings/oleObject85.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8.xml"/><Relationship Id="rId1" Type="http://schemas.openxmlformats.org/officeDocument/2006/relationships/vmlDrawing" Target="../drawings/vmlDrawing86.vml"/><Relationship Id="rId6" Type="http://schemas.openxmlformats.org/officeDocument/2006/relationships/image" Target="../media/image8.png"/><Relationship Id="rId5" Type="http://schemas.openxmlformats.org/officeDocument/2006/relationships/image" Target="../media/image21.emf"/><Relationship Id="rId4" Type="http://schemas.openxmlformats.org/officeDocument/2006/relationships/oleObject" Target="../embeddings/oleObject86.bin"/></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7.png"/><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tags" Target="../tags/tag161.xml"/><Relationship Id="rId7" Type="http://schemas.openxmlformats.org/officeDocument/2006/relationships/oleObject" Target="../embeddings/oleObject88.bin"/><Relationship Id="rId2" Type="http://schemas.openxmlformats.org/officeDocument/2006/relationships/tags" Target="../tags/tag160.xml"/><Relationship Id="rId1" Type="http://schemas.openxmlformats.org/officeDocument/2006/relationships/vmlDrawing" Target="../drawings/vmlDrawing88.vml"/><Relationship Id="rId6" Type="http://schemas.openxmlformats.org/officeDocument/2006/relationships/slideMaster" Target="../slideMasters/slideMaster6.xml"/><Relationship Id="rId5" Type="http://schemas.openxmlformats.org/officeDocument/2006/relationships/tags" Target="../tags/tag163.xml"/><Relationship Id="rId10" Type="http://schemas.openxmlformats.org/officeDocument/2006/relationships/image" Target="../media/image23.jpg"/><Relationship Id="rId4" Type="http://schemas.openxmlformats.org/officeDocument/2006/relationships/tags" Target="../tags/tag162.xml"/><Relationship Id="rId9" Type="http://schemas.openxmlformats.org/officeDocument/2006/relationships/image" Target="../media/image7.png"/></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8.png"/><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5.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4.xml"/><Relationship Id="rId1" Type="http://schemas.openxmlformats.org/officeDocument/2006/relationships/vmlDrawing" Target="../drawings/vmlDrawing89.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89.bin"/></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9.png"/><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5.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5.xml"/><Relationship Id="rId1" Type="http://schemas.openxmlformats.org/officeDocument/2006/relationships/vmlDrawing" Target="../drawings/vmlDrawing90.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90.bin"/></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8" Type="http://schemas.openxmlformats.org/officeDocument/2006/relationships/image" Target="../media/image23.jpg"/><Relationship Id="rId3" Type="http://schemas.openxmlformats.org/officeDocument/2006/relationships/tags" Target="../tags/tag167.xml"/><Relationship Id="rId7" Type="http://schemas.openxmlformats.org/officeDocument/2006/relationships/image" Target="../media/image22.emf"/><Relationship Id="rId2" Type="http://schemas.openxmlformats.org/officeDocument/2006/relationships/tags" Target="../tags/tag166.xml"/><Relationship Id="rId1" Type="http://schemas.openxmlformats.org/officeDocument/2006/relationships/vmlDrawing" Target="../drawings/vmlDrawing91.vml"/><Relationship Id="rId6" Type="http://schemas.openxmlformats.org/officeDocument/2006/relationships/oleObject" Target="../embeddings/oleObject91.bin"/><Relationship Id="rId5" Type="http://schemas.openxmlformats.org/officeDocument/2006/relationships/slideMaster" Target="../slideMasters/slideMaster6.xml"/><Relationship Id="rId4" Type="http://schemas.openxmlformats.org/officeDocument/2006/relationships/tags" Target="../tags/tag16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tags" Target="../tags/tag170.xml"/><Relationship Id="rId7" Type="http://schemas.openxmlformats.org/officeDocument/2006/relationships/oleObject" Target="../embeddings/oleObject92.bin"/><Relationship Id="rId2" Type="http://schemas.openxmlformats.org/officeDocument/2006/relationships/tags" Target="../tags/tag169.xml"/><Relationship Id="rId1" Type="http://schemas.openxmlformats.org/officeDocument/2006/relationships/vmlDrawing" Target="../drawings/vmlDrawing92.vml"/><Relationship Id="rId6" Type="http://schemas.openxmlformats.org/officeDocument/2006/relationships/slideMaster" Target="../slideMasters/slideMaster6.xml"/><Relationship Id="rId5" Type="http://schemas.openxmlformats.org/officeDocument/2006/relationships/tags" Target="../tags/tag172.xml"/><Relationship Id="rId10" Type="http://schemas.openxmlformats.org/officeDocument/2006/relationships/image" Target="../media/image23.jpg"/><Relationship Id="rId4" Type="http://schemas.openxmlformats.org/officeDocument/2006/relationships/tags" Target="../tags/tag171.xml"/><Relationship Id="rId9" Type="http://schemas.openxmlformats.org/officeDocument/2006/relationships/image" Target="../media/image7.png"/></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8.png"/><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9.png"/><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5.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3.xml"/><Relationship Id="rId1" Type="http://schemas.openxmlformats.org/officeDocument/2006/relationships/vmlDrawing" Target="../drawings/vmlDrawing93.vml"/><Relationship Id="rId6" Type="http://schemas.openxmlformats.org/officeDocument/2006/relationships/image" Target="../media/image8.png"/><Relationship Id="rId5" Type="http://schemas.openxmlformats.org/officeDocument/2006/relationships/image" Target="../media/image24.emf"/><Relationship Id="rId4" Type="http://schemas.openxmlformats.org/officeDocument/2006/relationships/oleObject" Target="../embeddings/oleObject93.bin"/></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8.png"/><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5.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4.xml"/><Relationship Id="rId1" Type="http://schemas.openxmlformats.org/officeDocument/2006/relationships/vmlDrawing" Target="../drawings/vmlDrawing94.vml"/><Relationship Id="rId6" Type="http://schemas.openxmlformats.org/officeDocument/2006/relationships/image" Target="../media/image26.png"/><Relationship Id="rId5" Type="http://schemas.openxmlformats.org/officeDocument/2006/relationships/image" Target="../media/image22.emf"/><Relationship Id="rId4" Type="http://schemas.openxmlformats.org/officeDocument/2006/relationships/oleObject" Target="../embeddings/oleObject94.bin"/></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8" Type="http://schemas.openxmlformats.org/officeDocument/2006/relationships/image" Target="../media/image23.jpg"/><Relationship Id="rId3" Type="http://schemas.openxmlformats.org/officeDocument/2006/relationships/tags" Target="../tags/tag176.xml"/><Relationship Id="rId7" Type="http://schemas.openxmlformats.org/officeDocument/2006/relationships/image" Target="../media/image22.emf"/><Relationship Id="rId2" Type="http://schemas.openxmlformats.org/officeDocument/2006/relationships/tags" Target="../tags/tag175.xml"/><Relationship Id="rId1" Type="http://schemas.openxmlformats.org/officeDocument/2006/relationships/vmlDrawing" Target="../drawings/vmlDrawing95.vml"/><Relationship Id="rId6" Type="http://schemas.openxmlformats.org/officeDocument/2006/relationships/oleObject" Target="../embeddings/oleObject95.bin"/><Relationship Id="rId5" Type="http://schemas.openxmlformats.org/officeDocument/2006/relationships/slideMaster" Target="../slideMasters/slideMaster6.xml"/><Relationship Id="rId4" Type="http://schemas.openxmlformats.org/officeDocument/2006/relationships/tags" Target="../tags/tag17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3" Type="http://schemas.openxmlformats.org/officeDocument/2006/relationships/tags" Target="../tags/tag179.xml"/><Relationship Id="rId2" Type="http://schemas.openxmlformats.org/officeDocument/2006/relationships/tags" Target="../tags/tag178.xml"/><Relationship Id="rId1" Type="http://schemas.openxmlformats.org/officeDocument/2006/relationships/vmlDrawing" Target="../drawings/vmlDrawing96.vml"/><Relationship Id="rId6" Type="http://schemas.openxmlformats.org/officeDocument/2006/relationships/image" Target="../media/image21.emf"/><Relationship Id="rId5" Type="http://schemas.openxmlformats.org/officeDocument/2006/relationships/oleObject" Target="../embeddings/oleObject96.bin"/><Relationship Id="rId4"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0.xml"/><Relationship Id="rId1" Type="http://schemas.openxmlformats.org/officeDocument/2006/relationships/vmlDrawing" Target="../drawings/vmlDrawing97.vml"/><Relationship Id="rId5" Type="http://schemas.openxmlformats.org/officeDocument/2006/relationships/image" Target="../media/image21.emf"/><Relationship Id="rId4" Type="http://schemas.openxmlformats.org/officeDocument/2006/relationships/oleObject" Target="../embeddings/oleObject97.bin"/></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9.png"/><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5.emf"/><Relationship Id="rId5" Type="http://schemas.openxmlformats.org/officeDocument/2006/relationships/oleObject" Target="../embeddings/oleObject18.bin"/><Relationship Id="rId4"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1.xml"/><Relationship Id="rId1" Type="http://schemas.openxmlformats.org/officeDocument/2006/relationships/vmlDrawing" Target="../drawings/vmlDrawing98.vml"/><Relationship Id="rId5" Type="http://schemas.openxmlformats.org/officeDocument/2006/relationships/image" Target="../media/image21.emf"/><Relationship Id="rId4" Type="http://schemas.openxmlformats.org/officeDocument/2006/relationships/oleObject" Target="../embeddings/oleObject98.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2.xml"/><Relationship Id="rId1" Type="http://schemas.openxmlformats.org/officeDocument/2006/relationships/vmlDrawing" Target="../drawings/vmlDrawing99.vml"/><Relationship Id="rId6" Type="http://schemas.openxmlformats.org/officeDocument/2006/relationships/image" Target="../media/image7.png"/><Relationship Id="rId5" Type="http://schemas.openxmlformats.org/officeDocument/2006/relationships/image" Target="../media/image21.emf"/><Relationship Id="rId4" Type="http://schemas.openxmlformats.org/officeDocument/2006/relationships/oleObject" Target="../embeddings/oleObject99.bin"/></Relationships>
</file>

<file path=ppt/slideLayouts/_rels/slideLayout222.xml.rels><?xml version="1.0" encoding="UTF-8" standalone="yes"?>
<Relationships xmlns="http://schemas.openxmlformats.org/package/2006/relationships"><Relationship Id="rId3" Type="http://schemas.openxmlformats.org/officeDocument/2006/relationships/tags" Target="../tags/tag184.xml"/><Relationship Id="rId2" Type="http://schemas.openxmlformats.org/officeDocument/2006/relationships/tags" Target="../tags/tag183.xml"/><Relationship Id="rId1" Type="http://schemas.openxmlformats.org/officeDocument/2006/relationships/vmlDrawing" Target="../drawings/vmlDrawing100.vml"/><Relationship Id="rId6" Type="http://schemas.openxmlformats.org/officeDocument/2006/relationships/image" Target="../media/image21.emf"/><Relationship Id="rId5" Type="http://schemas.openxmlformats.org/officeDocument/2006/relationships/oleObject" Target="../embeddings/oleObject100.bin"/><Relationship Id="rId4"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5.xml"/><Relationship Id="rId1" Type="http://schemas.openxmlformats.org/officeDocument/2006/relationships/vmlDrawing" Target="../drawings/vmlDrawing101.vml"/><Relationship Id="rId5" Type="http://schemas.openxmlformats.org/officeDocument/2006/relationships/image" Target="../media/image21.emf"/><Relationship Id="rId4" Type="http://schemas.openxmlformats.org/officeDocument/2006/relationships/oleObject" Target="../embeddings/oleObject101.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6.xml"/><Relationship Id="rId1" Type="http://schemas.openxmlformats.org/officeDocument/2006/relationships/vmlDrawing" Target="../drawings/vmlDrawing102.vml"/><Relationship Id="rId5" Type="http://schemas.openxmlformats.org/officeDocument/2006/relationships/image" Target="../media/image21.emf"/><Relationship Id="rId4" Type="http://schemas.openxmlformats.org/officeDocument/2006/relationships/oleObject" Target="../embeddings/oleObject102.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7.xml"/><Relationship Id="rId1" Type="http://schemas.openxmlformats.org/officeDocument/2006/relationships/vmlDrawing" Target="../drawings/vmlDrawing103.vml"/><Relationship Id="rId6" Type="http://schemas.openxmlformats.org/officeDocument/2006/relationships/image" Target="../media/image7.png"/><Relationship Id="rId5" Type="http://schemas.openxmlformats.org/officeDocument/2006/relationships/image" Target="../media/image21.emf"/><Relationship Id="rId4" Type="http://schemas.openxmlformats.org/officeDocument/2006/relationships/oleObject" Target="../embeddings/oleObject103.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8.xml"/><Relationship Id="rId1" Type="http://schemas.openxmlformats.org/officeDocument/2006/relationships/vmlDrawing" Target="../drawings/vmlDrawing104.vml"/><Relationship Id="rId6" Type="http://schemas.openxmlformats.org/officeDocument/2006/relationships/image" Target="../media/image8.png"/><Relationship Id="rId5" Type="http://schemas.openxmlformats.org/officeDocument/2006/relationships/image" Target="../media/image21.emf"/><Relationship Id="rId4" Type="http://schemas.openxmlformats.org/officeDocument/2006/relationships/oleObject" Target="../embeddings/oleObject104.bin"/></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8.png"/><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image" Target="../media/image5.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9.png"/><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image" Target="../media/image5.emf"/><Relationship Id="rId5" Type="http://schemas.openxmlformats.org/officeDocument/2006/relationships/oleObject" Target="../embeddings/oleObject20.bin"/><Relationship Id="rId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image" Target="../media/image5.emf"/><Relationship Id="rId5" Type="http://schemas.openxmlformats.org/officeDocument/2006/relationships/oleObject" Target="../embeddings/oleObject21.bin"/><Relationship Id="rId4"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image" Target="../media/image5.emf"/><Relationship Id="rId5" Type="http://schemas.openxmlformats.org/officeDocument/2006/relationships/oleObject" Target="../embeddings/oleObject22.bin"/><Relationship Id="rId4"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23.bin"/></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4.vml"/><Relationship Id="rId6" Type="http://schemas.openxmlformats.org/officeDocument/2006/relationships/image" Target="../media/image5.emf"/><Relationship Id="rId5" Type="http://schemas.openxmlformats.org/officeDocument/2006/relationships/oleObject" Target="../embeddings/oleObject24.bin"/><Relationship Id="rId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8.xml"/><Relationship Id="rId1" Type="http://schemas.openxmlformats.org/officeDocument/2006/relationships/vmlDrawing" Target="../drawings/vmlDrawing25.vml"/><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vmlDrawing" Target="../drawings/vmlDrawing26.vml"/><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vmlDrawing" Target="../drawings/vmlDrawing27.vml"/><Relationship Id="rId5" Type="http://schemas.openxmlformats.org/officeDocument/2006/relationships/image" Target="../media/image5.emf"/><Relationship Id="rId4" Type="http://schemas.openxmlformats.org/officeDocument/2006/relationships/oleObject" Target="../embeddings/oleObject27.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vmlDrawing" Target="../drawings/vmlDrawing28.vml"/><Relationship Id="rId6" Type="http://schemas.openxmlformats.org/officeDocument/2006/relationships/image" Target="../media/image10.png"/><Relationship Id="rId5" Type="http://schemas.openxmlformats.org/officeDocument/2006/relationships/image" Target="../media/image5.emf"/><Relationship Id="rId4" Type="http://schemas.openxmlformats.org/officeDocument/2006/relationships/oleObject" Target="../embeddings/oleObject28.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vmlDrawing" Target="../drawings/vmlDrawing29.vml"/><Relationship Id="rId5" Type="http://schemas.openxmlformats.org/officeDocument/2006/relationships/image" Target="../media/image5.emf"/><Relationship Id="rId4" Type="http://schemas.openxmlformats.org/officeDocument/2006/relationships/oleObject" Target="../embeddings/oleObject29.bin"/></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6.png"/><Relationship Id="rId2" Type="http://schemas.openxmlformats.org/officeDocument/2006/relationships/tags" Target="../tags/tag53.xml"/><Relationship Id="rId1" Type="http://schemas.openxmlformats.org/officeDocument/2006/relationships/vmlDrawing" Target="../drawings/vmlDrawing30.vml"/><Relationship Id="rId6" Type="http://schemas.openxmlformats.org/officeDocument/2006/relationships/image" Target="../media/image5.emf"/><Relationship Id="rId5" Type="http://schemas.openxmlformats.org/officeDocument/2006/relationships/oleObject" Target="../embeddings/oleObject30.bin"/><Relationship Id="rId4"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1.vml"/><Relationship Id="rId6" Type="http://schemas.openxmlformats.org/officeDocument/2006/relationships/image" Target="../media/image5.emf"/><Relationship Id="rId5" Type="http://schemas.openxmlformats.org/officeDocument/2006/relationships/oleObject" Target="../embeddings/oleObject31.bin"/><Relationship Id="rId4"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2.vml"/><Relationship Id="rId6" Type="http://schemas.openxmlformats.org/officeDocument/2006/relationships/image" Target="../media/image5.emf"/><Relationship Id="rId5" Type="http://schemas.openxmlformats.org/officeDocument/2006/relationships/oleObject" Target="../embeddings/oleObject32.bin"/><Relationship Id="rId4"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3.vml"/><Relationship Id="rId6" Type="http://schemas.openxmlformats.org/officeDocument/2006/relationships/image" Target="../media/image5.emf"/><Relationship Id="rId5" Type="http://schemas.openxmlformats.org/officeDocument/2006/relationships/oleObject" Target="../embeddings/oleObject33.bin"/><Relationship Id="rId4"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34.vml"/><Relationship Id="rId6" Type="http://schemas.openxmlformats.org/officeDocument/2006/relationships/image" Target="../media/image5.emf"/><Relationship Id="rId5" Type="http://schemas.openxmlformats.org/officeDocument/2006/relationships/oleObject" Target="../embeddings/oleObject34.bin"/><Relationship Id="rId4"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5.vml"/><Relationship Id="rId6" Type="http://schemas.openxmlformats.org/officeDocument/2006/relationships/image" Target="../media/image5.emf"/><Relationship Id="rId5" Type="http://schemas.openxmlformats.org/officeDocument/2006/relationships/oleObject" Target="../embeddings/oleObject35.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7.png"/><Relationship Id="rId2" Type="http://schemas.openxmlformats.org/officeDocument/2006/relationships/tags" Target="../tags/tag65.xml"/><Relationship Id="rId1" Type="http://schemas.openxmlformats.org/officeDocument/2006/relationships/vmlDrawing" Target="../drawings/vmlDrawing36.vml"/><Relationship Id="rId6" Type="http://schemas.openxmlformats.org/officeDocument/2006/relationships/image" Target="../media/image5.emf"/><Relationship Id="rId5" Type="http://schemas.openxmlformats.org/officeDocument/2006/relationships/oleObject" Target="../embeddings/oleObject36.bin"/><Relationship Id="rId4"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image" Target="../media/image7.png"/><Relationship Id="rId2" Type="http://schemas.openxmlformats.org/officeDocument/2006/relationships/tags" Target="../tags/tag67.xml"/><Relationship Id="rId1" Type="http://schemas.openxmlformats.org/officeDocument/2006/relationships/vmlDrawing" Target="../drawings/vmlDrawing37.vml"/><Relationship Id="rId6" Type="http://schemas.openxmlformats.org/officeDocument/2006/relationships/image" Target="../media/image5.emf"/><Relationship Id="rId5" Type="http://schemas.openxmlformats.org/officeDocument/2006/relationships/oleObject" Target="../embeddings/oleObject37.bin"/><Relationship Id="rId4"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7.png"/><Relationship Id="rId2" Type="http://schemas.openxmlformats.org/officeDocument/2006/relationships/tags" Target="../tags/tag69.xml"/><Relationship Id="rId1" Type="http://schemas.openxmlformats.org/officeDocument/2006/relationships/vmlDrawing" Target="../drawings/vmlDrawing38.vml"/><Relationship Id="rId6" Type="http://schemas.openxmlformats.org/officeDocument/2006/relationships/image" Target="../media/image5.emf"/><Relationship Id="rId5" Type="http://schemas.openxmlformats.org/officeDocument/2006/relationships/oleObject" Target="../embeddings/oleObject38.bin"/><Relationship Id="rId4"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7.png"/><Relationship Id="rId2" Type="http://schemas.openxmlformats.org/officeDocument/2006/relationships/tags" Target="../tags/tag71.xml"/><Relationship Id="rId1" Type="http://schemas.openxmlformats.org/officeDocument/2006/relationships/vmlDrawing" Target="../drawings/vmlDrawing39.vml"/><Relationship Id="rId6" Type="http://schemas.openxmlformats.org/officeDocument/2006/relationships/image" Target="../media/image5.emf"/><Relationship Id="rId5" Type="http://schemas.openxmlformats.org/officeDocument/2006/relationships/oleObject" Target="../embeddings/oleObject39.bin"/><Relationship Id="rId4"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7.png"/><Relationship Id="rId2" Type="http://schemas.openxmlformats.org/officeDocument/2006/relationships/tags" Target="../tags/tag73.xml"/><Relationship Id="rId1" Type="http://schemas.openxmlformats.org/officeDocument/2006/relationships/vmlDrawing" Target="../drawings/vmlDrawing40.vml"/><Relationship Id="rId6" Type="http://schemas.openxmlformats.org/officeDocument/2006/relationships/image" Target="../media/image5.emf"/><Relationship Id="rId5" Type="http://schemas.openxmlformats.org/officeDocument/2006/relationships/oleObject" Target="../embeddings/oleObject40.bin"/><Relationship Id="rId4"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7.png"/><Relationship Id="rId2" Type="http://schemas.openxmlformats.org/officeDocument/2006/relationships/tags" Target="../tags/tag75.xml"/><Relationship Id="rId1" Type="http://schemas.openxmlformats.org/officeDocument/2006/relationships/vmlDrawing" Target="../drawings/vmlDrawing41.vml"/><Relationship Id="rId6" Type="http://schemas.openxmlformats.org/officeDocument/2006/relationships/image" Target="../media/image5.emf"/><Relationship Id="rId5" Type="http://schemas.openxmlformats.org/officeDocument/2006/relationships/oleObject" Target="../embeddings/oleObject41.bin"/><Relationship Id="rId4"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8.png"/><Relationship Id="rId2" Type="http://schemas.openxmlformats.org/officeDocument/2006/relationships/tags" Target="../tags/tag77.xml"/><Relationship Id="rId1" Type="http://schemas.openxmlformats.org/officeDocument/2006/relationships/vmlDrawing" Target="../drawings/vmlDrawing42.vml"/><Relationship Id="rId6" Type="http://schemas.openxmlformats.org/officeDocument/2006/relationships/image" Target="../media/image5.emf"/><Relationship Id="rId5" Type="http://schemas.openxmlformats.org/officeDocument/2006/relationships/oleObject" Target="../embeddings/oleObject42.bin"/><Relationship Id="rId4"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9.png"/><Relationship Id="rId2" Type="http://schemas.openxmlformats.org/officeDocument/2006/relationships/tags" Target="../tags/tag79.xml"/><Relationship Id="rId1" Type="http://schemas.openxmlformats.org/officeDocument/2006/relationships/vmlDrawing" Target="../drawings/vmlDrawing43.vml"/><Relationship Id="rId6" Type="http://schemas.openxmlformats.org/officeDocument/2006/relationships/image" Target="../media/image5.emf"/><Relationship Id="rId5" Type="http://schemas.openxmlformats.org/officeDocument/2006/relationships/oleObject" Target="../embeddings/oleObject43.bin"/><Relationship Id="rId4"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image" Target="../media/image8.png"/><Relationship Id="rId2" Type="http://schemas.openxmlformats.org/officeDocument/2006/relationships/tags" Target="../tags/tag81.xml"/><Relationship Id="rId1" Type="http://schemas.openxmlformats.org/officeDocument/2006/relationships/vmlDrawing" Target="../drawings/vmlDrawing44.vml"/><Relationship Id="rId6" Type="http://schemas.openxmlformats.org/officeDocument/2006/relationships/image" Target="../media/image5.emf"/><Relationship Id="rId5" Type="http://schemas.openxmlformats.org/officeDocument/2006/relationships/oleObject" Target="../embeddings/oleObject44.bin"/><Relationship Id="rId4"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9.png"/><Relationship Id="rId2" Type="http://schemas.openxmlformats.org/officeDocument/2006/relationships/tags" Target="../tags/tag83.xml"/><Relationship Id="rId1" Type="http://schemas.openxmlformats.org/officeDocument/2006/relationships/vmlDrawing" Target="../drawings/vmlDrawing45.vml"/><Relationship Id="rId6" Type="http://schemas.openxmlformats.org/officeDocument/2006/relationships/image" Target="../media/image5.emf"/><Relationship Id="rId5" Type="http://schemas.openxmlformats.org/officeDocument/2006/relationships/oleObject" Target="../embeddings/oleObject45.bin"/><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8.png"/><Relationship Id="rId2" Type="http://schemas.openxmlformats.org/officeDocument/2006/relationships/tags" Target="../tags/tag85.xml"/><Relationship Id="rId1" Type="http://schemas.openxmlformats.org/officeDocument/2006/relationships/vmlDrawing" Target="../drawings/vmlDrawing46.vml"/><Relationship Id="rId6" Type="http://schemas.openxmlformats.org/officeDocument/2006/relationships/image" Target="../media/image5.emf"/><Relationship Id="rId5" Type="http://schemas.openxmlformats.org/officeDocument/2006/relationships/oleObject" Target="../embeddings/oleObject46.bin"/><Relationship Id="rId4"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9.png"/><Relationship Id="rId2" Type="http://schemas.openxmlformats.org/officeDocument/2006/relationships/tags" Target="../tags/tag87.xml"/><Relationship Id="rId1" Type="http://schemas.openxmlformats.org/officeDocument/2006/relationships/vmlDrawing" Target="../drawings/vmlDrawing47.vml"/><Relationship Id="rId6" Type="http://schemas.openxmlformats.org/officeDocument/2006/relationships/image" Target="../media/image5.emf"/><Relationship Id="rId5" Type="http://schemas.openxmlformats.org/officeDocument/2006/relationships/oleObject" Target="../embeddings/oleObject47.bin"/><Relationship Id="rId4"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90.xml"/><Relationship Id="rId7" Type="http://schemas.openxmlformats.org/officeDocument/2006/relationships/image" Target="../media/image8.png"/><Relationship Id="rId2" Type="http://schemas.openxmlformats.org/officeDocument/2006/relationships/tags" Target="../tags/tag89.xml"/><Relationship Id="rId1" Type="http://schemas.openxmlformats.org/officeDocument/2006/relationships/vmlDrawing" Target="../drawings/vmlDrawing48.vml"/><Relationship Id="rId6" Type="http://schemas.openxmlformats.org/officeDocument/2006/relationships/image" Target="../media/image5.emf"/><Relationship Id="rId5" Type="http://schemas.openxmlformats.org/officeDocument/2006/relationships/oleObject" Target="../embeddings/oleObject48.bin"/><Relationship Id="rId4"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9.png"/><Relationship Id="rId2" Type="http://schemas.openxmlformats.org/officeDocument/2006/relationships/tags" Target="../tags/tag91.xml"/><Relationship Id="rId1" Type="http://schemas.openxmlformats.org/officeDocument/2006/relationships/vmlDrawing" Target="../drawings/vmlDrawing49.vml"/><Relationship Id="rId6" Type="http://schemas.openxmlformats.org/officeDocument/2006/relationships/image" Target="../media/image5.emf"/><Relationship Id="rId5" Type="http://schemas.openxmlformats.org/officeDocument/2006/relationships/oleObject" Target="../embeddings/oleObject49.bin"/><Relationship Id="rId4"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50.vml"/><Relationship Id="rId6" Type="http://schemas.openxmlformats.org/officeDocument/2006/relationships/image" Target="../media/image5.emf"/><Relationship Id="rId5" Type="http://schemas.openxmlformats.org/officeDocument/2006/relationships/oleObject" Target="../embeddings/oleObject50.bin"/><Relationship Id="rId4"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96.xml"/><Relationship Id="rId2" Type="http://schemas.openxmlformats.org/officeDocument/2006/relationships/tags" Target="../tags/tag95.xml"/><Relationship Id="rId1" Type="http://schemas.openxmlformats.org/officeDocument/2006/relationships/vmlDrawing" Target="../drawings/vmlDrawing51.vml"/><Relationship Id="rId6" Type="http://schemas.openxmlformats.org/officeDocument/2006/relationships/image" Target="../media/image5.emf"/><Relationship Id="rId5" Type="http://schemas.openxmlformats.org/officeDocument/2006/relationships/oleObject" Target="../embeddings/oleObject51.bin"/><Relationship Id="rId4"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7.xml"/><Relationship Id="rId1" Type="http://schemas.openxmlformats.org/officeDocument/2006/relationships/vmlDrawing" Target="../drawings/vmlDrawing52.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52.bin"/></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vmlDrawing" Target="../drawings/vmlDrawing53.vml"/><Relationship Id="rId6" Type="http://schemas.openxmlformats.org/officeDocument/2006/relationships/image" Target="../media/image5.emf"/><Relationship Id="rId5" Type="http://schemas.openxmlformats.org/officeDocument/2006/relationships/oleObject" Target="../embeddings/oleObject53.bin"/><Relationship Id="rId4"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0.xml"/><Relationship Id="rId1" Type="http://schemas.openxmlformats.org/officeDocument/2006/relationships/vmlDrawing" Target="../drawings/vmlDrawing54.v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54.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1.xml"/><Relationship Id="rId1" Type="http://schemas.openxmlformats.org/officeDocument/2006/relationships/vmlDrawing" Target="../drawings/vmlDrawing55.vml"/><Relationship Id="rId5" Type="http://schemas.openxmlformats.org/officeDocument/2006/relationships/image" Target="../media/image5.emf"/><Relationship Id="rId4" Type="http://schemas.openxmlformats.org/officeDocument/2006/relationships/oleObject" Target="../embeddings/oleObject55.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6.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2.xml"/><Relationship Id="rId1" Type="http://schemas.openxmlformats.org/officeDocument/2006/relationships/vmlDrawing" Target="../drawings/vmlDrawing56.vml"/><Relationship Id="rId5" Type="http://schemas.openxmlformats.org/officeDocument/2006/relationships/image" Target="../media/image5.emf"/><Relationship Id="rId4" Type="http://schemas.openxmlformats.org/officeDocument/2006/relationships/oleObject" Target="../embeddings/oleObject56.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3.xml"/><Relationship Id="rId1" Type="http://schemas.openxmlformats.org/officeDocument/2006/relationships/vmlDrawing" Target="../drawings/vmlDrawing57.vml"/><Relationship Id="rId5" Type="http://schemas.openxmlformats.org/officeDocument/2006/relationships/image" Target="../media/image5.emf"/><Relationship Id="rId4" Type="http://schemas.openxmlformats.org/officeDocument/2006/relationships/oleObject" Target="../embeddings/oleObject57.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4.xml"/><Relationship Id="rId1" Type="http://schemas.openxmlformats.org/officeDocument/2006/relationships/vmlDrawing" Target="../drawings/vmlDrawing58.vml"/><Relationship Id="rId6" Type="http://schemas.openxmlformats.org/officeDocument/2006/relationships/image" Target="../media/image10.png"/><Relationship Id="rId5" Type="http://schemas.openxmlformats.org/officeDocument/2006/relationships/image" Target="../media/image5.emf"/><Relationship Id="rId4" Type="http://schemas.openxmlformats.org/officeDocument/2006/relationships/oleObject" Target="../embeddings/oleObject58.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5.xml"/><Relationship Id="rId1" Type="http://schemas.openxmlformats.org/officeDocument/2006/relationships/vmlDrawing" Target="../drawings/vmlDrawing59.vml"/><Relationship Id="rId5" Type="http://schemas.openxmlformats.org/officeDocument/2006/relationships/image" Target="../media/image5.emf"/><Relationship Id="rId4" Type="http://schemas.openxmlformats.org/officeDocument/2006/relationships/oleObject" Target="../embeddings/oleObject59.bin"/></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07.xml"/><Relationship Id="rId7" Type="http://schemas.openxmlformats.org/officeDocument/2006/relationships/oleObject" Target="../embeddings/oleObject60.bin"/><Relationship Id="rId2" Type="http://schemas.openxmlformats.org/officeDocument/2006/relationships/tags" Target="../tags/tag106.xml"/><Relationship Id="rId1" Type="http://schemas.openxmlformats.org/officeDocument/2006/relationships/vmlDrawing" Target="../drawings/vmlDrawing60.vml"/><Relationship Id="rId6" Type="http://schemas.openxmlformats.org/officeDocument/2006/relationships/slideMaster" Target="../slideMasters/slideMaster2.xml"/><Relationship Id="rId5" Type="http://schemas.openxmlformats.org/officeDocument/2006/relationships/tags" Target="../tags/tag109.xml"/><Relationship Id="rId4" Type="http://schemas.openxmlformats.org/officeDocument/2006/relationships/tags" Target="../tags/tag108.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111.xml"/><Relationship Id="rId7" Type="http://schemas.openxmlformats.org/officeDocument/2006/relationships/image" Target="../media/image5.emf"/><Relationship Id="rId2" Type="http://schemas.openxmlformats.org/officeDocument/2006/relationships/tags" Target="../tags/tag110.xml"/><Relationship Id="rId1" Type="http://schemas.openxmlformats.org/officeDocument/2006/relationships/vmlDrawing" Target="../drawings/vmlDrawing61.vml"/><Relationship Id="rId6" Type="http://schemas.openxmlformats.org/officeDocument/2006/relationships/oleObject" Target="../embeddings/oleObject61.bin"/><Relationship Id="rId5" Type="http://schemas.openxmlformats.org/officeDocument/2006/relationships/slideMaster" Target="../slideMasters/slideMaster2.xml"/><Relationship Id="rId4" Type="http://schemas.openxmlformats.org/officeDocument/2006/relationships/tags" Target="../tags/tag112.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14.xml"/><Relationship Id="rId7" Type="http://schemas.openxmlformats.org/officeDocument/2006/relationships/image" Target="../media/image5.emf"/><Relationship Id="rId2" Type="http://schemas.openxmlformats.org/officeDocument/2006/relationships/tags" Target="../tags/tag113.xml"/><Relationship Id="rId1" Type="http://schemas.openxmlformats.org/officeDocument/2006/relationships/vmlDrawing" Target="../drawings/vmlDrawing62.vml"/><Relationship Id="rId6" Type="http://schemas.openxmlformats.org/officeDocument/2006/relationships/oleObject" Target="../embeddings/oleObject62.bin"/><Relationship Id="rId5" Type="http://schemas.openxmlformats.org/officeDocument/2006/relationships/slideMaster" Target="../slideMasters/slideMaster2.xml"/><Relationship Id="rId4" Type="http://schemas.openxmlformats.org/officeDocument/2006/relationships/tags" Target="../tags/tag115.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6.xml"/><Relationship Id="rId1" Type="http://schemas.openxmlformats.org/officeDocument/2006/relationships/vmlDrawing" Target="../drawings/vmlDrawing63.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63.bin"/></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18.xml"/><Relationship Id="rId7" Type="http://schemas.openxmlformats.org/officeDocument/2006/relationships/oleObject" Target="../embeddings/oleObject64.bin"/><Relationship Id="rId2" Type="http://schemas.openxmlformats.org/officeDocument/2006/relationships/tags" Target="../tags/tag117.xml"/><Relationship Id="rId1" Type="http://schemas.openxmlformats.org/officeDocument/2006/relationships/vmlDrawing" Target="../drawings/vmlDrawing64.vml"/><Relationship Id="rId6" Type="http://schemas.openxmlformats.org/officeDocument/2006/relationships/slideMaster" Target="../slideMasters/slideMaster2.xml"/><Relationship Id="rId5" Type="http://schemas.openxmlformats.org/officeDocument/2006/relationships/tags" Target="../tags/tag120.xml"/><Relationship Id="rId4" Type="http://schemas.openxmlformats.org/officeDocument/2006/relationships/tags" Target="../tags/tag119.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122.xml"/><Relationship Id="rId7" Type="http://schemas.openxmlformats.org/officeDocument/2006/relationships/image" Target="../media/image5.emf"/><Relationship Id="rId2" Type="http://schemas.openxmlformats.org/officeDocument/2006/relationships/tags" Target="../tags/tag121.xml"/><Relationship Id="rId1" Type="http://schemas.openxmlformats.org/officeDocument/2006/relationships/vmlDrawing" Target="../drawings/vmlDrawing65.vml"/><Relationship Id="rId6" Type="http://schemas.openxmlformats.org/officeDocument/2006/relationships/oleObject" Target="../embeddings/oleObject65.bin"/><Relationship Id="rId5" Type="http://schemas.openxmlformats.org/officeDocument/2006/relationships/slideMaster" Target="../slideMasters/slideMaster2.xml"/><Relationship Id="rId4" Type="http://schemas.openxmlformats.org/officeDocument/2006/relationships/tags" Target="../tags/tag123.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125.xml"/><Relationship Id="rId7" Type="http://schemas.openxmlformats.org/officeDocument/2006/relationships/image" Target="../media/image5.emf"/><Relationship Id="rId2" Type="http://schemas.openxmlformats.org/officeDocument/2006/relationships/tags" Target="../tags/tag124.xml"/><Relationship Id="rId1" Type="http://schemas.openxmlformats.org/officeDocument/2006/relationships/vmlDrawing" Target="../drawings/vmlDrawing66.vml"/><Relationship Id="rId6" Type="http://schemas.openxmlformats.org/officeDocument/2006/relationships/oleObject" Target="../embeddings/oleObject66.bin"/><Relationship Id="rId5" Type="http://schemas.openxmlformats.org/officeDocument/2006/relationships/slideMaster" Target="../slideMasters/slideMaster2.xml"/><Relationship Id="rId4" Type="http://schemas.openxmlformats.org/officeDocument/2006/relationships/tags" Target="../tags/tag126.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7.xml"/><Relationship Id="rId1" Type="http://schemas.openxmlformats.org/officeDocument/2006/relationships/vmlDrawing" Target="../drawings/vmlDrawing67.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67.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8.xml"/><Relationship Id="rId1" Type="http://schemas.openxmlformats.org/officeDocument/2006/relationships/vmlDrawing" Target="../drawings/vmlDrawing68.v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68.bin"/></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6.gif"/><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9.gif"/><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tags" Target="../tags/tag131.xml"/><Relationship Id="rId7" Type="http://schemas.openxmlformats.org/officeDocument/2006/relationships/oleObject" Target="../embeddings/oleObject70.bin"/><Relationship Id="rId2" Type="http://schemas.openxmlformats.org/officeDocument/2006/relationships/tags" Target="../tags/tag130.xml"/><Relationship Id="rId1" Type="http://schemas.openxmlformats.org/officeDocument/2006/relationships/vmlDrawing" Target="../drawings/vmlDrawing70.vml"/><Relationship Id="rId6" Type="http://schemas.openxmlformats.org/officeDocument/2006/relationships/slideMaster" Target="../slideMasters/slideMaster5.xml"/><Relationship Id="rId5" Type="http://schemas.openxmlformats.org/officeDocument/2006/relationships/tags" Target="../tags/tag133.xml"/><Relationship Id="rId10" Type="http://schemas.openxmlformats.org/officeDocument/2006/relationships/image" Target="../media/image23.jpg"/><Relationship Id="rId4" Type="http://schemas.openxmlformats.org/officeDocument/2006/relationships/tags" Target="../tags/tag132.xml"/><Relationship Id="rId9" Type="http://schemas.openxmlformats.org/officeDocument/2006/relationships/image" Target="../media/image7.pn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cSld name="Title and Content">
    <p:spTree>
      <p:nvGrpSpPr>
        <p:cNvPr id="1" name=""/>
        <p:cNvGrpSpPr/>
        <p:nvPr/>
      </p:nvGrpSpPr>
      <p:grpSpPr>
        <a:xfrm>
          <a:off x="0" y="0"/>
          <a:ext cx="0" cy="0"/>
          <a:chOff x="0" y="0"/>
          <a:chExt cx="0" cy="0"/>
        </a:xfrm>
      </p:grpSpPr>
      <p:sp>
        <p:nvSpPr>
          <p:cNvPr id="15" name="TextBox 1"/>
          <p:cNvSpPr txBox="1"/>
          <p:nvPr/>
        </p:nvSpPr>
        <p:spPr>
          <a:xfrm>
            <a:off x="701873" y="12845596"/>
            <a:ext cx="7549458" cy="42163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spAutoFit/>
          </a:bodyPr>
          <a:lstStyle>
            <a:lvl1pPr algn="l">
              <a:defRPr sz="2200" i="1" cap="none">
                <a:solidFill>
                  <a:srgbClr val="A7A7A7"/>
                </a:solidFill>
              </a:defRPr>
            </a:lvl1pPr>
          </a:lstStyle>
          <a:p>
            <a:pPr>
              <a:defRPr>
                <a:effectLst/>
              </a:defRPr>
            </a:pPr>
            <a:r>
              <a:t>2019 Budget Performance Appraisal</a:t>
            </a:r>
          </a:p>
        </p:txBody>
      </p:sp>
      <p:pic>
        <p:nvPicPr>
          <p:cNvPr id="16" name="LSGv.jpeg" descr="LSGv.jpeg"/>
          <p:cNvPicPr>
            <a:picLocks noChangeAspect="1"/>
          </p:cNvPicPr>
          <p:nvPr/>
        </p:nvPicPr>
        <p:blipFill>
          <a:blip r:embed="rId2"/>
          <a:stretch>
            <a:fillRect/>
          </a:stretch>
        </p:blipFill>
        <p:spPr>
          <a:xfrm>
            <a:off x="532732" y="1397000"/>
            <a:ext cx="1237417" cy="1237417"/>
          </a:xfrm>
          <a:prstGeom prst="rect">
            <a:avLst/>
          </a:prstGeom>
          <a:ln w="12700">
            <a:miter lim="400000"/>
          </a:ln>
        </p:spPr>
      </p:pic>
      <p:sp>
        <p:nvSpPr>
          <p:cNvPr id="17" name="Линия"/>
          <p:cNvSpPr/>
          <p:nvPr/>
        </p:nvSpPr>
        <p:spPr>
          <a:xfrm>
            <a:off x="2120714" y="2015707"/>
            <a:ext cx="20142572" cy="1"/>
          </a:xfrm>
          <a:prstGeom prst="line">
            <a:avLst/>
          </a:prstGeom>
          <a:ln w="25400">
            <a:solidFill>
              <a:schemeClr val="accent3"/>
            </a:solidFill>
          </a:ln>
          <a:effectLst>
            <a:outerShdw blurRad="101600" dist="25400" dir="5400000" rotWithShape="0">
              <a:srgbClr val="000000">
                <a:alpha val="75000"/>
              </a:srgbClr>
            </a:outerShdw>
          </a:effectLst>
        </p:spPr>
        <p:txBody>
          <a:bodyPr lIns="45718" tIns="45718" rIns="45718" bIns="45718"/>
          <a:lstStyle/>
          <a:p>
            <a:pPr algn="l">
              <a:defRPr sz="2000" b="0" cap="none">
                <a:solidFill>
                  <a:srgbClr val="252D30"/>
                </a:solidFill>
                <a:effectLst/>
                <a:latin typeface="+mn-lt"/>
                <a:ea typeface="+mn-ea"/>
                <a:cs typeface="+mn-cs"/>
                <a:sym typeface="Helvetica Neue"/>
              </a:defRPr>
            </a:pPr>
            <a:endParaRPr/>
          </a:p>
        </p:txBody>
      </p:sp>
      <p:pic>
        <p:nvPicPr>
          <p:cNvPr id="7" name="Picture 10" descr="MEPB fin_0.tmp">
            <a:extLst>
              <a:ext uri="{FF2B5EF4-FFF2-40B4-BE49-F238E27FC236}">
                <a16:creationId xmlns:a16="http://schemas.microsoft.com/office/drawing/2014/main" id="{EF98476C-9CE1-4C4F-9892-C77BD9F79071}"/>
              </a:ext>
            </a:extLst>
          </p:cNvPr>
          <p:cNvPicPr>
            <a:picLocks noChangeAspect="1"/>
          </p:cNvPicPr>
          <p:nvPr userDrawn="1"/>
        </p:nvPicPr>
        <p:blipFill>
          <a:blip r:embed="rId3" cstate="print"/>
          <a:srcRect l="37587" t="2222" r="1588" b="55556"/>
          <a:stretch>
            <a:fillRect/>
          </a:stretch>
        </p:blipFill>
        <p:spPr bwMode="auto">
          <a:xfrm>
            <a:off x="22512610" y="1226642"/>
            <a:ext cx="1297296" cy="1407770"/>
          </a:xfrm>
          <a:prstGeom prst="rect">
            <a:avLst/>
          </a:prstGeom>
          <a:noFill/>
          <a:ln w="9525">
            <a:noFill/>
            <a:miter lim="800000"/>
            <a:headEnd/>
            <a:tailEnd/>
          </a:ln>
        </p:spPr>
      </p:pic>
      <p:sp>
        <p:nvSpPr>
          <p:cNvPr id="9" name="Rectangle 8">
            <a:extLst>
              <a:ext uri="{FF2B5EF4-FFF2-40B4-BE49-F238E27FC236}">
                <a16:creationId xmlns:a16="http://schemas.microsoft.com/office/drawing/2014/main" id="{8AB9E345-4F4D-4EF6-8D68-116A27570459}"/>
              </a:ext>
            </a:extLst>
          </p:cNvPr>
          <p:cNvSpPr/>
          <p:nvPr userDrawn="1"/>
        </p:nvSpPr>
        <p:spPr>
          <a:xfrm>
            <a:off x="-1106942" y="2348492"/>
            <a:ext cx="857250" cy="649706"/>
          </a:xfrm>
          <a:prstGeom prst="rect">
            <a:avLst/>
          </a:prstGeom>
          <a:solidFill>
            <a:srgbClr val="EE343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0" name="Rectangle 9">
            <a:extLst>
              <a:ext uri="{FF2B5EF4-FFF2-40B4-BE49-F238E27FC236}">
                <a16:creationId xmlns:a16="http://schemas.microsoft.com/office/drawing/2014/main" id="{C8075F00-6568-4ED7-8318-4616D6BCC1F8}"/>
              </a:ext>
            </a:extLst>
          </p:cNvPr>
          <p:cNvSpPr/>
          <p:nvPr userDrawn="1"/>
        </p:nvSpPr>
        <p:spPr>
          <a:xfrm>
            <a:off x="-1106295" y="3136863"/>
            <a:ext cx="857250" cy="649706"/>
          </a:xfrm>
          <a:prstGeom prst="rect">
            <a:avLst/>
          </a:prstGeom>
          <a:solidFill>
            <a:srgbClr val="00AEEF"/>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1" name="Rectangle 10">
            <a:extLst>
              <a:ext uri="{FF2B5EF4-FFF2-40B4-BE49-F238E27FC236}">
                <a16:creationId xmlns:a16="http://schemas.microsoft.com/office/drawing/2014/main" id="{F4C47B1D-B50C-46BC-897A-F08654815EED}"/>
              </a:ext>
            </a:extLst>
          </p:cNvPr>
          <p:cNvSpPr/>
          <p:nvPr userDrawn="1"/>
        </p:nvSpPr>
        <p:spPr>
          <a:xfrm>
            <a:off x="-1106942" y="3925234"/>
            <a:ext cx="857250" cy="649706"/>
          </a:xfrm>
          <a:prstGeom prst="rect">
            <a:avLst/>
          </a:prstGeom>
          <a:solidFill>
            <a:srgbClr val="F8AE47"/>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2" name="Rectangle 11">
            <a:extLst>
              <a:ext uri="{FF2B5EF4-FFF2-40B4-BE49-F238E27FC236}">
                <a16:creationId xmlns:a16="http://schemas.microsoft.com/office/drawing/2014/main" id="{0C1AE006-0827-49CE-B626-DDB1FF934EA6}"/>
              </a:ext>
            </a:extLst>
          </p:cNvPr>
          <p:cNvSpPr/>
          <p:nvPr userDrawn="1"/>
        </p:nvSpPr>
        <p:spPr>
          <a:xfrm>
            <a:off x="-1106295" y="4678706"/>
            <a:ext cx="857250" cy="649706"/>
          </a:xfrm>
          <a:prstGeom prst="rect">
            <a:avLst/>
          </a:prstGeom>
          <a:solidFill>
            <a:srgbClr val="000000"/>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3" name="Rectangle 12">
            <a:extLst>
              <a:ext uri="{FF2B5EF4-FFF2-40B4-BE49-F238E27FC236}">
                <a16:creationId xmlns:a16="http://schemas.microsoft.com/office/drawing/2014/main" id="{EDCDDB9F-3AE4-49CD-A963-8D84B9FFD777}"/>
              </a:ext>
            </a:extLst>
          </p:cNvPr>
          <p:cNvSpPr/>
          <p:nvPr userDrawn="1"/>
        </p:nvSpPr>
        <p:spPr>
          <a:xfrm>
            <a:off x="-1106942" y="5432178"/>
            <a:ext cx="857250" cy="649706"/>
          </a:xfrm>
          <a:prstGeom prst="rect">
            <a:avLst/>
          </a:prstGeom>
          <a:solidFill>
            <a:schemeClr val="bg1">
              <a:lumMod val="85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4032" y="3177"/>
          <a:ext cx="4032" cy="3176"/>
        </p:xfrm>
        <a:graphic>
          <a:graphicData uri="http://schemas.openxmlformats.org/presentationml/2006/ole">
            <mc:AlternateContent xmlns:mc="http://schemas.openxmlformats.org/markup-compatibility/2006">
              <mc:Choice xmlns:v="urn:schemas-microsoft-com:vml" Requires="v">
                <p:oleObj spid="_x0000_s6180"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4032" y="3177"/>
                        <a:ext cx="4032" cy="3176"/>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8800"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sp>
        <p:nvSpPr>
          <p:cNvPr id="4" name="Page"/>
          <p:cNvSpPr txBox="1"/>
          <p:nvPr userDrawn="1"/>
        </p:nvSpPr>
        <p:spPr>
          <a:xfrm>
            <a:off x="21966653" y="12810073"/>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3" name="Date Placeholder 2"/>
          <p:cNvSpPr>
            <a:spLocks noGrp="1"/>
          </p:cNvSpPr>
          <p:nvPr userDrawn="1">
            <p:ph type="dt" sz="half" idx="10"/>
          </p:nvPr>
        </p:nvSpPr>
        <p:spPr>
          <a:xfrm>
            <a:off x="20037833" y="12810073"/>
            <a:ext cx="1928824" cy="307777"/>
          </a:xfrm>
          <a:prstGeom prst="rect">
            <a:avLst/>
          </a:prstGeom>
        </p:spPr>
        <p:txBody>
          <a:bodyPr/>
          <a:lstStyle>
            <a:lvl1pPr>
              <a:defRPr>
                <a:solidFill>
                  <a:schemeClr val="bg1"/>
                </a:solidFill>
                <a:latin typeface="+mn-lt"/>
                <a:ea typeface="+mn-ea"/>
                <a:cs typeface="+mn-cs"/>
                <a:sym typeface="+mn-lt"/>
              </a:defRPr>
            </a:lvl1pPr>
          </a:lstStyle>
          <a:p>
            <a:pPr defTabSz="2116120" hangingPunct="1"/>
            <a:fld id="{25971EBD-D205-4199-8085-A8B897B072D4}" type="datetime1">
              <a:rPr lang="en-US" b="0" kern="1200" cap="none" smtClean="0">
                <a:solidFill>
                  <a:prstClr val="white"/>
                </a:solidFill>
                <a:effectLst/>
              </a:rPr>
              <a:t>5/6/21</a:t>
            </a:fld>
            <a:endParaRPr lang="en-US" b="0" kern="1200" cap="none" dirty="0">
              <a:solidFill>
                <a:prstClr val="white"/>
              </a:solidFill>
              <a:effectLst/>
            </a:endParaRPr>
          </a:p>
        </p:txBody>
      </p:sp>
      <p:sp>
        <p:nvSpPr>
          <p:cNvPr id="12"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aramond"/>
                <a:ea typeface="+mn-ea"/>
                <a:cs typeface="+mn-cs"/>
                <a:sym typeface="+mn-lt"/>
              </a:rPr>
              <a:t>Copyright © 2020 by Boston Consulting Group. All rights reserved.</a:t>
            </a:r>
          </a:p>
        </p:txBody>
      </p:sp>
      <p:sp>
        <p:nvSpPr>
          <p:cNvPr id="2" name="Title 1"/>
          <p:cNvSpPr>
            <a:spLocks noGrp="1"/>
          </p:cNvSpPr>
          <p:nvPr userDrawn="1">
            <p:ph type="title" hasCustomPrompt="1"/>
          </p:nvPr>
        </p:nvSpPr>
        <p:spPr bwMode="blackWhite">
          <a:xfrm>
            <a:off x="2222113" y="5336083"/>
            <a:ext cx="19939784" cy="6402053"/>
          </a:xfrm>
          <a:prstGeom prst="rect">
            <a:avLst/>
          </a:prstGeom>
          <a:ln w="9525">
            <a:solidFill>
              <a:schemeClr val="bg1"/>
            </a:solidFill>
          </a:ln>
        </p:spPr>
        <p:txBody>
          <a:bodyPr lIns="274320" tIns="274320" rIns="274320" bIns="137160" anchor="b">
            <a:noAutofit/>
          </a:bodyPr>
          <a:lstStyle>
            <a:lvl1pPr marL="0" algn="l" defTabSz="1828778" rtl="0" eaLnBrk="1" fontAlgn="auto" latinLnBrk="0" hangingPunct="1">
              <a:lnSpc>
                <a:spcPts val="12000"/>
              </a:lnSpc>
              <a:spcBef>
                <a:spcPts val="0"/>
              </a:spcBef>
              <a:spcAft>
                <a:spcPts val="0"/>
              </a:spcAft>
              <a:defRPr lang="en-US" sz="8800" kern="1200" baseline="0" dirty="0">
                <a:solidFill>
                  <a:schemeClr val="bg1"/>
                </a:solidFill>
                <a:latin typeface="+mj-lt"/>
                <a:ea typeface="+mj-ea"/>
                <a:cs typeface="+mj-cs"/>
                <a:sym typeface="+mj-lt"/>
              </a:defRPr>
            </a:lvl1pPr>
          </a:lstStyle>
          <a:p>
            <a:r>
              <a:rPr lang="en-US" dirty="0"/>
              <a:t>Click to add section title</a:t>
            </a:r>
          </a:p>
        </p:txBody>
      </p:sp>
      <p:sp>
        <p:nvSpPr>
          <p:cNvPr id="56" name="Square"/>
          <p:cNvSpPr>
            <a:spLocks/>
          </p:cNvSpPr>
          <p:nvPr userDrawn="1"/>
        </p:nvSpPr>
        <p:spPr bwMode="white">
          <a:xfrm>
            <a:off x="2221347" y="2915605"/>
            <a:ext cx="1828800" cy="18288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aramond"/>
              <a:ea typeface="+mn-ea"/>
              <a:cs typeface="+mn-cs"/>
              <a:sym typeface="+mn-lt"/>
            </a:endParaRPr>
          </a:p>
        </p:txBody>
      </p:sp>
    </p:spTree>
    <p:extLst>
      <p:ext uri="{BB962C8B-B14F-4D97-AF65-F5344CB8AC3E}">
        <p14:creationId xmlns:p14="http://schemas.microsoft.com/office/powerpoint/2010/main" val="3711323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14331213" y="0"/>
            <a:ext cx="833902" cy="13716000"/>
          </a:xfrm>
          <a:prstGeom prst="rect">
            <a:avLst/>
          </a:prstGeom>
        </p:spPr>
      </p:pic>
      <p:sp>
        <p:nvSpPr>
          <p:cNvPr id="13" name="Rectangle 12"/>
          <p:cNvSpPr/>
          <p:nvPr userDrawn="1"/>
        </p:nvSpPr>
        <p:spPr bwMode="white">
          <a:xfrm>
            <a:off x="0" y="0"/>
            <a:ext cx="14343912" cy="1371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24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19354801" y="12810072"/>
            <a:ext cx="2964102" cy="307776"/>
          </a:xfrm>
          <a:prstGeom prst="rect">
            <a:avLst/>
          </a:prstGeom>
        </p:spPr>
        <p:txBody>
          <a:bodyPr/>
          <a:lstStyle>
            <a:lvl1pPr>
              <a:defRPr>
                <a:solidFill>
                  <a:schemeClr val="bg1"/>
                </a:solidFill>
                <a:latin typeface="+mn-lt"/>
                <a:sym typeface="Trebuchet MS" panose="020B0603020202020204" pitchFamily="34" charset="0"/>
              </a:defRPr>
            </a:lvl1pPr>
          </a:lstStyle>
          <a:p>
            <a:fld id="{4AF76074-12BC-4CD8-90DC-C410E6CA5C2B}" type="datetime1">
              <a:rPr lang="en-US" smtClean="0"/>
              <a:t>5/6/21</a:t>
            </a:fld>
            <a:endParaRPr lang="en-US" dirty="0"/>
          </a:p>
        </p:txBody>
      </p:sp>
      <p:sp>
        <p:nvSpPr>
          <p:cNvPr id="20"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mn-lt"/>
                <a:sym typeface="Trebuchet MS" panose="020B0603020202020204" pitchFamily="34" charset="0"/>
              </a:rPr>
              <a:t>Copyright © 2020 by Boston Consulting Group. All rights reserved.</a:t>
            </a:r>
            <a:endParaRPr lang="en-US" sz="1400" dirty="0">
              <a:solidFill>
                <a:schemeClr val="bg1"/>
              </a:solidFill>
              <a:latin typeface="+mn-lt"/>
              <a:sym typeface="Trebuchet MS" panose="020B0603020202020204" pitchFamily="34" charset="0"/>
            </a:endParaRPr>
          </a:p>
        </p:txBody>
      </p:sp>
      <p:sp>
        <p:nvSpPr>
          <p:cNvPr id="17" name="TextBox 16"/>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1260000" y="1245600"/>
            <a:ext cx="12513600" cy="941796"/>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68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388194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342137" y="0"/>
            <a:ext cx="833902" cy="13716000"/>
          </a:xfrm>
          <a:prstGeom prst="rect">
            <a:avLst/>
          </a:prstGeom>
        </p:spPr>
      </p:pic>
      <p:sp>
        <p:nvSpPr>
          <p:cNvPr id="11" name="Title 4"/>
          <p:cNvSpPr>
            <a:spLocks noGrp="1"/>
          </p:cNvSpPr>
          <p:nvPr>
            <p:ph type="title" hasCustomPrompt="1"/>
          </p:nvPr>
        </p:nvSpPr>
        <p:spPr>
          <a:xfrm>
            <a:off x="1260001" y="5362206"/>
            <a:ext cx="6255762" cy="2991588"/>
          </a:xfrm>
          <a:prstGeom prst="rect">
            <a:avLst/>
          </a:prstGeom>
        </p:spPr>
        <p:txBody>
          <a:bodyPr anchor="ctr">
            <a:noAutofit/>
          </a:bodyPr>
          <a:lstStyle>
            <a:lvl1pPr>
              <a:defRPr sz="64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8161527" y="-2617"/>
            <a:ext cx="16222474" cy="137186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24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19354801" y="12810072"/>
            <a:ext cx="2964102" cy="30777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fld id="{25E309C7-EC8A-4669-BBAF-1FD6F28FF243}" type="datetime1">
              <a:rPr lang="en-US" smtClean="0"/>
              <a:t>5/6/21</a:t>
            </a:fld>
            <a:endParaRPr lang="en-US" dirty="0"/>
          </a:p>
        </p:txBody>
      </p:sp>
      <p:sp>
        <p:nvSpPr>
          <p:cNvPr id="15" name="TextBox 14"/>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lumMod val="50000"/>
                  </a:schemeClr>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788406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11379165" y="0"/>
            <a:ext cx="833902" cy="13716000"/>
          </a:xfrm>
          <a:prstGeom prst="rect">
            <a:avLst/>
          </a:prstGeom>
        </p:spPr>
      </p:pic>
      <p:sp>
        <p:nvSpPr>
          <p:cNvPr id="12" name="Rectangle 11"/>
          <p:cNvSpPr/>
          <p:nvPr userDrawn="1"/>
        </p:nvSpPr>
        <p:spPr>
          <a:xfrm>
            <a:off x="12192000" y="0"/>
            <a:ext cx="12192000" cy="13716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2000"/>
              </a:spcAft>
            </a:pPr>
            <a:endParaRPr lang="en-US" sz="24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12184043" y="0"/>
            <a:ext cx="12199954" cy="13716000"/>
          </a:xfrm>
          <a:prstGeom prst="rect">
            <a:avLst/>
          </a:prstGeom>
          <a:noFill/>
        </p:spPr>
        <p:txBody>
          <a:bodyPr lIns="914400" tIns="914400" rIns="914400" bIns="914400"/>
          <a:lstStyle>
            <a:lvl1pPr algn="ctr">
              <a:defRPr sz="36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1260000" y="3571200"/>
            <a:ext cx="8776800" cy="6573600"/>
          </a:xfrm>
          <a:prstGeom prst="rect">
            <a:avLst/>
          </a:prstGeom>
          <a:noFill/>
        </p:spPr>
        <p:txBody>
          <a:bodyPr wrap="square" lIns="0" tIns="0" rIns="320040" bIns="0" anchor="ctr">
            <a:noAutofit/>
          </a:bodyPr>
          <a:lstStyle>
            <a:lvl1pPr>
              <a:defRPr sz="88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lumMod val="50000"/>
                  </a:schemeClr>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16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19354801" y="12810072"/>
            <a:ext cx="2964102" cy="30777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fld id="{D3933640-BD2C-4268-8E45-7B1CB13B99B9}" type="datetime1">
              <a:rPr lang="en-US" smtClean="0"/>
              <a:t>5/6/21</a:t>
            </a:fld>
            <a:endParaRPr lang="en-US" dirty="0"/>
          </a:p>
        </p:txBody>
      </p:sp>
      <p:sp>
        <p:nvSpPr>
          <p:cNvPr id="21"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0490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14819699" y="0"/>
            <a:ext cx="833902" cy="13716000"/>
          </a:xfrm>
          <a:prstGeom prst="rect">
            <a:avLst/>
          </a:prstGeom>
        </p:spPr>
      </p:pic>
      <p:sp>
        <p:nvSpPr>
          <p:cNvPr id="10" name="Rectangle 9"/>
          <p:cNvSpPr/>
          <p:nvPr userDrawn="1"/>
        </p:nvSpPr>
        <p:spPr bwMode="gray">
          <a:xfrm>
            <a:off x="15639087" y="0"/>
            <a:ext cx="8744914" cy="1371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24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15640051" y="0"/>
            <a:ext cx="8743950" cy="13716000"/>
          </a:xfrm>
          <a:prstGeom prst="rect">
            <a:avLst/>
          </a:prstGeom>
          <a:noFill/>
        </p:spPr>
        <p:txBody>
          <a:bodyPr lIns="182880" tIns="914400" rIns="182880" bIns="914400"/>
          <a:lstStyle>
            <a:lvl1pPr algn="ctr">
              <a:defRPr sz="32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19354801" y="12810072"/>
            <a:ext cx="2964102" cy="30777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fld id="{018B19D1-CC82-4937-8142-8447C0ED557D}" type="datetime1">
              <a:rPr lang="en-US" smtClean="0"/>
              <a:t>5/6/21</a:t>
            </a:fld>
            <a:endParaRPr lang="en-US" dirty="0"/>
          </a:p>
        </p:txBody>
      </p:sp>
      <p:sp>
        <p:nvSpPr>
          <p:cNvPr id="15" name="Copyright"/>
          <p:cNvSpPr txBox="1"/>
          <p:nvPr userDrawn="1"/>
        </p:nvSpPr>
        <p:spPr>
          <a:xfrm rot="16200000">
            <a:off x="18973801" y="7834584"/>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1260000" y="3609300"/>
            <a:ext cx="12495104" cy="6573600"/>
          </a:xfrm>
          <a:prstGeom prst="rect">
            <a:avLst/>
          </a:prstGeom>
        </p:spPr>
        <p:txBody>
          <a:bodyPr anchor="ctr">
            <a:noAutofit/>
          </a:bodyPr>
          <a:lstStyle>
            <a:lvl1pPr>
              <a:defRPr sz="88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lumMod val="50000"/>
                  </a:schemeClr>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16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52785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3048" y="2620"/>
            <a:ext cx="8176624" cy="13716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2000"/>
              </a:spcAft>
            </a:pPr>
            <a:endParaRPr lang="en-US" sz="24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19354801" y="12810072"/>
            <a:ext cx="2964102" cy="307776"/>
          </a:xfrm>
          <a:prstGeom prst="rect">
            <a:avLst/>
          </a:prstGeom>
        </p:spPr>
        <p:txBody>
          <a:bodyPr/>
          <a:lstStyle>
            <a:lvl1pPr>
              <a:defRPr>
                <a:solidFill>
                  <a:schemeClr val="bg1"/>
                </a:solidFill>
                <a:latin typeface="+mn-lt"/>
                <a:sym typeface="Trebuchet MS" panose="020B0603020202020204" pitchFamily="34" charset="0"/>
              </a:defRPr>
            </a:lvl1pPr>
          </a:lstStyle>
          <a:p>
            <a:fld id="{06B7ED3B-930B-4C7B-96A9-550CE220FBF4}" type="datetime1">
              <a:rPr lang="en-US" smtClean="0"/>
              <a:t>5/6/21</a:t>
            </a:fld>
            <a:endParaRPr lang="en-US" dirty="0"/>
          </a:p>
        </p:txBody>
      </p:sp>
      <p:sp>
        <p:nvSpPr>
          <p:cNvPr id="19"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mn-lt"/>
                <a:sym typeface="Trebuchet MS" panose="020B0603020202020204" pitchFamily="34" charset="0"/>
              </a:rPr>
              <a:t>Copyright © 2020 by Boston Consulting Group. All rights reserved.</a:t>
            </a:r>
            <a:endParaRPr lang="en-US" sz="1400" dirty="0">
              <a:solidFill>
                <a:schemeClr val="bg1"/>
              </a:solidFill>
              <a:latin typeface="+mn-lt"/>
              <a:sym typeface="Trebuchet MS" panose="020B0603020202020204" pitchFamily="34" charset="0"/>
            </a:endParaRPr>
          </a:p>
        </p:txBody>
      </p:sp>
      <p:sp>
        <p:nvSpPr>
          <p:cNvPr id="12" name="TextBox 11"/>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1260000" y="5528407"/>
            <a:ext cx="4957276" cy="2628622"/>
          </a:xfrm>
          <a:prstGeom prst="rect">
            <a:avLst/>
          </a:prstGeom>
        </p:spPr>
        <p:txBody>
          <a:bodyPr anchor="ctr">
            <a:noAutofit/>
          </a:bodyPr>
          <a:lstStyle>
            <a:lvl1pPr>
              <a:defRPr sz="64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264884" y="7180798"/>
            <a:ext cx="2730500" cy="6765924"/>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5656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8176624" cy="13716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2000"/>
              </a:spcAft>
            </a:pPr>
            <a:endParaRPr lang="en-US" sz="24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1260000" y="5528407"/>
            <a:ext cx="4957276" cy="2628622"/>
          </a:xfrm>
        </p:spPr>
        <p:txBody>
          <a:bodyPr anchor="ctr" anchorCtr="0">
            <a:noAutofit/>
          </a:bodyPr>
          <a:lstStyle>
            <a:lvl1pPr>
              <a:defRPr sz="64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19354801" y="12810072"/>
            <a:ext cx="2964102" cy="307776"/>
          </a:xfrm>
          <a:prstGeom prst="rect">
            <a:avLst/>
          </a:prstGeom>
        </p:spPr>
        <p:txBody>
          <a:bodyPr vert="horz" wrap="square" lIns="0" tIns="0" rIns="0" bIns="0" rtlCol="0" anchor="b">
            <a:spAutoFit/>
          </a:bodyPr>
          <a:lstStyle>
            <a:lvl1pPr algn="r">
              <a:defRPr sz="2000">
                <a:solidFill>
                  <a:schemeClr val="bg1">
                    <a:lumMod val="50000"/>
                  </a:schemeClr>
                </a:solidFill>
                <a:latin typeface="+mn-lt"/>
                <a:sym typeface="Trebuchet MS" panose="020B0603020202020204" pitchFamily="34" charset="0"/>
              </a:defRPr>
            </a:lvl1pPr>
          </a:lstStyle>
          <a:p>
            <a:fld id="{A10A8B3F-AFC0-4FC8-A2C0-7300A0F335DC}" type="datetime1">
              <a:rPr lang="en-US" smtClean="0"/>
              <a:t>5/6/21</a:t>
            </a:fld>
            <a:endParaRPr lang="en-US" dirty="0"/>
          </a:p>
        </p:txBody>
      </p:sp>
      <p:sp>
        <p:nvSpPr>
          <p:cNvPr id="14" name="TextBox 13"/>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lumMod val="50000"/>
                  </a:schemeClr>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4349284" y="6805657"/>
            <a:ext cx="5389332" cy="6923490"/>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4876113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69984208"/>
              </p:ext>
            </p:extLst>
          </p:nvPr>
        </p:nvGraphicFramePr>
        <p:xfrm>
          <a:off x="3177" y="3177"/>
          <a:ext cx="3174" cy="3174"/>
        </p:xfrm>
        <a:graphic>
          <a:graphicData uri="http://schemas.openxmlformats.org/presentationml/2006/ole">
            <mc:AlternateContent xmlns:mc="http://schemas.openxmlformats.org/markup-compatibility/2006">
              <mc:Choice xmlns:v="urn:schemas-microsoft-com:vml" Requires="v">
                <p:oleObj spid="_x0000_s72740"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3177" y="3177"/>
                        <a:ext cx="3174" cy="3174"/>
                      </a:xfrm>
                      <a:prstGeom prst="rect">
                        <a:avLst/>
                      </a:prstGeom>
                    </p:spPr>
                  </p:pic>
                </p:oleObj>
              </mc:Fallback>
            </mc:AlternateContent>
          </a:graphicData>
        </a:graphic>
      </p:graphicFrame>
      <p:sp>
        <p:nvSpPr>
          <p:cNvPr id="5" name="TextBox 4"/>
          <p:cNvSpPr txBox="1"/>
          <p:nvPr/>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16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19354801" y="12810072"/>
            <a:ext cx="2964102" cy="307776"/>
          </a:xfrm>
          <a:prstGeom prst="rect">
            <a:avLst/>
          </a:prstGeom>
        </p:spPr>
        <p:txBody>
          <a:bodyPr/>
          <a:lstStyle>
            <a:lvl1pPr>
              <a:defRPr>
                <a:solidFill>
                  <a:schemeClr val="bg1"/>
                </a:solidFill>
                <a:latin typeface="+mn-lt"/>
                <a:sym typeface="Trebuchet MS" panose="020B0603020202020204" pitchFamily="34" charset="0"/>
              </a:defRPr>
            </a:lvl1pPr>
          </a:lstStyle>
          <a:p>
            <a:fld id="{1432A5B1-27D3-4322-A28E-CA82B2332B8C}" type="datetime1">
              <a:rPr lang="en-US" smtClean="0"/>
              <a:t>5/6/21</a:t>
            </a:fld>
            <a:endParaRPr lang="en-US" dirty="0"/>
          </a:p>
        </p:txBody>
      </p:sp>
      <p:sp>
        <p:nvSpPr>
          <p:cNvPr id="12"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mn-lt"/>
                <a:sym typeface="Trebuchet MS" panose="020B0603020202020204" pitchFamily="34" charset="0"/>
              </a:rPr>
              <a:t>Copyright © 2020 by Boston Consulting Group. All rights reserved.</a:t>
            </a:r>
            <a:endParaRPr lang="en-US" sz="1400" dirty="0">
              <a:solidFill>
                <a:schemeClr val="bg1"/>
              </a:solidFill>
              <a:latin typeface="+mn-lt"/>
              <a:sym typeface="Trebuchet MS" panose="020B0603020202020204" pitchFamily="34" charset="0"/>
            </a:endParaRPr>
          </a:p>
        </p:txBody>
      </p:sp>
      <p:sp>
        <p:nvSpPr>
          <p:cNvPr id="13" name="Pentagon 3"/>
          <p:cNvSpPr/>
          <p:nvPr userDrawn="1"/>
        </p:nvSpPr>
        <p:spPr bwMode="white">
          <a:xfrm>
            <a:off x="2" y="0"/>
            <a:ext cx="10853840" cy="13716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2000"/>
              </a:spcAft>
            </a:pPr>
            <a:endParaRPr lang="en-US" sz="24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1260001" y="3571200"/>
            <a:ext cx="8124470" cy="6573600"/>
          </a:xfrm>
          <a:prstGeom prst="rect">
            <a:avLst/>
          </a:prstGeom>
        </p:spPr>
        <p:txBody>
          <a:bodyPr anchor="ctr">
            <a:noAutofit/>
          </a:bodyPr>
          <a:lstStyle>
            <a:lvl1pPr>
              <a:defRPr sz="88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163051" y="6788785"/>
            <a:ext cx="2597150" cy="7143750"/>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17292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2" y="0"/>
            <a:ext cx="10853840" cy="13716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2000"/>
              </a:spcAft>
            </a:pPr>
            <a:endParaRPr lang="en-US" sz="24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1260001" y="3571200"/>
            <a:ext cx="8124470" cy="6573600"/>
          </a:xfrm>
          <a:prstGeom prst="rect">
            <a:avLst/>
          </a:prstGeom>
        </p:spPr>
        <p:txBody>
          <a:bodyPr anchor="ctr">
            <a:noAutofit/>
          </a:bodyPr>
          <a:lstStyle>
            <a:lvl1pPr>
              <a:defRPr sz="88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19354801" y="12810072"/>
            <a:ext cx="2964102" cy="307776"/>
          </a:xfrm>
          <a:prstGeom prst="rect">
            <a:avLst/>
          </a:prstGeom>
        </p:spPr>
        <p:txBody>
          <a:bodyPr vert="horz" wrap="square" lIns="0" tIns="0" rIns="0" bIns="0" rtlCol="0" anchor="b">
            <a:spAutoFit/>
          </a:bodyPr>
          <a:lstStyle>
            <a:lvl1pPr algn="r">
              <a:defRPr sz="2000">
                <a:solidFill>
                  <a:schemeClr val="bg1">
                    <a:lumMod val="50000"/>
                  </a:schemeClr>
                </a:solidFill>
                <a:latin typeface="+mn-lt"/>
                <a:sym typeface="Trebuchet MS" panose="020B0603020202020204" pitchFamily="34" charset="0"/>
              </a:defRPr>
            </a:lvl1pPr>
          </a:lstStyle>
          <a:p>
            <a:fld id="{D6AA55A2-63A8-4C2E-8E9B-E31C694CC1D7}" type="datetime1">
              <a:rPr lang="en-US" smtClean="0"/>
              <a:t>5/6/21</a:t>
            </a:fld>
            <a:endParaRPr lang="en-US" dirty="0"/>
          </a:p>
        </p:txBody>
      </p:sp>
      <p:sp>
        <p:nvSpPr>
          <p:cNvPr id="16" name="TextBox 15"/>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lumMod val="50000"/>
                  </a:schemeClr>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7156118" y="6832600"/>
            <a:ext cx="5389332" cy="68834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40785905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19354801" y="12810072"/>
            <a:ext cx="2964102" cy="307776"/>
          </a:xfrm>
          <a:prstGeom prst="rect">
            <a:avLst/>
          </a:prstGeom>
        </p:spPr>
        <p:txBody>
          <a:bodyPr/>
          <a:lstStyle>
            <a:lvl1pPr>
              <a:defRPr>
                <a:solidFill>
                  <a:schemeClr val="bg1"/>
                </a:solidFill>
                <a:latin typeface="+mn-lt"/>
                <a:sym typeface="Trebuchet MS" panose="020B0603020202020204" pitchFamily="34" charset="0"/>
              </a:defRPr>
            </a:lvl1pPr>
          </a:lstStyle>
          <a:p>
            <a:fld id="{48F77553-B976-4750-92E8-F7CB556AD39A}" type="datetime1">
              <a:rPr lang="en-US" smtClean="0"/>
              <a:t>5/6/21</a:t>
            </a:fld>
            <a:endParaRPr lang="en-US" dirty="0"/>
          </a:p>
        </p:txBody>
      </p:sp>
      <p:sp>
        <p:nvSpPr>
          <p:cNvPr id="18"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mn-lt"/>
                <a:sym typeface="Trebuchet MS" panose="020B0603020202020204" pitchFamily="34" charset="0"/>
              </a:rPr>
              <a:t>Copyright © 2020 by Boston Consulting Group. All rights reserved.</a:t>
            </a:r>
            <a:endParaRPr lang="en-US" sz="1400" dirty="0">
              <a:solidFill>
                <a:schemeClr val="bg1"/>
              </a:solidFill>
              <a:latin typeface="+mn-lt"/>
              <a:sym typeface="Trebuchet MS" panose="020B0603020202020204" pitchFamily="34" charset="0"/>
            </a:endParaRPr>
          </a:p>
        </p:txBody>
      </p:sp>
      <p:sp>
        <p:nvSpPr>
          <p:cNvPr id="15" name="TextBox 14"/>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12727092" cy="13716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2000"/>
              </a:spcAft>
            </a:pPr>
            <a:endParaRPr lang="en-US" sz="24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1260000" y="1245600"/>
            <a:ext cx="9347292" cy="941796"/>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68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95612" y="7179212"/>
            <a:ext cx="2730500" cy="6765924"/>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3052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12727092" cy="13716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2000"/>
              </a:spcAft>
            </a:pPr>
            <a:endParaRPr lang="en-US" sz="24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1260000" y="1245600"/>
            <a:ext cx="9347292" cy="941796"/>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68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19354801" y="12810072"/>
            <a:ext cx="2964102" cy="307776"/>
          </a:xfrm>
          <a:prstGeom prst="rect">
            <a:avLst/>
          </a:prstGeom>
        </p:spPr>
        <p:txBody>
          <a:bodyPr vert="horz" wrap="square" lIns="0" tIns="0" rIns="0" bIns="0" rtlCol="0" anchor="b">
            <a:spAutoFit/>
          </a:bodyPr>
          <a:lstStyle>
            <a:lvl1pPr algn="r">
              <a:defRPr sz="2000">
                <a:solidFill>
                  <a:schemeClr val="bg1">
                    <a:lumMod val="50000"/>
                  </a:schemeClr>
                </a:solidFill>
                <a:latin typeface="+mn-lt"/>
                <a:sym typeface="Trebuchet MS" panose="020B0603020202020204" pitchFamily="34" charset="0"/>
              </a:defRPr>
            </a:lvl1pPr>
          </a:lstStyle>
          <a:p>
            <a:fld id="{C71A6524-67AD-47E8-AB56-26155331271D}" type="datetime1">
              <a:rPr lang="en-US" smtClean="0"/>
              <a:t>5/6/21</a:t>
            </a:fld>
            <a:endParaRPr lang="en-US" dirty="0"/>
          </a:p>
        </p:txBody>
      </p:sp>
      <p:sp>
        <p:nvSpPr>
          <p:cNvPr id="13" name="TextBox 12"/>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lumMod val="50000"/>
                  </a:schemeClr>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8920344" y="6815607"/>
            <a:ext cx="5389332" cy="6913102"/>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731913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4032" y="3177"/>
          <a:ext cx="4032" cy="3176"/>
        </p:xfrm>
        <a:graphic>
          <a:graphicData uri="http://schemas.openxmlformats.org/presentationml/2006/ole">
            <mc:AlternateContent xmlns:mc="http://schemas.openxmlformats.org/markup-compatibility/2006">
              <mc:Choice xmlns:v="urn:schemas-microsoft-com:vml" Requires="v">
                <p:oleObj spid="_x0000_s720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4032" y="3177"/>
                        <a:ext cx="4032" cy="3176"/>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8800"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sp>
        <p:nvSpPr>
          <p:cNvPr id="5" name="Page"/>
          <p:cNvSpPr txBox="1"/>
          <p:nvPr userDrawn="1"/>
        </p:nvSpPr>
        <p:spPr>
          <a:xfrm>
            <a:off x="21966653" y="12810073"/>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4" name="Date Placeholder 3"/>
          <p:cNvSpPr>
            <a:spLocks noGrp="1"/>
          </p:cNvSpPr>
          <p:nvPr>
            <p:ph type="dt" sz="half" idx="10"/>
          </p:nvPr>
        </p:nvSpPr>
        <p:spPr>
          <a:xfrm>
            <a:off x="20037833" y="12810073"/>
            <a:ext cx="1928824" cy="307777"/>
          </a:xfrm>
          <a:prstGeom prst="rect">
            <a:avLst/>
          </a:prstGeom>
        </p:spPr>
        <p:txBody>
          <a:bodyPr/>
          <a:lstStyle>
            <a:lvl1pPr>
              <a:defRPr>
                <a:solidFill>
                  <a:schemeClr val="bg1"/>
                </a:solidFill>
                <a:latin typeface="+mn-lt"/>
                <a:ea typeface="+mn-ea"/>
                <a:cs typeface="+mn-cs"/>
                <a:sym typeface="+mn-lt"/>
              </a:defRPr>
            </a:lvl1pPr>
          </a:lstStyle>
          <a:p>
            <a:pPr defTabSz="2116120" hangingPunct="1"/>
            <a:fld id="{41E40C93-B2E6-4F9B-9EDD-34133DC21EDB}" type="datetime1">
              <a:rPr lang="en-US" b="0" kern="1200" cap="none" smtClean="0">
                <a:solidFill>
                  <a:prstClr val="white"/>
                </a:solidFill>
                <a:effectLst/>
              </a:rPr>
              <a:t>5/6/21</a:t>
            </a:fld>
            <a:endParaRPr lang="en-US" b="0" kern="1200" cap="none" dirty="0">
              <a:solidFill>
                <a:prstClr val="white"/>
              </a:solidFill>
              <a:effectLst/>
            </a:endParaRPr>
          </a:p>
        </p:txBody>
      </p:sp>
      <p:sp>
        <p:nvSpPr>
          <p:cNvPr id="147" name="Title 1"/>
          <p:cNvSpPr>
            <a:spLocks noGrp="1"/>
          </p:cNvSpPr>
          <p:nvPr>
            <p:ph type="title" hasCustomPrompt="1"/>
          </p:nvPr>
        </p:nvSpPr>
        <p:spPr bwMode="blackWhite">
          <a:xfrm>
            <a:off x="1601752" y="7653600"/>
            <a:ext cx="21180496" cy="4082400"/>
          </a:xfrm>
        </p:spPr>
        <p:txBody>
          <a:bodyPr anchor="t">
            <a:noAutofit/>
          </a:bodyPr>
          <a:lstStyle>
            <a:lvl1pPr>
              <a:defRPr sz="8800">
                <a:solidFill>
                  <a:schemeClr val="bg1"/>
                </a:solidFill>
                <a:latin typeface="+mj-lt"/>
                <a:ea typeface="+mj-ea"/>
                <a:cs typeface="+mj-cs"/>
                <a:sym typeface="+mj-lt"/>
              </a:defRPr>
            </a:lvl1pPr>
          </a:lstStyle>
          <a:p>
            <a:r>
              <a:rPr lang="en-US" dirty="0"/>
              <a:t>Click to add section title</a:t>
            </a:r>
          </a:p>
        </p:txBody>
      </p:sp>
      <p:cxnSp>
        <p:nvCxnSpPr>
          <p:cNvPr id="148" name="Line"/>
          <p:cNvCxnSpPr/>
          <p:nvPr userDrawn="1"/>
        </p:nvCxnSpPr>
        <p:spPr bwMode="white">
          <a:xfrm>
            <a:off x="1599740" y="7358400"/>
            <a:ext cx="2278426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7950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1" y="0"/>
            <a:ext cx="16892478" cy="13716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2000"/>
              </a:spcAft>
            </a:pPr>
            <a:endParaRPr lang="en-US" sz="24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19354801" y="12810072"/>
            <a:ext cx="2964102" cy="307776"/>
          </a:xfrm>
          <a:prstGeom prst="rect">
            <a:avLst/>
          </a:prstGeom>
        </p:spPr>
        <p:txBody>
          <a:bodyPr/>
          <a:lstStyle>
            <a:lvl1pPr>
              <a:defRPr>
                <a:solidFill>
                  <a:schemeClr val="bg1"/>
                </a:solidFill>
                <a:latin typeface="+mn-lt"/>
                <a:sym typeface="Trebuchet MS" panose="020B0603020202020204" pitchFamily="34" charset="0"/>
              </a:defRPr>
            </a:lvl1pPr>
          </a:lstStyle>
          <a:p>
            <a:fld id="{5A83DE9A-36C9-4852-8C32-295C7755FBE3}" type="datetime1">
              <a:rPr lang="en-US" smtClean="0"/>
              <a:t>5/6/21</a:t>
            </a:fld>
            <a:endParaRPr lang="en-US" dirty="0"/>
          </a:p>
        </p:txBody>
      </p:sp>
      <p:sp>
        <p:nvSpPr>
          <p:cNvPr id="9"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mn-lt"/>
                <a:sym typeface="Trebuchet MS" panose="020B0603020202020204" pitchFamily="34" charset="0"/>
              </a:rPr>
              <a:t>Copyright © 2020 by Boston Consulting Group. All rights reserved.</a:t>
            </a:r>
            <a:endParaRPr lang="en-US" sz="1400" dirty="0">
              <a:solidFill>
                <a:schemeClr val="bg1"/>
              </a:solidFill>
              <a:latin typeface="+mn-lt"/>
              <a:sym typeface="Trebuchet MS" panose="020B0603020202020204" pitchFamily="34" charset="0"/>
            </a:endParaRPr>
          </a:p>
        </p:txBody>
      </p:sp>
      <p:sp>
        <p:nvSpPr>
          <p:cNvPr id="15" name="TextBox 14"/>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1260000" y="1245600"/>
            <a:ext cx="12513600" cy="941796"/>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68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980678" y="7179212"/>
            <a:ext cx="2730500" cy="6765924"/>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32506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1" y="0"/>
            <a:ext cx="16892478" cy="13716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2000"/>
              </a:spcAft>
            </a:pPr>
            <a:endParaRPr lang="en-US" sz="24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1260000" y="1245600"/>
            <a:ext cx="12513600" cy="941796"/>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68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19354801" y="12810072"/>
            <a:ext cx="2964102" cy="307776"/>
          </a:xfrm>
          <a:prstGeom prst="rect">
            <a:avLst/>
          </a:prstGeom>
        </p:spPr>
        <p:txBody>
          <a:bodyPr vert="horz" wrap="square" lIns="0" tIns="0" rIns="0" bIns="0" rtlCol="0" anchor="b">
            <a:spAutoFit/>
          </a:bodyPr>
          <a:lstStyle>
            <a:lvl1pPr algn="r">
              <a:defRPr sz="2000">
                <a:solidFill>
                  <a:schemeClr val="bg1">
                    <a:lumMod val="50000"/>
                  </a:schemeClr>
                </a:solidFill>
                <a:latin typeface="+mn-lt"/>
                <a:sym typeface="Trebuchet MS" panose="020B0603020202020204" pitchFamily="34" charset="0"/>
              </a:defRPr>
            </a:lvl1pPr>
          </a:lstStyle>
          <a:p>
            <a:fld id="{D941C883-474D-4B97-82F9-37AE2D8F5939}" type="datetime1">
              <a:rPr lang="en-US" smtClean="0"/>
              <a:t>5/6/21</a:t>
            </a:fld>
            <a:endParaRPr lang="en-US" dirty="0"/>
          </a:p>
        </p:txBody>
      </p:sp>
      <p:sp>
        <p:nvSpPr>
          <p:cNvPr id="18" name="TextBox 17"/>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lumMod val="50000"/>
                  </a:schemeClr>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13135256" y="6815607"/>
            <a:ext cx="5389332" cy="6913102"/>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3979928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19354801" y="12810072"/>
            <a:ext cx="2964102" cy="307776"/>
          </a:xfrm>
          <a:prstGeom prst="rect">
            <a:avLst/>
          </a:prstGeom>
        </p:spPr>
        <p:txBody>
          <a:bodyPr/>
          <a:lstStyle>
            <a:lvl1pPr>
              <a:defRPr>
                <a:solidFill>
                  <a:schemeClr val="bg1"/>
                </a:solidFill>
                <a:latin typeface="+mn-lt"/>
                <a:sym typeface="Trebuchet MS" panose="020B0603020202020204" pitchFamily="34" charset="0"/>
              </a:defRPr>
            </a:lvl1pPr>
          </a:lstStyle>
          <a:p>
            <a:fld id="{63572123-C1DE-4460-8ED3-E835B7100A57}" type="datetime1">
              <a:rPr lang="en-US" smtClean="0"/>
              <a:t>5/6/21</a:t>
            </a:fld>
            <a:endParaRPr lang="en-US" dirty="0"/>
          </a:p>
        </p:txBody>
      </p:sp>
      <p:sp>
        <p:nvSpPr>
          <p:cNvPr id="9"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mn-lt"/>
                <a:sym typeface="Trebuchet MS" panose="020B0603020202020204" pitchFamily="34" charset="0"/>
              </a:rPr>
              <a:t>Copyright © 2020 by Boston Consulting Group. All rights reserved.</a:t>
            </a:r>
            <a:endParaRPr lang="en-US" sz="14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1260000" y="7652666"/>
            <a:ext cx="21866400" cy="3213100"/>
          </a:xfrm>
        </p:spPr>
        <p:txBody>
          <a:bodyPr anchor="b">
            <a:noAutofit/>
          </a:bodyPr>
          <a:lstStyle>
            <a:lvl1pPr marL="0" algn="l" defTabSz="1828800" rtl="0" eaLnBrk="1" fontAlgn="auto" latinLnBrk="0" hangingPunct="1">
              <a:lnSpc>
                <a:spcPts val="12000"/>
              </a:lnSpc>
              <a:spcBef>
                <a:spcPts val="0"/>
              </a:spcBef>
              <a:spcAft>
                <a:spcPts val="0"/>
              </a:spcAft>
              <a:defRPr lang="en-US" sz="108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7344311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19354801" y="12810072"/>
            <a:ext cx="2964102" cy="30777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fld id="{50BC55A7-946A-4C1E-9AF7-05D5494DEE1F}" type="datetime1">
              <a:rPr lang="en-US" smtClean="0"/>
              <a:t>5/6/21</a:t>
            </a:fld>
            <a:endParaRPr lang="en-US" dirty="0"/>
          </a:p>
        </p:txBody>
      </p:sp>
      <p:sp>
        <p:nvSpPr>
          <p:cNvPr id="9"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1260000" y="1250950"/>
            <a:ext cx="1865376" cy="1865376"/>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24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1260000" y="7652666"/>
            <a:ext cx="21866400" cy="3213100"/>
          </a:xfrm>
          <a:prstGeom prst="rect">
            <a:avLst/>
          </a:prstGeom>
        </p:spPr>
        <p:txBody>
          <a:bodyPr anchor="b">
            <a:noAutofit/>
          </a:bodyPr>
          <a:lstStyle>
            <a:lvl1pPr marL="0" algn="l" defTabSz="1828800" rtl="0" eaLnBrk="1" fontAlgn="auto" latinLnBrk="0" hangingPunct="1">
              <a:lnSpc>
                <a:spcPts val="12000"/>
              </a:lnSpc>
              <a:spcBef>
                <a:spcPts val="0"/>
              </a:spcBef>
              <a:spcAft>
                <a:spcPts val="0"/>
              </a:spcAft>
              <a:defRPr lang="en-US" sz="108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581158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42642988"/>
              </p:ext>
            </p:extLst>
          </p:nvPr>
        </p:nvGraphicFramePr>
        <p:xfrm>
          <a:off x="3177" y="3177"/>
          <a:ext cx="3174" cy="3174"/>
        </p:xfrm>
        <a:graphic>
          <a:graphicData uri="http://schemas.openxmlformats.org/presentationml/2006/ole">
            <mc:AlternateContent xmlns:mc="http://schemas.openxmlformats.org/markup-compatibility/2006">
              <mc:Choice xmlns:v="urn:schemas-microsoft-com:vml" Requires="v">
                <p:oleObj spid="_x0000_s73764"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3177" y="3177"/>
                        <a:ext cx="3174" cy="3174"/>
                      </a:xfrm>
                      <a:prstGeom prst="rect">
                        <a:avLst/>
                      </a:prstGeom>
                    </p:spPr>
                  </p:pic>
                </p:oleObj>
              </mc:Fallback>
            </mc:AlternateContent>
          </a:graphicData>
        </a:graphic>
      </p:graphicFrame>
      <p:sp>
        <p:nvSpPr>
          <p:cNvPr id="6" name="TextBox 5"/>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13594923" y="202887"/>
            <a:ext cx="1538514" cy="20039642"/>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24384000" cy="11734670"/>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182880" tIns="91440" rIns="182880" bIns="91440" numCol="1" anchor="t" anchorCtr="0" compatLnSpc="1">
            <a:prstTxWarp prst="textNoShape">
              <a:avLst/>
            </a:prstTxWarp>
            <a:noAutofit/>
          </a:bodyPr>
          <a:lstStyle/>
          <a:p>
            <a:endParaRPr lang="en-US" sz="8400" dirty="0">
              <a:latin typeface="+mn-lt"/>
              <a:sym typeface="Trebuchet MS" panose="020B0603020202020204" pitchFamily="34" charset="0"/>
            </a:endParaRPr>
          </a:p>
        </p:txBody>
      </p:sp>
    </p:spTree>
    <p:extLst>
      <p:ext uri="{BB962C8B-B14F-4D97-AF65-F5344CB8AC3E}">
        <p14:creationId xmlns:p14="http://schemas.microsoft.com/office/powerpoint/2010/main" val="2052084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22335744" y="12808800"/>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19354801" y="12810072"/>
            <a:ext cx="2964102" cy="307776"/>
          </a:xfrm>
          <a:prstGeom prst="rect">
            <a:avLst/>
          </a:prstGeom>
        </p:spPr>
        <p:txBody>
          <a:bodyPr/>
          <a:lstStyle>
            <a:lvl1pPr>
              <a:defRPr>
                <a:solidFill>
                  <a:schemeClr val="bg1"/>
                </a:solidFill>
                <a:latin typeface="+mn-lt"/>
                <a:sym typeface="Trebuchet MS" panose="020B0603020202020204" pitchFamily="34" charset="0"/>
              </a:defRPr>
            </a:lvl1pPr>
          </a:lstStyle>
          <a:p>
            <a:fld id="{4CCE112C-E2C1-419D-A2DA-4D6D569C42EF}" type="datetime1">
              <a:rPr lang="en-US" smtClean="0"/>
              <a:t>5/6/21</a:t>
            </a:fld>
            <a:endParaRPr lang="en-US" dirty="0"/>
          </a:p>
        </p:txBody>
      </p:sp>
      <p:sp>
        <p:nvSpPr>
          <p:cNvPr id="11"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mn-lt"/>
                <a:sym typeface="Trebuchet MS" panose="020B0603020202020204" pitchFamily="34" charset="0"/>
              </a:rPr>
              <a:t>Copyright © 2020 by Boston Consulting Group. All rights reserved.</a:t>
            </a:r>
            <a:endParaRPr lang="en-US" sz="14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1260000" y="1245600"/>
            <a:ext cx="21866400" cy="941796"/>
          </a:xfrm>
        </p:spPr>
        <p:txBody>
          <a:bodyPr/>
          <a:lstStyle>
            <a:lvl1pPr>
              <a:defRPr sz="68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9644052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19354801" y="12810072"/>
            <a:ext cx="2964102" cy="30777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fld id="{719A536E-85A5-4750-BE57-7A8EBAA65BDD}" type="datetime1">
              <a:rPr lang="en-US" smtClean="0"/>
              <a:t>5/6/21</a:t>
            </a:fld>
            <a:endParaRPr lang="en-US" dirty="0"/>
          </a:p>
        </p:txBody>
      </p:sp>
      <p:sp>
        <p:nvSpPr>
          <p:cNvPr id="7"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170769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22335744" y="12808800"/>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19354801" y="12810072"/>
            <a:ext cx="2964102" cy="307776"/>
          </a:xfrm>
          <a:prstGeom prst="rect">
            <a:avLst/>
          </a:prstGeom>
        </p:spPr>
        <p:txBody>
          <a:bodyPr/>
          <a:lstStyle>
            <a:lvl1pPr>
              <a:defRPr>
                <a:solidFill>
                  <a:schemeClr val="bg1"/>
                </a:solidFill>
                <a:latin typeface="+mn-lt"/>
                <a:sym typeface="Trebuchet MS" panose="020B0603020202020204" pitchFamily="34" charset="0"/>
              </a:defRPr>
            </a:lvl1pPr>
          </a:lstStyle>
          <a:p>
            <a:fld id="{E915776B-B62B-4EB2-BA49-599C62D9CE1F}" type="datetime1">
              <a:rPr lang="en-US" smtClean="0"/>
              <a:t>5/6/21</a:t>
            </a:fld>
            <a:endParaRPr lang="en-US" dirty="0"/>
          </a:p>
        </p:txBody>
      </p:sp>
      <p:sp>
        <p:nvSpPr>
          <p:cNvPr id="9"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mn-lt"/>
                <a:sym typeface="Trebuchet MS" panose="020B0603020202020204" pitchFamily="34" charset="0"/>
              </a:rPr>
              <a:t>Copyright © 2020 by Boston Consulting Group. All rights reserved.</a:t>
            </a:r>
            <a:endParaRPr lang="en-US" sz="14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644463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10043652" y="3328513"/>
            <a:ext cx="12418144" cy="6647974"/>
          </a:xfrm>
          <a:prstGeom prst="rect">
            <a:avLst/>
          </a:prstGeom>
        </p:spPr>
        <p:txBody>
          <a:bodyPr wrap="square" lIns="0" tIns="0" rIns="0" bIns="0" anchor="ctr">
            <a:spAutoFit/>
          </a:bodyPr>
          <a:lstStyle/>
          <a:p>
            <a:pPr indent="0">
              <a:lnSpc>
                <a:spcPct val="100000"/>
              </a:lnSpc>
            </a:pPr>
            <a:r>
              <a:rPr lang="en-US" sz="1800" b="0" dirty="0">
                <a:latin typeface="+mn-lt"/>
                <a:sym typeface="Trebuchet MS" panose="020B0603020202020204" pitchFamily="34" charset="0"/>
              </a:rPr>
              <a:t>The services and materials provided by Boston Consulting Group (BCG) are subject to BCG's Standard Terms </a:t>
            </a:r>
            <a:br>
              <a:rPr lang="en-US" sz="1800" b="0" dirty="0">
                <a:latin typeface="+mn-lt"/>
                <a:sym typeface="Trebuchet MS" panose="020B0603020202020204" pitchFamily="34" charset="0"/>
              </a:rPr>
            </a:br>
            <a:r>
              <a:rPr lang="en-US" sz="18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1800" b="0" dirty="0">
                <a:latin typeface="+mn-lt"/>
                <a:sym typeface="Trebuchet MS" panose="020B0603020202020204" pitchFamily="34" charset="0"/>
              </a:rPr>
            </a:br>
            <a:r>
              <a:rPr lang="en-US" sz="1800" b="0" dirty="0">
                <a:latin typeface="+mn-lt"/>
                <a:sym typeface="Trebuchet MS" panose="020B0603020202020204" pitchFamily="34" charset="0"/>
              </a:rPr>
              <a:t>to update these materials after the date hereof, notwithstanding that such information may become outdated </a:t>
            </a:r>
            <a:br>
              <a:rPr lang="en-US" sz="1800" b="0" dirty="0">
                <a:latin typeface="+mn-lt"/>
                <a:sym typeface="Trebuchet MS" panose="020B0603020202020204" pitchFamily="34" charset="0"/>
              </a:rPr>
            </a:br>
            <a:r>
              <a:rPr lang="en-US" sz="1800" b="0" dirty="0">
                <a:latin typeface="+mn-lt"/>
                <a:sym typeface="Trebuchet MS" panose="020B0603020202020204" pitchFamily="34" charset="0"/>
              </a:rPr>
              <a:t>or inaccurate.</a:t>
            </a:r>
          </a:p>
          <a:p>
            <a:pPr indent="0">
              <a:lnSpc>
                <a:spcPct val="100000"/>
              </a:lnSpc>
            </a:pPr>
            <a:r>
              <a:rPr lang="en-US" sz="1800" b="0" dirty="0">
                <a:latin typeface="+mn-lt"/>
                <a:sym typeface="Trebuchet MS" panose="020B0603020202020204" pitchFamily="34" charset="0"/>
              </a:rPr>
              <a:t> </a:t>
            </a:r>
          </a:p>
          <a:p>
            <a:pPr indent="0">
              <a:lnSpc>
                <a:spcPct val="100000"/>
              </a:lnSpc>
            </a:pPr>
            <a:r>
              <a:rPr lang="en-US" sz="18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1800" b="0" dirty="0">
              <a:latin typeface="+mn-lt"/>
              <a:sym typeface="Trebuchet MS" panose="020B0603020202020204" pitchFamily="34" charset="0"/>
            </a:endParaRPr>
          </a:p>
          <a:p>
            <a:pPr marL="0" marR="0" indent="0" algn="l" defTabSz="1828800" rtl="0" eaLnBrk="1" fontAlgn="auto" latinLnBrk="0" hangingPunct="1">
              <a:lnSpc>
                <a:spcPct val="100000"/>
              </a:lnSpc>
              <a:spcBef>
                <a:spcPts val="0"/>
              </a:spcBef>
              <a:spcAft>
                <a:spcPts val="0"/>
              </a:spcAft>
              <a:buClrTx/>
              <a:buSzTx/>
              <a:buFontTx/>
              <a:buNone/>
              <a:tabLst/>
              <a:defRPr/>
            </a:pPr>
            <a:r>
              <a:rPr lang="en-US" sz="18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1278089" y="5946153"/>
            <a:ext cx="6399058" cy="1412694"/>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102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8735796" y="3260371"/>
            <a:ext cx="0" cy="6784258"/>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19354801" y="12810072"/>
            <a:ext cx="2964102" cy="30777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fld id="{D92D2F24-BC6E-41B8-B4A3-D3FB9DC5B587}" type="datetime1">
              <a:rPr lang="en-US" smtClean="0"/>
              <a:t>5/6/21</a:t>
            </a:fld>
            <a:endParaRPr lang="en-US" dirty="0"/>
          </a:p>
        </p:txBody>
      </p:sp>
      <p:sp>
        <p:nvSpPr>
          <p:cNvPr id="10"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389494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3002136"/>
              </p:ext>
            </p:extLst>
          </p:nvPr>
        </p:nvGraphicFramePr>
        <p:xfrm>
          <a:off x="3177" y="3177"/>
          <a:ext cx="3174" cy="3174"/>
        </p:xfrm>
        <a:graphic>
          <a:graphicData uri="http://schemas.openxmlformats.org/presentationml/2006/ole">
            <mc:AlternateContent xmlns:mc="http://schemas.openxmlformats.org/markup-compatibility/2006">
              <mc:Choice xmlns:v="urn:schemas-microsoft-com:vml" Requires="v">
                <p:oleObj spid="_x0000_s74788"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3177" y="3177"/>
                        <a:ext cx="3174" cy="3174"/>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24384000" cy="13716000"/>
          </a:xfrm>
          <a:prstGeom prst="rect">
            <a:avLst/>
          </a:prstGeom>
        </p:spPr>
      </p:pic>
      <p:sp>
        <p:nvSpPr>
          <p:cNvPr id="10" name="Rectangle 9">
            <a:extLst>
              <a:ext uri="{FF2B5EF4-FFF2-40B4-BE49-F238E27FC236}">
                <a16:creationId xmlns:a16="http://schemas.microsoft.com/office/drawing/2014/main" id="{854D5010-62C8-40BE-BE2C-9BA62B902CFE}"/>
              </a:ext>
            </a:extLst>
          </p:cNvPr>
          <p:cNvSpPr/>
          <p:nvPr userDrawn="1"/>
        </p:nvSpPr>
        <p:spPr bwMode="black">
          <a:xfrm>
            <a:off x="1261872" y="1252400"/>
            <a:ext cx="16250400" cy="11059200"/>
          </a:xfrm>
          <a:prstGeom prst="rect">
            <a:avLst/>
          </a:prstGeom>
          <a:gradFill flip="none" rotWithShape="1">
            <a:gsLst>
              <a:gs pos="0">
                <a:srgbClr val="1D2B5D">
                  <a:alpha val="80000"/>
                </a:srgbClr>
              </a:gs>
              <a:gs pos="100000">
                <a:srgbClr val="4E67C7"/>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4000" dirty="0">
              <a:solidFill>
                <a:prstClr val="white"/>
              </a:solidFill>
              <a:latin typeface="+mn-lt"/>
              <a:sym typeface="Trebuchet MS" panose="020B0603020202020204" pitchFamily="34" charset="0"/>
            </a:endParaRPr>
          </a:p>
        </p:txBody>
      </p:sp>
      <p:sp>
        <p:nvSpPr>
          <p:cNvPr id="15" name="TextBox 14"/>
          <p:cNvSpPr txBox="1"/>
          <p:nvPr/>
        </p:nvSpPr>
        <p:spPr bwMode="white">
          <a:xfrm>
            <a:off x="1849959" y="11430356"/>
            <a:ext cx="1681602" cy="340220"/>
          </a:xfrm>
          <a:prstGeom prst="rect">
            <a:avLst/>
          </a:prstGeom>
          <a:noFill/>
        </p:spPr>
        <p:txBody>
          <a:bodyPr wrap="none" lIns="0" tIns="0" rIns="0" bIns="0" rtlCol="0" anchor="b">
            <a:noAutofit/>
          </a:bodyPr>
          <a:lstStyle/>
          <a:p>
            <a:pPr>
              <a:lnSpc>
                <a:spcPct val="90000"/>
              </a:lnSpc>
              <a:spcAft>
                <a:spcPts val="1200"/>
              </a:spcAft>
            </a:pPr>
            <a:r>
              <a:rPr lang="en-US" sz="24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5353717" y="5939026"/>
            <a:ext cx="8066714" cy="1685948"/>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noAutofit/>
          </a:bodyPr>
          <a:lstStyle/>
          <a:p>
            <a:endParaRPr lang="en-US" sz="8400"/>
          </a:p>
        </p:txBody>
      </p:sp>
    </p:spTree>
    <p:extLst>
      <p:ext uri="{BB962C8B-B14F-4D97-AF65-F5344CB8AC3E}">
        <p14:creationId xmlns:p14="http://schemas.microsoft.com/office/powerpoint/2010/main" val="41897965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8228"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5600"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pic>
        <p:nvPicPr>
          <p:cNvPr id="64"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8246276" y="0"/>
            <a:ext cx="1060397" cy="13716000"/>
          </a:xfrm>
          <a:prstGeom prst="rect">
            <a:avLst/>
          </a:prstGeom>
        </p:spPr>
      </p:pic>
      <p:sp>
        <p:nvSpPr>
          <p:cNvPr id="65" name="PanelGray"/>
          <p:cNvSpPr/>
          <p:nvPr userDrawn="1"/>
        </p:nvSpPr>
        <p:spPr bwMode="white">
          <a:xfrm>
            <a:off x="4" y="0"/>
            <a:ext cx="8276216" cy="1371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20" name="Page"/>
          <p:cNvSpPr txBox="1"/>
          <p:nvPr userDrawn="1"/>
        </p:nvSpPr>
        <p:spPr>
          <a:xfrm>
            <a:off x="21966653" y="12810073"/>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17" name="Date Placeholder 1"/>
          <p:cNvSpPr>
            <a:spLocks noGrp="1"/>
          </p:cNvSpPr>
          <p:nvPr userDrawn="1">
            <p:ph type="dt" sz="half" idx="31"/>
          </p:nvPr>
        </p:nvSpPr>
        <p:spPr>
          <a:xfrm>
            <a:off x="20037833" y="12810073"/>
            <a:ext cx="1928824" cy="307777"/>
          </a:xfrm>
          <a:prstGeom prst="rect">
            <a:avLst/>
          </a:prstGeom>
        </p:spPr>
        <p:txBody>
          <a:bodyPr/>
          <a:lstStyle>
            <a:lvl1pPr>
              <a:defRPr>
                <a:solidFill>
                  <a:schemeClr val="bg1"/>
                </a:solidFill>
                <a:latin typeface="+mn-lt"/>
                <a:ea typeface="+mn-ea"/>
                <a:cs typeface="+mn-cs"/>
                <a:sym typeface="+mn-lt"/>
              </a:defRPr>
            </a:lvl1pPr>
          </a:lstStyle>
          <a:p>
            <a:pPr defTabSz="2116120" hangingPunct="1"/>
            <a:fld id="{4475EF2D-19B0-42CC-833D-2195BA39969B}" type="datetime1">
              <a:rPr lang="en-US" b="0" kern="1200" cap="none" smtClean="0">
                <a:solidFill>
                  <a:prstClr val="white"/>
                </a:solidFill>
                <a:effectLst/>
              </a:rPr>
              <a:t>5/6/21</a:t>
            </a:fld>
            <a:endParaRPr lang="en-US" b="0" kern="1200" cap="none" dirty="0">
              <a:solidFill>
                <a:prstClr val="white"/>
              </a:solidFill>
              <a:effectLst/>
            </a:endParaRPr>
          </a:p>
        </p:txBody>
      </p:sp>
      <p:sp>
        <p:nvSpPr>
          <p:cNvPr id="25"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aramond"/>
                <a:ea typeface="+mn-ea"/>
                <a:cs typeface="+mn-cs"/>
                <a:sym typeface="+mn-lt"/>
              </a:rPr>
              <a:t>Copyright © 2020 by Boston Consulting Group. All rights reserved.</a:t>
            </a:r>
          </a:p>
        </p:txBody>
      </p:sp>
      <p:sp>
        <p:nvSpPr>
          <p:cNvPr id="27" name="Title 4"/>
          <p:cNvSpPr>
            <a:spLocks noGrp="1"/>
          </p:cNvSpPr>
          <p:nvPr userDrawn="1">
            <p:ph type="title" hasCustomPrompt="1"/>
          </p:nvPr>
        </p:nvSpPr>
        <p:spPr>
          <a:xfrm>
            <a:off x="1260000" y="5362208"/>
            <a:ext cx="6399477" cy="2991589"/>
          </a:xfrm>
          <a:prstGeom prst="rect">
            <a:avLst/>
          </a:prstGeom>
        </p:spPr>
        <p:txBody>
          <a:bodyPr anchor="ctr">
            <a:noAutofit/>
          </a:bodyPr>
          <a:lstStyle>
            <a:lvl1pPr>
              <a:defRPr sz="56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087171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1200" y="-1"/>
            <a:ext cx="24387600" cy="13716002"/>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2000"/>
                </a:spcAft>
              </a:pPr>
              <a:endParaRPr lang="en-US" sz="2400" dirty="0">
                <a:solidFill>
                  <a:schemeClr val="bg1"/>
                </a:solidFill>
                <a:latin typeface="+mn-lt"/>
              </a:endParaRPr>
            </a:p>
          </p:txBody>
        </p:sp>
        <p:sp>
          <p:nvSpPr>
            <p:cNvPr id="60" name="Footnote example"/>
            <p:cNvSpPr txBox="1"/>
            <p:nvPr/>
          </p:nvSpPr>
          <p:spPr>
            <a:xfrm>
              <a:off x="630000" y="6144442"/>
              <a:ext cx="9030914" cy="415499"/>
            </a:xfrm>
            <a:prstGeom prst="rect">
              <a:avLst/>
            </a:prstGeom>
            <a:noFill/>
          </p:spPr>
          <p:txBody>
            <a:bodyPr wrap="square" lIns="0" tIns="0" rIns="0" bIns="0" rtlCol="0" anchor="b">
              <a:spAutoFit/>
            </a:bodyPr>
            <a:lstStyle/>
            <a:p>
              <a:pPr marL="0" marR="0" lvl="0" indent="0" algn="l" defTabSz="18288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18288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18288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fld id="{E005CE1F-D4E2-48CB-B448-7699FE606892}" type="datetime1">
              <a:rPr lang="en-US" smtClean="0"/>
              <a:t>5/6/21</a:t>
            </a:fld>
            <a:endParaRPr lang="en-US" dirty="0"/>
          </a:p>
        </p:txBody>
      </p:sp>
      <p:sp>
        <p:nvSpPr>
          <p:cNvPr id="56"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23875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40170590"/>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spid="_x0000_s75812"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3176" y="3176"/>
                        <a:ext cx="3176" cy="3176"/>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317500" cy="31750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108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10558367"/>
            <a:ext cx="24384000" cy="3157634"/>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2000"/>
              </a:spcAft>
            </a:pPr>
            <a:endParaRPr lang="en-US" sz="24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16943843" y="3946544"/>
            <a:ext cx="1161146" cy="13716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24384000" cy="10553700"/>
          </a:xfrm>
          <a:prstGeom prst="rect">
            <a:avLst/>
          </a:prstGeom>
        </p:spPr>
      </p:pic>
      <p:sp>
        <p:nvSpPr>
          <p:cNvPr id="20" name="Picture Placeholder 8"/>
          <p:cNvSpPr>
            <a:spLocks noGrp="1"/>
          </p:cNvSpPr>
          <p:nvPr>
            <p:ph type="pic" sz="quarter" idx="13" hasCustomPrompt="1"/>
          </p:nvPr>
        </p:nvSpPr>
        <p:spPr>
          <a:xfrm>
            <a:off x="18733123" y="11141285"/>
            <a:ext cx="3735870" cy="1793666"/>
          </a:xfrm>
          <a:prstGeom prst="rect">
            <a:avLst/>
          </a:prstGeom>
        </p:spPr>
        <p:txBody>
          <a:bodyPr anchor="b"/>
          <a:lstStyle>
            <a:lvl1pPr algn="ctr">
              <a:defRPr sz="32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1261872" y="1252400"/>
            <a:ext cx="16250400" cy="110592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4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2234830" y="12415684"/>
            <a:ext cx="13737600" cy="654296"/>
          </a:xfrm>
          <a:prstGeom prst="rect">
            <a:avLst/>
          </a:prstGeom>
          <a:noFill/>
        </p:spPr>
        <p:txBody>
          <a:bodyPr anchor="ctr"/>
          <a:lstStyle>
            <a:lvl1pPr algn="l">
              <a:lnSpc>
                <a:spcPct val="110000"/>
              </a:lnSpc>
              <a:buNone/>
              <a:defRPr sz="24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457200" indent="0" algn="ctr">
              <a:buNone/>
              <a:defRPr/>
            </a:lvl4pPr>
            <a:lvl5pPr marL="9144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2234830" y="10991413"/>
            <a:ext cx="13737600" cy="872390"/>
          </a:xfrm>
          <a:prstGeom prst="rect">
            <a:avLst/>
          </a:prstGeom>
        </p:spPr>
        <p:txBody>
          <a:bodyPr anchor="ctr"/>
          <a:lstStyle>
            <a:lvl1pPr marL="0" indent="0" algn="l">
              <a:lnSpc>
                <a:spcPct val="110000"/>
              </a:lnSpc>
              <a:buNone/>
              <a:defRPr sz="3200">
                <a:solidFill>
                  <a:schemeClr val="bg1"/>
                </a:solidFill>
                <a:latin typeface="+mn-lt"/>
                <a:sym typeface="Trebuchet MS" panose="020B0603020202020204" pitchFamily="34" charset="0"/>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dirty="0"/>
              <a:t>Subtitle in sentence case</a:t>
            </a:r>
          </a:p>
        </p:txBody>
      </p:sp>
      <p:sp>
        <p:nvSpPr>
          <p:cNvPr id="27" name="Title 1"/>
          <p:cNvSpPr>
            <a:spLocks noGrp="1"/>
          </p:cNvSpPr>
          <p:nvPr>
            <p:ph type="ctrTitle" hasCustomPrompt="1"/>
          </p:nvPr>
        </p:nvSpPr>
        <p:spPr bwMode="ltGray">
          <a:xfrm>
            <a:off x="2234830" y="3772485"/>
            <a:ext cx="13737600" cy="6276846"/>
          </a:xfrm>
        </p:spPr>
        <p:txBody>
          <a:bodyPr anchor="b">
            <a:normAutofit/>
          </a:bodyPr>
          <a:lstStyle>
            <a:lvl1pPr algn="l">
              <a:lnSpc>
                <a:spcPct val="93000"/>
              </a:lnSpc>
              <a:defRPr sz="108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2234830" y="2225359"/>
            <a:ext cx="4655288" cy="972958"/>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noAutofit/>
          </a:bodyPr>
          <a:lstStyle/>
          <a:p>
            <a:endParaRPr lang="en-US" sz="8400"/>
          </a:p>
        </p:txBody>
      </p:sp>
    </p:spTree>
    <p:extLst>
      <p:ext uri="{BB962C8B-B14F-4D97-AF65-F5344CB8AC3E}">
        <p14:creationId xmlns:p14="http://schemas.microsoft.com/office/powerpoint/2010/main" val="29379173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fld id="{D552629A-F974-48A3-AB5D-8B196FE6F896}" type="datetime1">
              <a:rPr lang="en-US" smtClean="0"/>
              <a:t>5/6/21</a:t>
            </a:fld>
            <a:endParaRPr lang="en-US" dirty="0"/>
          </a:p>
        </p:txBody>
      </p:sp>
      <p:sp>
        <p:nvSpPr>
          <p:cNvPr id="7"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1260000" y="1245601"/>
            <a:ext cx="21866700" cy="664798"/>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6893473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1258800" y="4171256"/>
            <a:ext cx="21867900" cy="8145952"/>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7927781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fld id="{974E573C-67E6-4F00-A9EA-9090B9342050}" type="datetime1">
              <a:rPr lang="en-US" smtClean="0"/>
              <a:t>5/6/21</a:t>
            </a:fld>
            <a:endParaRPr lang="en-US" dirty="0"/>
          </a:p>
        </p:txBody>
      </p:sp>
      <p:sp>
        <p:nvSpPr>
          <p:cNvPr id="11"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2" y="-2617"/>
            <a:ext cx="9388800" cy="13718618"/>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l">
              <a:lnSpc>
                <a:spcPct val="90000"/>
              </a:lnSpc>
              <a:spcAft>
                <a:spcPts val="2000"/>
              </a:spcAft>
            </a:pPr>
            <a:endParaRPr lang="en-US" sz="24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1260000" y="4317975"/>
            <a:ext cx="7488000" cy="1083374"/>
          </a:xfrm>
          <a:prstGeom prst="rect">
            <a:avLst/>
          </a:prstGeom>
        </p:spPr>
        <p:txBody>
          <a:bodyPr>
            <a:noAutofit/>
          </a:bodyPr>
          <a:lstStyle>
            <a:lvl1pPr marL="0" indent="0" algn="l">
              <a:buNone/>
              <a:defRPr sz="3200">
                <a:solidFill>
                  <a:schemeClr val="tx2"/>
                </a:solidFill>
                <a:latin typeface="+mn-lt"/>
                <a:sym typeface="Trebuchet MS" panose="020B0603020202020204" pitchFamily="34" charset="0"/>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dirty="0"/>
              <a:t>Click to add subtitle</a:t>
            </a:r>
          </a:p>
        </p:txBody>
      </p:sp>
      <p:sp>
        <p:nvSpPr>
          <p:cNvPr id="9" name="Title 4"/>
          <p:cNvSpPr>
            <a:spLocks noGrp="1"/>
          </p:cNvSpPr>
          <p:nvPr>
            <p:ph type="title" hasCustomPrompt="1"/>
          </p:nvPr>
        </p:nvSpPr>
        <p:spPr>
          <a:xfrm>
            <a:off x="1260000" y="2454097"/>
            <a:ext cx="7488000" cy="1329594"/>
          </a:xfrm>
        </p:spPr>
        <p:txBody>
          <a:bodyPr anchor="t">
            <a:noAutofit/>
          </a:bodyPr>
          <a:lstStyle>
            <a:lvl1pPr>
              <a:defRPr sz="48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332325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fld id="{7179B7A1-DCC7-4181-BE83-D3385C96D20C}" type="datetime1">
              <a:rPr lang="en-US" smtClean="0"/>
              <a:t>5/6/21</a:t>
            </a:fld>
            <a:endParaRPr lang="en-US" dirty="0"/>
          </a:p>
        </p:txBody>
      </p:sp>
      <p:sp>
        <p:nvSpPr>
          <p:cNvPr id="12"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2569485" y="5336082"/>
            <a:ext cx="19240982" cy="6402052"/>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1828800" rtl="0" eaLnBrk="1" fontAlgn="auto" latinLnBrk="0" hangingPunct="1">
              <a:lnSpc>
                <a:spcPts val="12000"/>
              </a:lnSpc>
              <a:spcBef>
                <a:spcPts val="0"/>
              </a:spcBef>
              <a:spcAft>
                <a:spcPts val="0"/>
              </a:spcAft>
              <a:defRPr lang="en-US" sz="108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2561387" y="2848163"/>
            <a:ext cx="1903442" cy="1903442"/>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24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4233761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fld id="{5E132729-0D82-44AB-A262-F78B1A6BFD3C}" type="datetime1">
              <a:rPr lang="en-US" smtClean="0"/>
              <a:t>5/6/21</a:t>
            </a:fld>
            <a:endParaRPr lang="en-US" dirty="0"/>
          </a:p>
        </p:txBody>
      </p:sp>
      <p:sp>
        <p:nvSpPr>
          <p:cNvPr id="7" name="Title 1"/>
          <p:cNvSpPr>
            <a:spLocks noGrp="1"/>
          </p:cNvSpPr>
          <p:nvPr>
            <p:ph type="title" hasCustomPrompt="1"/>
          </p:nvPr>
        </p:nvSpPr>
        <p:spPr bwMode="blackWhite">
          <a:xfrm>
            <a:off x="1260000" y="7653600"/>
            <a:ext cx="21873600" cy="4082400"/>
          </a:xfrm>
        </p:spPr>
        <p:txBody>
          <a:bodyPr anchor="t">
            <a:noAutofit/>
          </a:bodyPr>
          <a:lstStyle>
            <a:lvl1pPr>
              <a:defRPr sz="108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1260001" y="7360032"/>
            <a:ext cx="23117174"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48197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8129989" y="0"/>
            <a:ext cx="833902" cy="13716000"/>
          </a:xfrm>
          <a:prstGeom prst="rect">
            <a:avLst/>
          </a:prstGeom>
        </p:spPr>
      </p:pic>
      <p:sp>
        <p:nvSpPr>
          <p:cNvPr id="18" name="Date Placeholder 1"/>
          <p:cNvSpPr>
            <a:spLocks noGrp="1"/>
          </p:cNvSpPr>
          <p:nvPr>
            <p:ph type="dt" sz="half" idx="31"/>
          </p:nvPr>
        </p:nvSpPr>
        <p:spPr>
          <a:xfrm>
            <a:off x="19354801" y="12810072"/>
            <a:ext cx="2964102" cy="307776"/>
          </a:xfrm>
          <a:prstGeom prst="rect">
            <a:avLst/>
          </a:prstGeom>
        </p:spPr>
        <p:txBody>
          <a:bodyPr/>
          <a:lstStyle>
            <a:lvl1pPr>
              <a:defRPr>
                <a:solidFill>
                  <a:schemeClr val="bg1"/>
                </a:solidFill>
                <a:latin typeface="+mn-lt"/>
                <a:sym typeface="Trebuchet MS" panose="020B0603020202020204" pitchFamily="34" charset="0"/>
              </a:defRPr>
            </a:lvl1pPr>
          </a:lstStyle>
          <a:p>
            <a:fld id="{5195FBB3-9B6D-4C99-AE98-79005C964230}" type="datetime1">
              <a:rPr lang="en-US" smtClean="0"/>
              <a:t>5/6/21</a:t>
            </a:fld>
            <a:endParaRPr lang="en-US" dirty="0"/>
          </a:p>
        </p:txBody>
      </p:sp>
      <p:sp>
        <p:nvSpPr>
          <p:cNvPr id="20" name="TextBox 19"/>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mn-lt"/>
                <a:sym typeface="Trebuchet MS" panose="020B0603020202020204" pitchFamily="34" charset="0"/>
              </a:rPr>
              <a:t>Copyright © 2020 by Boston Consulting Group. All rights reserved.</a:t>
            </a:r>
            <a:endParaRPr lang="en-US" sz="14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8159016" cy="13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24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1260001" y="5362206"/>
            <a:ext cx="6255762" cy="2991588"/>
          </a:xfrm>
          <a:prstGeom prst="rect">
            <a:avLst/>
          </a:prstGeom>
        </p:spPr>
        <p:txBody>
          <a:bodyPr anchor="ctr">
            <a:noAutofit/>
          </a:bodyPr>
          <a:lstStyle>
            <a:lvl1pPr>
              <a:defRPr sz="48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843154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14331213" y="0"/>
            <a:ext cx="833902" cy="13716000"/>
          </a:xfrm>
          <a:prstGeom prst="rect">
            <a:avLst/>
          </a:prstGeom>
        </p:spPr>
      </p:pic>
      <p:sp>
        <p:nvSpPr>
          <p:cNvPr id="14" name="Rectangle 13"/>
          <p:cNvSpPr/>
          <p:nvPr userDrawn="1"/>
        </p:nvSpPr>
        <p:spPr bwMode="white">
          <a:xfrm>
            <a:off x="0" y="0"/>
            <a:ext cx="14343912" cy="13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24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19354801" y="12810072"/>
            <a:ext cx="2964102" cy="307776"/>
          </a:xfrm>
          <a:prstGeom prst="rect">
            <a:avLst/>
          </a:prstGeom>
        </p:spPr>
        <p:txBody>
          <a:bodyPr/>
          <a:lstStyle>
            <a:lvl1pPr>
              <a:defRPr>
                <a:solidFill>
                  <a:schemeClr val="bg1"/>
                </a:solidFill>
                <a:latin typeface="+mn-lt"/>
                <a:sym typeface="Trebuchet MS" panose="020B0603020202020204" pitchFamily="34" charset="0"/>
              </a:defRPr>
            </a:lvl1pPr>
          </a:lstStyle>
          <a:p>
            <a:fld id="{7FCD86FF-168D-4C6F-B500-8FBEC4E14B38}" type="datetime1">
              <a:rPr lang="en-US" smtClean="0"/>
              <a:t>5/6/21</a:t>
            </a:fld>
            <a:endParaRPr lang="en-US" dirty="0"/>
          </a:p>
        </p:txBody>
      </p:sp>
      <p:sp>
        <p:nvSpPr>
          <p:cNvPr id="19" name="TextBox 18"/>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mn-lt"/>
                <a:sym typeface="Trebuchet MS" panose="020B0603020202020204" pitchFamily="34" charset="0"/>
              </a:rPr>
              <a:t>Copyright © 2020 by Boston Consulting Group. All rights reserved.</a:t>
            </a:r>
            <a:endParaRPr lang="en-US" sz="14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1260001" y="1245601"/>
            <a:ext cx="12553058" cy="664798"/>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655684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18058493" y="0"/>
            <a:ext cx="833902" cy="13716000"/>
          </a:xfrm>
          <a:prstGeom prst="rect">
            <a:avLst/>
          </a:prstGeom>
        </p:spPr>
      </p:pic>
      <p:sp>
        <p:nvSpPr>
          <p:cNvPr id="10" name="Rectangle 9"/>
          <p:cNvSpPr/>
          <p:nvPr userDrawn="1"/>
        </p:nvSpPr>
        <p:spPr bwMode="white">
          <a:xfrm>
            <a:off x="0" y="0"/>
            <a:ext cx="18068544" cy="13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24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19354801" y="12810072"/>
            <a:ext cx="2964102" cy="307776"/>
          </a:xfrm>
        </p:spPr>
        <p:txBody>
          <a:bodyPr/>
          <a:lstStyle>
            <a:lvl1pPr>
              <a:defRPr>
                <a:solidFill>
                  <a:schemeClr val="bg1"/>
                </a:solidFill>
                <a:latin typeface="+mn-lt"/>
                <a:sym typeface="Trebuchet MS" panose="020B0603020202020204" pitchFamily="34" charset="0"/>
              </a:defRPr>
            </a:lvl1pPr>
          </a:lstStyle>
          <a:p>
            <a:fld id="{86ECC1A9-4E94-467F-B1E4-44EE3C8961E1}" type="datetime1">
              <a:rPr lang="en-US" smtClean="0"/>
              <a:t>5/6/21</a:t>
            </a:fld>
            <a:endParaRPr lang="en-US" dirty="0"/>
          </a:p>
        </p:txBody>
      </p:sp>
      <p:sp>
        <p:nvSpPr>
          <p:cNvPr id="22"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mn-lt"/>
                <a:sym typeface="Trebuchet MS" panose="020B0603020202020204" pitchFamily="34" charset="0"/>
              </a:rPr>
              <a:t>Copyright © 2020 by Boston Consulting Group. All rights reserved.</a:t>
            </a:r>
            <a:endParaRPr lang="en-US" sz="1400" dirty="0">
              <a:solidFill>
                <a:schemeClr val="bg1"/>
              </a:solidFill>
              <a:latin typeface="+mn-lt"/>
              <a:sym typeface="Trebuchet MS" panose="020B0603020202020204" pitchFamily="34" charset="0"/>
            </a:endParaRPr>
          </a:p>
        </p:txBody>
      </p:sp>
      <p:sp>
        <p:nvSpPr>
          <p:cNvPr id="15" name="TextBox 14"/>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1260000" y="1245601"/>
            <a:ext cx="16203168" cy="664798"/>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9997402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4032" y="3177"/>
          <a:ext cx="4032" cy="3176"/>
        </p:xfrm>
        <a:graphic>
          <a:graphicData uri="http://schemas.openxmlformats.org/presentationml/2006/ole">
            <mc:AlternateContent xmlns:mc="http://schemas.openxmlformats.org/markup-compatibility/2006">
              <mc:Choice xmlns:v="urn:schemas-microsoft-com:vml" Requires="v">
                <p:oleObj spid="_x0000_s925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4032" y="3177"/>
                        <a:ext cx="4032" cy="3176"/>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5600"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pic>
        <p:nvPicPr>
          <p:cNvPr id="64"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14254530" y="0"/>
            <a:ext cx="1060397" cy="13716000"/>
          </a:xfrm>
          <a:prstGeom prst="rect">
            <a:avLst/>
          </a:prstGeom>
        </p:spPr>
      </p:pic>
      <p:sp>
        <p:nvSpPr>
          <p:cNvPr id="65" name="PanelGray"/>
          <p:cNvSpPr/>
          <p:nvPr userDrawn="1"/>
        </p:nvSpPr>
        <p:spPr bwMode="white">
          <a:xfrm>
            <a:off x="3" y="0"/>
            <a:ext cx="14284469" cy="1371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17" name="Page"/>
          <p:cNvSpPr txBox="1"/>
          <p:nvPr userDrawn="1"/>
        </p:nvSpPr>
        <p:spPr>
          <a:xfrm>
            <a:off x="21966653" y="12810073"/>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16" name="Date Placeholder 2"/>
          <p:cNvSpPr>
            <a:spLocks noGrp="1"/>
          </p:cNvSpPr>
          <p:nvPr>
            <p:ph type="dt" sz="half" idx="10"/>
          </p:nvPr>
        </p:nvSpPr>
        <p:spPr>
          <a:xfrm>
            <a:off x="20037833" y="12810073"/>
            <a:ext cx="1928824" cy="307777"/>
          </a:xfrm>
          <a:prstGeom prst="rect">
            <a:avLst/>
          </a:prstGeom>
        </p:spPr>
        <p:txBody>
          <a:bodyPr/>
          <a:lstStyle>
            <a:lvl1pPr>
              <a:defRPr>
                <a:solidFill>
                  <a:schemeClr val="bg1"/>
                </a:solidFill>
                <a:latin typeface="+mn-lt"/>
                <a:ea typeface="+mn-ea"/>
                <a:cs typeface="+mn-cs"/>
                <a:sym typeface="+mn-lt"/>
              </a:defRPr>
            </a:lvl1pPr>
          </a:lstStyle>
          <a:p>
            <a:pPr defTabSz="2116120" hangingPunct="1"/>
            <a:fld id="{AA0A4A29-85C4-49CC-AE74-E8CFF27C7F80}" type="datetime1">
              <a:rPr lang="en-US" b="0" kern="1200" cap="none" smtClean="0">
                <a:solidFill>
                  <a:prstClr val="white"/>
                </a:solidFill>
                <a:effectLst/>
              </a:rPr>
              <a:t>5/6/21</a:t>
            </a:fld>
            <a:endParaRPr lang="en-US" b="0" kern="1200" cap="none" dirty="0">
              <a:solidFill>
                <a:prstClr val="white"/>
              </a:solidFill>
              <a:effectLst/>
            </a:endParaRPr>
          </a:p>
        </p:txBody>
      </p:sp>
      <p:sp>
        <p:nvSpPr>
          <p:cNvPr id="20"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aramond"/>
                <a:ea typeface="+mn-ea"/>
                <a:cs typeface="+mn-cs"/>
                <a:sym typeface="+mn-lt"/>
              </a:rPr>
              <a:t>Copyright © 2020 by Boston Consulting Group. All rights reserved.</a:t>
            </a:r>
          </a:p>
        </p:txBody>
      </p:sp>
      <p:sp>
        <p:nvSpPr>
          <p:cNvPr id="23" name="Title 3"/>
          <p:cNvSpPr>
            <a:spLocks noGrp="1"/>
          </p:cNvSpPr>
          <p:nvPr>
            <p:ph type="title" hasCustomPrompt="1"/>
          </p:nvPr>
        </p:nvSpPr>
        <p:spPr>
          <a:xfrm>
            <a:off x="1260001" y="1245600"/>
            <a:ext cx="12458563" cy="777600"/>
          </a:xfrm>
          <a:prstGeom prst="rect">
            <a:avLst/>
          </a:prstGeom>
        </p:spPr>
        <p:txBody>
          <a:bodyPr/>
          <a:lstStyle>
            <a:lvl1pPr>
              <a:defRPr sz="56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19081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342137" y="0"/>
            <a:ext cx="833902" cy="13716000"/>
          </a:xfrm>
          <a:prstGeom prst="rect">
            <a:avLst/>
          </a:prstGeom>
        </p:spPr>
      </p:pic>
      <p:sp>
        <p:nvSpPr>
          <p:cNvPr id="24" name="Title 4"/>
          <p:cNvSpPr>
            <a:spLocks noGrp="1"/>
          </p:cNvSpPr>
          <p:nvPr>
            <p:ph type="title" hasCustomPrompt="1"/>
          </p:nvPr>
        </p:nvSpPr>
        <p:spPr>
          <a:xfrm>
            <a:off x="1260001" y="5362206"/>
            <a:ext cx="6255762" cy="2991588"/>
          </a:xfrm>
          <a:prstGeom prst="rect">
            <a:avLst/>
          </a:prstGeom>
        </p:spPr>
        <p:txBody>
          <a:bodyPr anchor="ctr">
            <a:noAutofit/>
          </a:bodyPr>
          <a:lstStyle>
            <a:lvl1pPr>
              <a:defRPr sz="48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8161527" y="-2617"/>
            <a:ext cx="16222474" cy="137186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24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19354801" y="12810072"/>
            <a:ext cx="2964102" cy="30777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fld id="{8FBF227C-62A2-4956-87F0-348F324BAA45}" type="datetime1">
              <a:rPr lang="en-US" smtClean="0"/>
              <a:t>5/6/21</a:t>
            </a:fld>
            <a:endParaRPr lang="en-US" dirty="0"/>
          </a:p>
        </p:txBody>
      </p:sp>
      <p:sp>
        <p:nvSpPr>
          <p:cNvPr id="29"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lumMod val="50000"/>
                  </a:schemeClr>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275751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11379165" y="0"/>
            <a:ext cx="833902" cy="13716000"/>
          </a:xfrm>
          <a:prstGeom prst="rect">
            <a:avLst/>
          </a:prstGeom>
        </p:spPr>
      </p:pic>
      <p:sp>
        <p:nvSpPr>
          <p:cNvPr id="11" name="Rectangle 10"/>
          <p:cNvSpPr/>
          <p:nvPr userDrawn="1"/>
        </p:nvSpPr>
        <p:spPr>
          <a:xfrm>
            <a:off x="12192000" y="0"/>
            <a:ext cx="12192000" cy="13716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2000"/>
              </a:spcAft>
            </a:pPr>
            <a:endParaRPr lang="en-US" sz="24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12184043" y="0"/>
            <a:ext cx="12199954" cy="13716000"/>
          </a:xfrm>
          <a:prstGeom prst="rect">
            <a:avLst/>
          </a:prstGeom>
          <a:noFill/>
        </p:spPr>
        <p:txBody>
          <a:bodyPr lIns="914400" tIns="914400" rIns="914400" bIns="914400"/>
          <a:lstStyle>
            <a:lvl1pPr algn="ctr">
              <a:defRPr sz="36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1260000" y="3571200"/>
            <a:ext cx="8776800" cy="6573600"/>
          </a:xfrm>
          <a:prstGeom prst="rect">
            <a:avLst/>
          </a:prstGeom>
          <a:noFill/>
        </p:spPr>
        <p:txBody>
          <a:bodyPr wrap="square" lIns="0" tIns="0" rIns="320040" bIns="0" anchor="ctr">
            <a:noAutofit/>
          </a:bodyPr>
          <a:lstStyle>
            <a:lvl1pPr>
              <a:defRPr sz="88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lumMod val="50000"/>
                  </a:schemeClr>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16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19354801" y="12810072"/>
            <a:ext cx="2964102" cy="30777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fld id="{1905B56C-5E19-4AD9-9E6F-4C1A1A684D11}" type="datetime1">
              <a:rPr lang="en-US" smtClean="0"/>
              <a:t>5/6/21</a:t>
            </a:fld>
            <a:endParaRPr lang="en-US" dirty="0"/>
          </a:p>
        </p:txBody>
      </p:sp>
      <p:sp>
        <p:nvSpPr>
          <p:cNvPr id="17"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77050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14819699" y="0"/>
            <a:ext cx="833902" cy="13716000"/>
          </a:xfrm>
          <a:prstGeom prst="rect">
            <a:avLst/>
          </a:prstGeom>
        </p:spPr>
      </p:pic>
      <p:sp>
        <p:nvSpPr>
          <p:cNvPr id="11" name="Rectangle 10"/>
          <p:cNvSpPr/>
          <p:nvPr userDrawn="1"/>
        </p:nvSpPr>
        <p:spPr bwMode="gray">
          <a:xfrm>
            <a:off x="15639087" y="0"/>
            <a:ext cx="8744914" cy="13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24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15640051" y="0"/>
            <a:ext cx="8743950" cy="13716000"/>
          </a:xfrm>
          <a:prstGeom prst="rect">
            <a:avLst/>
          </a:prstGeom>
          <a:noFill/>
        </p:spPr>
        <p:txBody>
          <a:bodyPr lIns="182880" tIns="914400" rIns="182880" bIns="914400"/>
          <a:lstStyle>
            <a:lvl1pPr algn="ctr">
              <a:defRPr sz="32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19354801" y="12810072"/>
            <a:ext cx="2964102" cy="30777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fld id="{650ABA2A-7135-441F-98EF-02A43E518E5B}" type="datetime1">
              <a:rPr lang="en-US" smtClean="0"/>
              <a:t>5/6/21</a:t>
            </a:fld>
            <a:endParaRPr lang="en-US" dirty="0"/>
          </a:p>
        </p:txBody>
      </p:sp>
      <p:sp>
        <p:nvSpPr>
          <p:cNvPr id="9"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1261872" y="3571200"/>
            <a:ext cx="12495104" cy="6573600"/>
          </a:xfrm>
          <a:prstGeom prst="rect">
            <a:avLst/>
          </a:prstGeom>
        </p:spPr>
        <p:txBody>
          <a:bodyPr anchor="ctr">
            <a:noAutofit/>
          </a:bodyPr>
          <a:lstStyle>
            <a:lvl1pPr>
              <a:defRPr sz="88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lumMod val="50000"/>
                  </a:schemeClr>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16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456012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42088688"/>
              </p:ext>
            </p:extLst>
          </p:nvPr>
        </p:nvGraphicFramePr>
        <p:xfrm>
          <a:off x="3177" y="3177"/>
          <a:ext cx="3174" cy="3174"/>
        </p:xfrm>
        <a:graphic>
          <a:graphicData uri="http://schemas.openxmlformats.org/presentationml/2006/ole">
            <mc:AlternateContent xmlns:mc="http://schemas.openxmlformats.org/markup-compatibility/2006">
              <mc:Choice xmlns:v="urn:schemas-microsoft-com:vml" Requires="v">
                <p:oleObj spid="_x0000_s76836"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3177" y="3177"/>
                        <a:ext cx="3174" cy="3174"/>
                      </a:xfrm>
                      <a:prstGeom prst="rect">
                        <a:avLst/>
                      </a:prstGeom>
                    </p:spPr>
                  </p:pic>
                </p:oleObj>
              </mc:Fallback>
            </mc:AlternateContent>
          </a:graphicData>
        </a:graphic>
      </p:graphicFrame>
      <p:sp>
        <p:nvSpPr>
          <p:cNvPr id="10" name="Freeform 14"/>
          <p:cNvSpPr/>
          <p:nvPr userDrawn="1"/>
        </p:nvSpPr>
        <p:spPr bwMode="ltGray">
          <a:xfrm>
            <a:off x="3048" y="2620"/>
            <a:ext cx="8176624" cy="13716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2000"/>
              </a:spcAft>
            </a:pPr>
            <a:endParaRPr lang="en-US" sz="24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19354801" y="12810072"/>
            <a:ext cx="2964102" cy="307776"/>
          </a:xfrm>
          <a:prstGeom prst="rect">
            <a:avLst/>
          </a:prstGeom>
        </p:spPr>
        <p:txBody>
          <a:bodyPr/>
          <a:lstStyle>
            <a:lvl1pPr>
              <a:defRPr>
                <a:solidFill>
                  <a:schemeClr val="bg1"/>
                </a:solidFill>
                <a:latin typeface="+mn-lt"/>
                <a:sym typeface="Trebuchet MS" panose="020B0603020202020204" pitchFamily="34" charset="0"/>
              </a:defRPr>
            </a:lvl1pPr>
          </a:lstStyle>
          <a:p>
            <a:fld id="{3F11217A-96D8-4C34-8E08-BC2C96B18844}" type="datetime1">
              <a:rPr lang="en-US" smtClean="0"/>
              <a:t>5/6/21</a:t>
            </a:fld>
            <a:endParaRPr lang="en-US" dirty="0"/>
          </a:p>
        </p:txBody>
      </p:sp>
      <p:sp>
        <p:nvSpPr>
          <p:cNvPr id="11"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mn-lt"/>
                <a:sym typeface="Trebuchet MS" panose="020B0603020202020204" pitchFamily="34" charset="0"/>
              </a:rPr>
              <a:t>Copyright © 2020 by Boston Consulting Group. All rights reserved.</a:t>
            </a:r>
            <a:endParaRPr lang="en-US" sz="1400" dirty="0">
              <a:solidFill>
                <a:schemeClr val="bg1"/>
              </a:solidFill>
              <a:latin typeface="+mn-lt"/>
              <a:sym typeface="Trebuchet MS" panose="020B0603020202020204" pitchFamily="34" charset="0"/>
            </a:endParaRPr>
          </a:p>
        </p:txBody>
      </p:sp>
      <p:sp>
        <p:nvSpPr>
          <p:cNvPr id="18" name="TextBox 17"/>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1260000" y="5528407"/>
            <a:ext cx="4957276" cy="2628622"/>
          </a:xfrm>
          <a:prstGeom prst="rect">
            <a:avLst/>
          </a:prstGeom>
        </p:spPr>
        <p:txBody>
          <a:bodyPr anchor="ctr">
            <a:noAutofit/>
          </a:bodyPr>
          <a:lstStyle>
            <a:lvl1pPr>
              <a:defRPr sz="48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6264884" y="7180798"/>
            <a:ext cx="2730500" cy="6765924"/>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60130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3048" y="2620"/>
            <a:ext cx="8176624" cy="13716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2000"/>
              </a:spcAft>
            </a:pPr>
            <a:endParaRPr lang="en-US" sz="24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1260000" y="5528407"/>
            <a:ext cx="4957276" cy="2628622"/>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19354801" y="12810072"/>
            <a:ext cx="2964102" cy="307776"/>
          </a:xfrm>
          <a:prstGeom prst="rect">
            <a:avLst/>
          </a:prstGeom>
        </p:spPr>
        <p:txBody>
          <a:bodyPr vert="horz" wrap="square" lIns="0" tIns="0" rIns="0" bIns="0" rtlCol="0" anchor="b">
            <a:spAutoFit/>
          </a:bodyPr>
          <a:lstStyle>
            <a:lvl1pPr algn="r">
              <a:defRPr sz="2000">
                <a:solidFill>
                  <a:schemeClr val="bg1">
                    <a:lumMod val="50000"/>
                  </a:schemeClr>
                </a:solidFill>
                <a:latin typeface="+mn-lt"/>
                <a:sym typeface="Trebuchet MS" panose="020B0603020202020204" pitchFamily="34" charset="0"/>
              </a:defRPr>
            </a:lvl1pPr>
          </a:lstStyle>
          <a:p>
            <a:fld id="{1F5A0DAB-4069-42EA-8617-24B59D17C64C}" type="datetime1">
              <a:rPr lang="en-US" smtClean="0"/>
              <a:t>5/6/21</a:t>
            </a:fld>
            <a:endParaRPr lang="en-US" dirty="0"/>
          </a:p>
        </p:txBody>
      </p:sp>
      <p:sp>
        <p:nvSpPr>
          <p:cNvPr id="16" name="TextBox 15"/>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lumMod val="50000"/>
                  </a:schemeClr>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4349284" y="6805657"/>
            <a:ext cx="5389332" cy="6923490"/>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782677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16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19354801" y="12810072"/>
            <a:ext cx="2964102" cy="307776"/>
          </a:xfrm>
          <a:prstGeom prst="rect">
            <a:avLst/>
          </a:prstGeom>
        </p:spPr>
        <p:txBody>
          <a:bodyPr/>
          <a:lstStyle>
            <a:lvl1pPr>
              <a:defRPr>
                <a:solidFill>
                  <a:schemeClr val="bg1"/>
                </a:solidFill>
                <a:latin typeface="+mn-lt"/>
                <a:sym typeface="Trebuchet MS" panose="020B0603020202020204" pitchFamily="34" charset="0"/>
              </a:defRPr>
            </a:lvl1pPr>
          </a:lstStyle>
          <a:p>
            <a:fld id="{B106337F-549B-41A7-8F52-FD2194ADD914}" type="datetime1">
              <a:rPr lang="en-US" smtClean="0"/>
              <a:t>5/6/21</a:t>
            </a:fld>
            <a:endParaRPr lang="en-US" dirty="0"/>
          </a:p>
        </p:txBody>
      </p:sp>
      <p:sp>
        <p:nvSpPr>
          <p:cNvPr id="17"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mn-lt"/>
                <a:sym typeface="Trebuchet MS" panose="020B0603020202020204" pitchFamily="34" charset="0"/>
              </a:rPr>
              <a:t>Copyright © 2020 by Boston Consulting Group. All rights reserved.</a:t>
            </a:r>
            <a:endParaRPr lang="en-US" sz="1400" dirty="0">
              <a:solidFill>
                <a:schemeClr val="bg1"/>
              </a:solidFill>
              <a:latin typeface="+mn-lt"/>
              <a:sym typeface="Trebuchet MS" panose="020B0603020202020204" pitchFamily="34" charset="0"/>
            </a:endParaRPr>
          </a:p>
        </p:txBody>
      </p:sp>
      <p:sp>
        <p:nvSpPr>
          <p:cNvPr id="19" name="Pentagon 3"/>
          <p:cNvSpPr/>
          <p:nvPr userDrawn="1"/>
        </p:nvSpPr>
        <p:spPr bwMode="white">
          <a:xfrm>
            <a:off x="2" y="0"/>
            <a:ext cx="10853840" cy="13716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2000"/>
              </a:spcAft>
            </a:pPr>
            <a:endParaRPr lang="en-US" sz="24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1260001" y="3571200"/>
            <a:ext cx="8124470" cy="6573600"/>
          </a:xfrm>
          <a:prstGeom prst="rect">
            <a:avLst/>
          </a:prstGeom>
        </p:spPr>
        <p:txBody>
          <a:bodyPr anchor="ctr">
            <a:noAutofit/>
          </a:bodyPr>
          <a:lstStyle>
            <a:lvl1pPr>
              <a:defRPr sz="88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63051" y="6788785"/>
            <a:ext cx="2597150" cy="7143750"/>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63454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2" y="0"/>
            <a:ext cx="10853840" cy="13716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2000"/>
              </a:spcAft>
            </a:pPr>
            <a:endParaRPr lang="en-US" sz="24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1260001" y="3571200"/>
            <a:ext cx="8124470" cy="6573600"/>
          </a:xfrm>
          <a:prstGeom prst="rect">
            <a:avLst/>
          </a:prstGeom>
        </p:spPr>
        <p:txBody>
          <a:bodyPr anchor="ctr">
            <a:noAutofit/>
          </a:bodyPr>
          <a:lstStyle>
            <a:lvl1pPr>
              <a:defRPr sz="88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19354801" y="12810072"/>
            <a:ext cx="2964102" cy="307776"/>
          </a:xfrm>
          <a:prstGeom prst="rect">
            <a:avLst/>
          </a:prstGeom>
        </p:spPr>
        <p:txBody>
          <a:bodyPr vert="horz" wrap="square" lIns="0" tIns="0" rIns="0" bIns="0" rtlCol="0" anchor="b">
            <a:spAutoFit/>
          </a:bodyPr>
          <a:lstStyle>
            <a:lvl1pPr algn="r">
              <a:defRPr sz="2000">
                <a:solidFill>
                  <a:schemeClr val="bg1">
                    <a:lumMod val="50000"/>
                  </a:schemeClr>
                </a:solidFill>
                <a:latin typeface="+mn-lt"/>
                <a:sym typeface="Trebuchet MS" panose="020B0603020202020204" pitchFamily="34" charset="0"/>
              </a:defRPr>
            </a:lvl1pPr>
          </a:lstStyle>
          <a:p>
            <a:fld id="{06089E62-7C27-44F4-9F15-A981EDACDDFE}" type="datetime1">
              <a:rPr lang="en-US" smtClean="0"/>
              <a:t>5/6/21</a:t>
            </a:fld>
            <a:endParaRPr lang="en-US" dirty="0"/>
          </a:p>
        </p:txBody>
      </p:sp>
      <p:sp>
        <p:nvSpPr>
          <p:cNvPr id="14" name="TextBox 13"/>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lumMod val="50000"/>
                  </a:schemeClr>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7156118" y="6832600"/>
            <a:ext cx="5389332" cy="68834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4005565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12727092" cy="13716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2000"/>
              </a:spcAft>
            </a:pPr>
            <a:endParaRPr lang="en-US" sz="24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1260000" y="1245601"/>
            <a:ext cx="9495644" cy="664798"/>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19354801" y="12810072"/>
            <a:ext cx="2964102" cy="307776"/>
          </a:xfrm>
        </p:spPr>
        <p:txBody>
          <a:bodyPr/>
          <a:lstStyle>
            <a:lvl1pPr>
              <a:defRPr>
                <a:solidFill>
                  <a:schemeClr val="bg1"/>
                </a:solidFill>
                <a:latin typeface="+mn-lt"/>
                <a:sym typeface="Trebuchet MS" panose="020B0603020202020204" pitchFamily="34" charset="0"/>
              </a:defRPr>
            </a:lvl1pPr>
          </a:lstStyle>
          <a:p>
            <a:fld id="{2707DA7C-389C-497C-8E72-134AF5010516}" type="datetime1">
              <a:rPr lang="en-US" smtClean="0"/>
              <a:t>5/6/21</a:t>
            </a:fld>
            <a:endParaRPr lang="en-US" dirty="0"/>
          </a:p>
        </p:txBody>
      </p:sp>
      <p:sp>
        <p:nvSpPr>
          <p:cNvPr id="18"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mn-lt"/>
                <a:sym typeface="Trebuchet MS" panose="020B0603020202020204" pitchFamily="34" charset="0"/>
              </a:rPr>
              <a:t>Copyright © 2020 by Boston Consulting Group. All rights reserved.</a:t>
            </a:r>
            <a:endParaRPr lang="en-US" sz="1400" dirty="0">
              <a:solidFill>
                <a:schemeClr val="bg1"/>
              </a:solidFill>
              <a:latin typeface="+mn-lt"/>
              <a:sym typeface="Trebuchet MS" panose="020B0603020202020204" pitchFamily="34" charset="0"/>
            </a:endParaRPr>
          </a:p>
        </p:txBody>
      </p:sp>
      <p:sp>
        <p:nvSpPr>
          <p:cNvPr id="16" name="TextBox 15"/>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95612" y="7179212"/>
            <a:ext cx="2730500" cy="6765924"/>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42447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12727092" cy="13716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2000"/>
              </a:spcAft>
            </a:pPr>
            <a:endParaRPr lang="en-US" sz="24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1260000" y="1245601"/>
            <a:ext cx="9495644" cy="664798"/>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19354801" y="12810072"/>
            <a:ext cx="2964102" cy="307776"/>
          </a:xfrm>
          <a:prstGeom prst="rect">
            <a:avLst/>
          </a:prstGeom>
        </p:spPr>
        <p:txBody>
          <a:bodyPr vert="horz" wrap="square" lIns="0" tIns="0" rIns="0" bIns="0" rtlCol="0" anchor="b">
            <a:spAutoFit/>
          </a:bodyPr>
          <a:lstStyle>
            <a:lvl1pPr algn="r">
              <a:defRPr sz="2000">
                <a:solidFill>
                  <a:schemeClr val="bg1">
                    <a:lumMod val="50000"/>
                  </a:schemeClr>
                </a:solidFill>
                <a:latin typeface="+mn-lt"/>
                <a:sym typeface="Trebuchet MS" panose="020B0603020202020204" pitchFamily="34" charset="0"/>
              </a:defRPr>
            </a:lvl1pPr>
          </a:lstStyle>
          <a:p>
            <a:fld id="{9514242D-1D4B-405D-9259-54C177D3A051}" type="datetime1">
              <a:rPr lang="en-US" smtClean="0"/>
              <a:t>5/6/21</a:t>
            </a:fld>
            <a:endParaRPr lang="en-US" dirty="0"/>
          </a:p>
        </p:txBody>
      </p:sp>
      <p:sp>
        <p:nvSpPr>
          <p:cNvPr id="14" name="TextBox 13"/>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lumMod val="50000"/>
                  </a:schemeClr>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8920344" y="6815607"/>
            <a:ext cx="5389332" cy="6913102"/>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499465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1" y="0"/>
            <a:ext cx="16892478" cy="13716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2000"/>
              </a:spcAft>
            </a:pPr>
            <a:endParaRPr lang="en-US" sz="24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19354801" y="12810072"/>
            <a:ext cx="2964102" cy="307776"/>
          </a:xfrm>
        </p:spPr>
        <p:txBody>
          <a:bodyPr/>
          <a:lstStyle>
            <a:lvl1pPr>
              <a:defRPr>
                <a:solidFill>
                  <a:schemeClr val="bg1"/>
                </a:solidFill>
                <a:latin typeface="+mn-lt"/>
                <a:sym typeface="Trebuchet MS" panose="020B0603020202020204" pitchFamily="34" charset="0"/>
              </a:defRPr>
            </a:lvl1pPr>
          </a:lstStyle>
          <a:p>
            <a:fld id="{055C8B04-3631-4401-8322-009526434FFA}" type="datetime1">
              <a:rPr lang="en-US" smtClean="0"/>
              <a:t>5/6/21</a:t>
            </a:fld>
            <a:endParaRPr lang="en-US" dirty="0"/>
          </a:p>
        </p:txBody>
      </p:sp>
      <p:sp>
        <p:nvSpPr>
          <p:cNvPr id="9"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mn-lt"/>
                <a:sym typeface="Trebuchet MS" panose="020B0603020202020204" pitchFamily="34" charset="0"/>
              </a:rPr>
              <a:t>Copyright © 2020 by Boston Consulting Group. All rights reserved.</a:t>
            </a:r>
            <a:endParaRPr lang="en-US" sz="1400" dirty="0">
              <a:solidFill>
                <a:schemeClr val="bg1"/>
              </a:solidFill>
              <a:latin typeface="+mn-lt"/>
              <a:sym typeface="Trebuchet MS" panose="020B0603020202020204" pitchFamily="34" charset="0"/>
            </a:endParaRPr>
          </a:p>
        </p:txBody>
      </p:sp>
      <p:sp>
        <p:nvSpPr>
          <p:cNvPr id="15" name="TextBox 14"/>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1260000" y="1245601"/>
            <a:ext cx="12508992" cy="664798"/>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980678" y="7179212"/>
            <a:ext cx="2730500" cy="6765924"/>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34044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4032" y="3177"/>
          <a:ext cx="4032" cy="3176"/>
        </p:xfrm>
        <a:graphic>
          <a:graphicData uri="http://schemas.openxmlformats.org/presentationml/2006/ole">
            <mc:AlternateContent xmlns:mc="http://schemas.openxmlformats.org/markup-compatibility/2006">
              <mc:Choice xmlns:v="urn:schemas-microsoft-com:vml" Requires="v">
                <p:oleObj spid="_x0000_s1027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4032" y="3177"/>
                        <a:ext cx="4032" cy="3176"/>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5600"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pic>
        <p:nvPicPr>
          <p:cNvPr id="61"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221668" y="0"/>
            <a:ext cx="1058749" cy="13716000"/>
          </a:xfrm>
          <a:prstGeom prst="rect">
            <a:avLst/>
          </a:prstGeom>
        </p:spPr>
      </p:pic>
      <p:sp>
        <p:nvSpPr>
          <p:cNvPr id="63" name="PanelGray"/>
          <p:cNvSpPr/>
          <p:nvPr userDrawn="1"/>
        </p:nvSpPr>
        <p:spPr bwMode="white">
          <a:xfrm>
            <a:off x="8283191" y="-2619"/>
            <a:ext cx="16100813" cy="13718619"/>
          </a:xfrm>
          <a:custGeom>
            <a:avLst/>
            <a:gdLst>
              <a:gd name="connsiteX0" fmla="*/ 0 w 6553548"/>
              <a:gd name="connsiteY0" fmla="*/ 0 h 6859309"/>
              <a:gd name="connsiteX1" fmla="*/ 6553548 w 6553548"/>
              <a:gd name="connsiteY1" fmla="*/ 0 h 6859309"/>
              <a:gd name="connsiteX2" fmla="*/ 6553548 w 6553548"/>
              <a:gd name="connsiteY2" fmla="*/ 6859309 h 6859309"/>
              <a:gd name="connsiteX3" fmla="*/ 0 w 6553548"/>
              <a:gd name="connsiteY3" fmla="*/ 6859309 h 6859309"/>
            </a:gdLst>
            <a:ahLst/>
            <a:cxnLst>
              <a:cxn ang="0">
                <a:pos x="connsiteX0" y="connsiteY0"/>
              </a:cxn>
              <a:cxn ang="0">
                <a:pos x="connsiteX1" y="connsiteY1"/>
              </a:cxn>
              <a:cxn ang="0">
                <a:pos x="connsiteX2" y="connsiteY2"/>
              </a:cxn>
              <a:cxn ang="0">
                <a:pos x="connsiteX3" y="connsiteY3"/>
              </a:cxn>
            </a:cxnLst>
            <a:rect l="l" t="t" r="r" b="b"/>
            <a:pathLst>
              <a:path w="6553548" h="6859309">
                <a:moveTo>
                  <a:pt x="0" y="0"/>
                </a:moveTo>
                <a:lnTo>
                  <a:pt x="6553548" y="0"/>
                </a:lnTo>
                <a:lnTo>
                  <a:pt x="6553548" y="6859309"/>
                </a:lnTo>
                <a:lnTo>
                  <a:pt x="0" y="6859309"/>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15" name="Page"/>
          <p:cNvSpPr txBox="1"/>
          <p:nvPr userDrawn="1"/>
        </p:nvSpPr>
        <p:spPr>
          <a:xfrm>
            <a:off x="21966653" y="12810073"/>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lumMod val="50000"/>
                  </a:prstClr>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dirty="0">
              <a:ln>
                <a:noFill/>
              </a:ln>
              <a:solidFill>
                <a:prstClr val="white">
                  <a:lumMod val="50000"/>
                </a:prstClr>
              </a:solidFill>
              <a:effectLst/>
              <a:uLnTx/>
              <a:uFillTx/>
              <a:latin typeface="Garamond"/>
              <a:ea typeface="+mn-ea"/>
              <a:cs typeface="+mn-cs"/>
              <a:sym typeface="+mn-lt"/>
            </a:endParaRPr>
          </a:p>
        </p:txBody>
      </p:sp>
      <p:sp>
        <p:nvSpPr>
          <p:cNvPr id="12" name="Date Placeholder 1"/>
          <p:cNvSpPr>
            <a:spLocks noGrp="1"/>
          </p:cNvSpPr>
          <p:nvPr>
            <p:ph type="dt" sz="half" idx="29"/>
          </p:nvPr>
        </p:nvSpPr>
        <p:spPr>
          <a:xfrm>
            <a:off x="20037833" y="12810073"/>
            <a:ext cx="1928824" cy="307777"/>
          </a:xfrm>
          <a:prstGeom prst="rect">
            <a:avLst/>
          </a:prstGeom>
        </p:spPr>
        <p:txBody>
          <a:bodyPr/>
          <a:lstStyle>
            <a:lvl1pPr>
              <a:defRPr>
                <a:solidFill>
                  <a:schemeClr val="bg1">
                    <a:lumMod val="50000"/>
                  </a:schemeClr>
                </a:solidFill>
                <a:latin typeface="+mn-lt"/>
                <a:ea typeface="+mn-ea"/>
                <a:cs typeface="+mn-cs"/>
                <a:sym typeface="+mn-lt"/>
              </a:defRPr>
            </a:lvl1pPr>
          </a:lstStyle>
          <a:p>
            <a:pPr defTabSz="2116120" hangingPunct="1"/>
            <a:fld id="{38695270-A900-43B1-976D-920F28CA2511}" type="datetime1">
              <a:rPr lang="en-US" b="0" kern="1200" cap="none" smtClean="0">
                <a:solidFill>
                  <a:prstClr val="white">
                    <a:lumMod val="50000"/>
                  </a:prstClr>
                </a:solidFill>
                <a:effectLst/>
              </a:rPr>
              <a:t>5/6/21</a:t>
            </a:fld>
            <a:endParaRPr lang="en-US" b="0" kern="1200" cap="none" dirty="0">
              <a:solidFill>
                <a:prstClr val="white">
                  <a:lumMod val="50000"/>
                </a:prstClr>
              </a:solidFill>
              <a:effectLst/>
            </a:endParaRPr>
          </a:p>
        </p:txBody>
      </p:sp>
      <p:sp>
        <p:nvSpPr>
          <p:cNvPr id="16"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lumMod val="50000"/>
                  </a:prstClr>
                </a:solidFill>
                <a:effectLst/>
                <a:uLnTx/>
                <a:uFillTx/>
                <a:latin typeface="Garamond"/>
                <a:ea typeface="+mn-ea"/>
                <a:cs typeface="+mn-cs"/>
                <a:sym typeface="+mn-lt"/>
              </a:rPr>
              <a:t>Copyright © 2020 by Boston Consulting Group. All rights reserved.</a:t>
            </a:r>
          </a:p>
        </p:txBody>
      </p:sp>
      <p:sp>
        <p:nvSpPr>
          <p:cNvPr id="11" name="Title 4"/>
          <p:cNvSpPr>
            <a:spLocks noGrp="1"/>
          </p:cNvSpPr>
          <p:nvPr>
            <p:ph type="title" hasCustomPrompt="1"/>
          </p:nvPr>
        </p:nvSpPr>
        <p:spPr>
          <a:xfrm>
            <a:off x="1260001" y="5362208"/>
            <a:ext cx="6399475" cy="2991589"/>
          </a:xfrm>
          <a:prstGeom prst="rect">
            <a:avLst/>
          </a:prstGeom>
        </p:spPr>
        <p:txBody>
          <a:bodyPr anchor="ctr">
            <a:noAutofit/>
          </a:bodyPr>
          <a:lstStyle>
            <a:lvl1pPr>
              <a:defRPr sz="5600">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4502594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1" y="0"/>
            <a:ext cx="16892478" cy="13716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2000"/>
              </a:spcAft>
            </a:pPr>
            <a:endParaRPr lang="en-US" sz="24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1260000" y="1245601"/>
            <a:ext cx="12508992" cy="664798"/>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19354801" y="12810072"/>
            <a:ext cx="2964102" cy="307776"/>
          </a:xfrm>
          <a:prstGeom prst="rect">
            <a:avLst/>
          </a:prstGeom>
        </p:spPr>
        <p:txBody>
          <a:bodyPr vert="horz" wrap="square" lIns="0" tIns="0" rIns="0" bIns="0" rtlCol="0" anchor="b">
            <a:spAutoFit/>
          </a:bodyPr>
          <a:lstStyle>
            <a:lvl1pPr algn="r">
              <a:defRPr sz="2000">
                <a:solidFill>
                  <a:schemeClr val="bg1">
                    <a:lumMod val="50000"/>
                  </a:schemeClr>
                </a:solidFill>
                <a:latin typeface="+mn-lt"/>
                <a:sym typeface="Trebuchet MS" panose="020B0603020202020204" pitchFamily="34" charset="0"/>
              </a:defRPr>
            </a:lvl1pPr>
          </a:lstStyle>
          <a:p>
            <a:fld id="{F6AF27F6-31A2-4CCD-9EC9-3EFDDFAEDF9B}" type="datetime1">
              <a:rPr lang="en-US" smtClean="0"/>
              <a:t>5/6/21</a:t>
            </a:fld>
            <a:endParaRPr lang="en-US" dirty="0"/>
          </a:p>
        </p:txBody>
      </p:sp>
      <p:sp>
        <p:nvSpPr>
          <p:cNvPr id="18" name="TextBox 17"/>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lumMod val="50000"/>
                  </a:schemeClr>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13135256" y="6815607"/>
            <a:ext cx="5389332" cy="6913102"/>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0487732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19354801" y="12810072"/>
            <a:ext cx="2964102" cy="307776"/>
          </a:xfrm>
        </p:spPr>
        <p:txBody>
          <a:bodyPr/>
          <a:lstStyle>
            <a:lvl1pPr>
              <a:defRPr>
                <a:solidFill>
                  <a:schemeClr val="bg1"/>
                </a:solidFill>
                <a:latin typeface="+mn-lt"/>
                <a:sym typeface="Trebuchet MS" panose="020B0603020202020204" pitchFamily="34" charset="0"/>
              </a:defRPr>
            </a:lvl1pPr>
          </a:lstStyle>
          <a:p>
            <a:fld id="{FFD452E9-C35B-483E-BF24-65D310127CCD}" type="datetime1">
              <a:rPr lang="en-US" smtClean="0"/>
              <a:t>5/6/21</a:t>
            </a:fld>
            <a:endParaRPr lang="en-US" dirty="0"/>
          </a:p>
        </p:txBody>
      </p:sp>
      <p:sp>
        <p:nvSpPr>
          <p:cNvPr id="9"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mn-lt"/>
                <a:sym typeface="Trebuchet MS" panose="020B0603020202020204" pitchFamily="34" charset="0"/>
              </a:rPr>
              <a:t>Copyright © 2020 by Boston Consulting Group. All rights reserved.</a:t>
            </a:r>
            <a:endParaRPr lang="en-US" sz="1400" dirty="0">
              <a:solidFill>
                <a:schemeClr val="bg1"/>
              </a:solidFill>
              <a:latin typeface="+mn-lt"/>
              <a:sym typeface="Trebuchet MS" panose="020B0603020202020204" pitchFamily="34" charset="0"/>
            </a:endParaRPr>
          </a:p>
        </p:txBody>
      </p:sp>
      <p:sp>
        <p:nvSpPr>
          <p:cNvPr id="10" name="TextBox 9"/>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1260000" y="7652666"/>
            <a:ext cx="21866400" cy="3213100"/>
          </a:xfrm>
        </p:spPr>
        <p:txBody>
          <a:bodyPr anchor="b">
            <a:noAutofit/>
          </a:bodyPr>
          <a:lstStyle>
            <a:lvl1pPr marL="0" algn="l" defTabSz="1828800" rtl="0" eaLnBrk="1" fontAlgn="auto" latinLnBrk="0" hangingPunct="1">
              <a:lnSpc>
                <a:spcPts val="12000"/>
              </a:lnSpc>
              <a:spcBef>
                <a:spcPts val="0"/>
              </a:spcBef>
              <a:spcAft>
                <a:spcPts val="0"/>
              </a:spcAft>
              <a:defRPr lang="en-US" sz="108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7004513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fld id="{7D9C8E16-B6C7-4470-829E-964EA6BCAFCC}" type="datetime1">
              <a:rPr lang="en-US" smtClean="0"/>
              <a:t>5/6/21</a:t>
            </a:fld>
            <a:endParaRPr lang="en-US" dirty="0"/>
          </a:p>
        </p:txBody>
      </p:sp>
      <p:sp>
        <p:nvSpPr>
          <p:cNvPr id="11"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1260000" y="1250950"/>
            <a:ext cx="1865376" cy="1865376"/>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24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1260000" y="7652666"/>
            <a:ext cx="21866400" cy="3213100"/>
          </a:xfrm>
          <a:prstGeom prst="rect">
            <a:avLst/>
          </a:prstGeom>
        </p:spPr>
        <p:txBody>
          <a:bodyPr anchor="b">
            <a:noAutofit/>
          </a:bodyPr>
          <a:lstStyle>
            <a:lvl1pPr marL="0" algn="l" defTabSz="1828800" rtl="0" eaLnBrk="1" fontAlgn="auto" latinLnBrk="0" hangingPunct="1">
              <a:lnSpc>
                <a:spcPts val="12000"/>
              </a:lnSpc>
              <a:spcBef>
                <a:spcPts val="0"/>
              </a:spcBef>
              <a:spcAft>
                <a:spcPts val="0"/>
              </a:spcAft>
              <a:defRPr lang="en-US" sz="108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845104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40306641"/>
              </p:ext>
            </p:extLst>
          </p:nvPr>
        </p:nvGraphicFramePr>
        <p:xfrm>
          <a:off x="3177" y="3177"/>
          <a:ext cx="3174" cy="3174"/>
        </p:xfrm>
        <a:graphic>
          <a:graphicData uri="http://schemas.openxmlformats.org/presentationml/2006/ole">
            <mc:AlternateContent xmlns:mc="http://schemas.openxmlformats.org/markup-compatibility/2006">
              <mc:Choice xmlns:v="urn:schemas-microsoft-com:vml" Requires="v">
                <p:oleObj spid="_x0000_s77860"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3177" y="3177"/>
                        <a:ext cx="3174" cy="3174"/>
                      </a:xfrm>
                      <a:prstGeom prst="rect">
                        <a:avLst/>
                      </a:prstGeom>
                    </p:spPr>
                  </p:pic>
                </p:oleObj>
              </mc:Fallback>
            </mc:AlternateContent>
          </a:graphicData>
        </a:graphic>
      </p:graphicFrame>
      <p:sp>
        <p:nvSpPr>
          <p:cNvPr id="6" name="TextBox 5"/>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fld id="{E0850178-6E55-47FA-9AC3-215E0BAD5912}" type="datetime1">
              <a:rPr lang="en-US" smtClean="0"/>
              <a:t>5/6/21</a:t>
            </a:fld>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13594923" y="202887"/>
            <a:ext cx="1538514" cy="20039642"/>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24384000" cy="11734670"/>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182880" tIns="91440" rIns="182880" bIns="91440" numCol="1" anchor="t" anchorCtr="0" compatLnSpc="1">
            <a:prstTxWarp prst="textNoShape">
              <a:avLst/>
            </a:prstTxWarp>
            <a:noAutofit/>
          </a:bodyPr>
          <a:lstStyle/>
          <a:p>
            <a:endParaRPr lang="en-US" sz="8400" dirty="0">
              <a:latin typeface="+mn-lt"/>
              <a:sym typeface="Trebuchet MS" panose="020B0603020202020204" pitchFamily="34" charset="0"/>
            </a:endParaRPr>
          </a:p>
        </p:txBody>
      </p:sp>
    </p:spTree>
    <p:extLst>
      <p:ext uri="{BB962C8B-B14F-4D97-AF65-F5344CB8AC3E}">
        <p14:creationId xmlns:p14="http://schemas.microsoft.com/office/powerpoint/2010/main" val="26311654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22335744" y="12808800"/>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fld id="{AE006446-2091-4A10-A35C-1878316D8805}" type="datetime1">
              <a:rPr lang="en-US" smtClean="0"/>
              <a:t>5/6/21</a:t>
            </a:fld>
            <a:endParaRPr lang="en-US" dirty="0"/>
          </a:p>
        </p:txBody>
      </p:sp>
      <p:sp>
        <p:nvSpPr>
          <p:cNvPr id="11"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mn-lt"/>
                <a:sym typeface="Trebuchet MS" panose="020B0603020202020204" pitchFamily="34" charset="0"/>
              </a:rPr>
              <a:t>Copyright © 2020 by Boston Consulting Group. All rights reserved.</a:t>
            </a:r>
            <a:endParaRPr lang="en-US" sz="14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1260000" y="1245601"/>
            <a:ext cx="21866400" cy="664798"/>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025566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8176624" cy="13716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2000"/>
              </a:spcAft>
            </a:pPr>
            <a:endParaRPr lang="en-US" sz="24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8176624" cy="13716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2000"/>
              </a:spcAft>
            </a:pPr>
            <a:endParaRPr lang="en-US" sz="2400" dirty="0">
              <a:solidFill>
                <a:prstClr val="white"/>
              </a:solidFill>
              <a:latin typeface="+mn-lt"/>
              <a:sym typeface="Trebuchet MS" panose="020B0603020202020204" pitchFamily="34" charset="0"/>
            </a:endParaRPr>
          </a:p>
        </p:txBody>
      </p:sp>
      <p:sp>
        <p:nvSpPr>
          <p:cNvPr id="20" name="TextBox 19"/>
          <p:cNvSpPr txBox="1"/>
          <p:nvPr userDrawn="1"/>
        </p:nvSpPr>
        <p:spPr>
          <a:xfrm>
            <a:off x="1260000" y="5217102"/>
            <a:ext cx="5638800" cy="3401059"/>
          </a:xfrm>
          <a:prstGeom prst="rect">
            <a:avLst/>
          </a:prstGeom>
          <a:noFill/>
        </p:spPr>
        <p:txBody>
          <a:bodyPr wrap="square" lIns="0" tIns="0" rIns="0" bIns="0" rtlCol="0" anchor="ctr">
            <a:spAutoFit/>
          </a:bodyPr>
          <a:lstStyle/>
          <a:p>
            <a:pPr marL="0" indent="0">
              <a:lnSpc>
                <a:spcPct val="106000"/>
              </a:lnSpc>
              <a:spcAft>
                <a:spcPts val="1400"/>
              </a:spcAft>
              <a:buFontTx/>
              <a:buNone/>
            </a:pPr>
            <a:r>
              <a:rPr lang="en-US" sz="108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19354801" y="12810072"/>
            <a:ext cx="2964102" cy="307776"/>
          </a:xfrm>
        </p:spPr>
        <p:txBody>
          <a:bodyPr/>
          <a:lstStyle>
            <a:lvl1pPr>
              <a:defRPr>
                <a:solidFill>
                  <a:schemeClr val="bg1"/>
                </a:solidFill>
                <a:latin typeface="+mn-lt"/>
                <a:sym typeface="Trebuchet MS" panose="020B0603020202020204" pitchFamily="34" charset="0"/>
              </a:defRPr>
            </a:lvl1pPr>
          </a:lstStyle>
          <a:p>
            <a:fld id="{18D32B37-816D-4E0C-B0D6-3E922A03DEA7}" type="datetime1">
              <a:rPr lang="en-US" smtClean="0"/>
              <a:t>5/6/21</a:t>
            </a:fld>
            <a:endParaRPr lang="en-US" dirty="0"/>
          </a:p>
        </p:txBody>
      </p:sp>
      <p:sp>
        <p:nvSpPr>
          <p:cNvPr id="24"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mn-lt"/>
                <a:sym typeface="Trebuchet MS" panose="020B0603020202020204" pitchFamily="34" charset="0"/>
              </a:rPr>
              <a:t>Copyright © 2020 by Boston Consulting Group. All rights reserved.</a:t>
            </a:r>
            <a:endParaRPr lang="en-US" sz="1400" dirty="0">
              <a:solidFill>
                <a:schemeClr val="bg1"/>
              </a:solidFill>
              <a:latin typeface="+mn-lt"/>
              <a:sym typeface="Trebuchet MS" panose="020B0603020202020204" pitchFamily="34" charset="0"/>
            </a:endParaRPr>
          </a:p>
        </p:txBody>
      </p:sp>
      <p:sp>
        <p:nvSpPr>
          <p:cNvPr id="19" name="TextBox 18"/>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217276" y="7173496"/>
            <a:ext cx="2730500" cy="6765924"/>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17081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19354801" y="12810072"/>
            <a:ext cx="2964102" cy="307776"/>
          </a:xfrm>
        </p:spPr>
        <p:txBody>
          <a:bodyPr/>
          <a:lstStyle>
            <a:lvl1pPr>
              <a:defRPr>
                <a:solidFill>
                  <a:schemeClr val="bg1"/>
                </a:solidFill>
                <a:latin typeface="+mn-lt"/>
                <a:sym typeface="Trebuchet MS" panose="020B0603020202020204" pitchFamily="34" charset="0"/>
              </a:defRPr>
            </a:lvl1pPr>
          </a:lstStyle>
          <a:p>
            <a:fld id="{A88C20E3-B8E0-4221-AE9E-527E16E4345B}" type="datetime1">
              <a:rPr lang="en-US" smtClean="0"/>
              <a:t>5/6/21</a:t>
            </a:fld>
            <a:endParaRPr lang="en-US" dirty="0"/>
          </a:p>
        </p:txBody>
      </p:sp>
      <p:sp>
        <p:nvSpPr>
          <p:cNvPr id="9"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mn-lt"/>
                <a:sym typeface="Trebuchet MS" panose="020B0603020202020204" pitchFamily="34" charset="0"/>
              </a:rPr>
              <a:t>Copyright © 2020 by Boston Consulting Group. All rights reserved.</a:t>
            </a:r>
            <a:endParaRPr lang="en-US" sz="1400" dirty="0">
              <a:solidFill>
                <a:schemeClr val="bg1"/>
              </a:solidFill>
              <a:latin typeface="+mn-lt"/>
              <a:sym typeface="Trebuchet MS" panose="020B0603020202020204" pitchFamily="34" charset="0"/>
            </a:endParaRPr>
          </a:p>
        </p:txBody>
      </p:sp>
      <p:sp>
        <p:nvSpPr>
          <p:cNvPr id="11" name="TextBox 10"/>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66962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fld id="{2D6605F7-30ED-4B3A-BD7C-A975FAA6E0E8}" type="datetime1">
              <a:rPr lang="en-US" smtClean="0"/>
              <a:t>5/6/21</a:t>
            </a:fld>
            <a:endParaRPr lang="en-US" dirty="0"/>
          </a:p>
        </p:txBody>
      </p:sp>
      <p:sp>
        <p:nvSpPr>
          <p:cNvPr id="5"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2896456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10043652" y="3328513"/>
            <a:ext cx="12418144" cy="6647974"/>
          </a:xfrm>
          <a:prstGeom prst="rect">
            <a:avLst/>
          </a:prstGeom>
        </p:spPr>
        <p:txBody>
          <a:bodyPr wrap="square" lIns="0" tIns="0" rIns="0" bIns="0" anchor="ctr">
            <a:spAutoFit/>
          </a:bodyPr>
          <a:lstStyle/>
          <a:p>
            <a:pPr indent="0">
              <a:lnSpc>
                <a:spcPct val="100000"/>
              </a:lnSpc>
            </a:pPr>
            <a:r>
              <a:rPr lang="en-US" sz="1800" b="0" dirty="0">
                <a:latin typeface="+mn-lt"/>
                <a:sym typeface="Trebuchet MS" panose="020B0603020202020204" pitchFamily="34" charset="0"/>
              </a:rPr>
              <a:t>The services and materials provided by Boston Consulting Group (BCG) are subject to BCG's Standard Terms </a:t>
            </a:r>
            <a:br>
              <a:rPr lang="en-US" sz="1800" b="0" dirty="0">
                <a:latin typeface="+mn-lt"/>
                <a:sym typeface="Trebuchet MS" panose="020B0603020202020204" pitchFamily="34" charset="0"/>
              </a:rPr>
            </a:br>
            <a:r>
              <a:rPr lang="en-US" sz="18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1800" b="0" dirty="0">
                <a:latin typeface="+mn-lt"/>
                <a:sym typeface="Trebuchet MS" panose="020B0603020202020204" pitchFamily="34" charset="0"/>
              </a:rPr>
            </a:br>
            <a:r>
              <a:rPr lang="en-US" sz="1800" b="0" dirty="0">
                <a:latin typeface="+mn-lt"/>
                <a:sym typeface="Trebuchet MS" panose="020B0603020202020204" pitchFamily="34" charset="0"/>
              </a:rPr>
              <a:t>to update these materials after the date hereof, notwithstanding that such information may become outdated </a:t>
            </a:r>
            <a:br>
              <a:rPr lang="en-US" sz="1800" b="0" dirty="0">
                <a:latin typeface="+mn-lt"/>
                <a:sym typeface="Trebuchet MS" panose="020B0603020202020204" pitchFamily="34" charset="0"/>
              </a:rPr>
            </a:br>
            <a:r>
              <a:rPr lang="en-US" sz="1800" b="0" dirty="0">
                <a:latin typeface="+mn-lt"/>
                <a:sym typeface="Trebuchet MS" panose="020B0603020202020204" pitchFamily="34" charset="0"/>
              </a:rPr>
              <a:t>or inaccurate.</a:t>
            </a:r>
          </a:p>
          <a:p>
            <a:pPr indent="0">
              <a:lnSpc>
                <a:spcPct val="100000"/>
              </a:lnSpc>
            </a:pPr>
            <a:r>
              <a:rPr lang="en-US" sz="1800" b="0" dirty="0">
                <a:latin typeface="+mn-lt"/>
                <a:sym typeface="Trebuchet MS" panose="020B0603020202020204" pitchFamily="34" charset="0"/>
              </a:rPr>
              <a:t> </a:t>
            </a:r>
          </a:p>
          <a:p>
            <a:pPr indent="0">
              <a:lnSpc>
                <a:spcPct val="100000"/>
              </a:lnSpc>
            </a:pPr>
            <a:r>
              <a:rPr lang="en-US" sz="18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1800" b="0" dirty="0">
                <a:latin typeface="+mn-lt"/>
                <a:sym typeface="Trebuchet MS" panose="020B0603020202020204" pitchFamily="34" charset="0"/>
              </a:rPr>
            </a:br>
            <a:r>
              <a:rPr lang="en-US" sz="18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1800" b="0" dirty="0">
              <a:latin typeface="+mn-lt"/>
              <a:sym typeface="Trebuchet MS" panose="020B0603020202020204" pitchFamily="34" charset="0"/>
            </a:endParaRPr>
          </a:p>
          <a:p>
            <a:pPr marL="0" marR="0" indent="0" algn="l" defTabSz="1828800" rtl="0" eaLnBrk="1" fontAlgn="auto" latinLnBrk="0" hangingPunct="1">
              <a:lnSpc>
                <a:spcPct val="100000"/>
              </a:lnSpc>
              <a:spcBef>
                <a:spcPts val="0"/>
              </a:spcBef>
              <a:spcAft>
                <a:spcPts val="0"/>
              </a:spcAft>
              <a:buClrTx/>
              <a:buSzTx/>
              <a:buFontTx/>
              <a:buNone/>
              <a:tabLst/>
              <a:defRPr/>
            </a:pPr>
            <a:r>
              <a:rPr lang="en-US" sz="1800" b="0" dirty="0">
                <a:latin typeface="+mn-lt"/>
                <a:sym typeface="Trebuchet MS" panose="020B0603020202020204" pitchFamily="34" charset="0"/>
              </a:rPr>
              <a:t>BCG does not provide fairness opinions or valuations of market transactions, and these materials should not be relied </a:t>
            </a:r>
            <a:br>
              <a:rPr lang="en-US" sz="1800" b="0" dirty="0">
                <a:latin typeface="+mn-lt"/>
                <a:sym typeface="Trebuchet MS" panose="020B0603020202020204" pitchFamily="34" charset="0"/>
              </a:rPr>
            </a:br>
            <a:r>
              <a:rPr lang="en-US" sz="18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1800" b="0" dirty="0">
                <a:latin typeface="+mn-lt"/>
                <a:sym typeface="Trebuchet MS" panose="020B0603020202020204" pitchFamily="34" charset="0"/>
              </a:rPr>
            </a:br>
            <a:r>
              <a:rPr lang="en-US" sz="18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1278089" y="5946153"/>
            <a:ext cx="6399058" cy="1412694"/>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102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8735796" y="3260371"/>
            <a:ext cx="0" cy="6784258"/>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fld id="{B9ABA675-A96F-4EB0-A91E-16EA5C9D5FF6}" type="datetime1">
              <a:rPr lang="en-US" smtClean="0"/>
              <a:t>5/6/21</a:t>
            </a:fld>
            <a:endParaRPr lang="en-US" dirty="0"/>
          </a:p>
        </p:txBody>
      </p:sp>
      <p:sp>
        <p:nvSpPr>
          <p:cNvPr id="10"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413225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60899591"/>
              </p:ext>
            </p:extLst>
          </p:nvPr>
        </p:nvGraphicFramePr>
        <p:xfrm>
          <a:off x="3177" y="3177"/>
          <a:ext cx="3174" cy="3174"/>
        </p:xfrm>
        <a:graphic>
          <a:graphicData uri="http://schemas.openxmlformats.org/presentationml/2006/ole">
            <mc:AlternateContent xmlns:mc="http://schemas.openxmlformats.org/markup-compatibility/2006">
              <mc:Choice xmlns:v="urn:schemas-microsoft-com:vml" Requires="v">
                <p:oleObj spid="_x0000_s78884"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3177" y="3177"/>
                        <a:ext cx="3174" cy="3174"/>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24384000" cy="13716000"/>
          </a:xfrm>
          <a:prstGeom prst="rect">
            <a:avLst/>
          </a:prstGeom>
        </p:spPr>
      </p:pic>
      <p:sp>
        <p:nvSpPr>
          <p:cNvPr id="8" name="Rectangle 7"/>
          <p:cNvSpPr/>
          <p:nvPr userDrawn="1"/>
        </p:nvSpPr>
        <p:spPr bwMode="black">
          <a:xfrm>
            <a:off x="1261872" y="1252400"/>
            <a:ext cx="16250400" cy="110592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4000" dirty="0">
              <a:solidFill>
                <a:prstClr val="white"/>
              </a:solidFill>
              <a:latin typeface="+mn-lt"/>
              <a:sym typeface="Trebuchet MS" panose="020B0603020202020204" pitchFamily="34" charset="0"/>
            </a:endParaRPr>
          </a:p>
        </p:txBody>
      </p:sp>
      <p:sp>
        <p:nvSpPr>
          <p:cNvPr id="15" name="TextBox 14"/>
          <p:cNvSpPr txBox="1"/>
          <p:nvPr/>
        </p:nvSpPr>
        <p:spPr bwMode="white">
          <a:xfrm>
            <a:off x="1849959" y="11430356"/>
            <a:ext cx="1681602" cy="340220"/>
          </a:xfrm>
          <a:prstGeom prst="rect">
            <a:avLst/>
          </a:prstGeom>
          <a:noFill/>
        </p:spPr>
        <p:txBody>
          <a:bodyPr wrap="none" lIns="0" tIns="0" rIns="0" bIns="0" rtlCol="0" anchor="b">
            <a:noAutofit/>
          </a:bodyPr>
          <a:lstStyle/>
          <a:p>
            <a:pPr>
              <a:lnSpc>
                <a:spcPct val="90000"/>
              </a:lnSpc>
              <a:spcAft>
                <a:spcPts val="1200"/>
              </a:spcAft>
            </a:pPr>
            <a:r>
              <a:rPr lang="en-US" sz="24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5353715" y="5939026"/>
            <a:ext cx="8066714" cy="1685948"/>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noAutofit/>
          </a:bodyPr>
          <a:lstStyle/>
          <a:p>
            <a:endParaRPr lang="en-US" sz="8400"/>
          </a:p>
        </p:txBody>
      </p:sp>
    </p:spTree>
    <p:extLst>
      <p:ext uri="{BB962C8B-B14F-4D97-AF65-F5344CB8AC3E}">
        <p14:creationId xmlns:p14="http://schemas.microsoft.com/office/powerpoint/2010/main" val="39294543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4032" y="3177"/>
          <a:ext cx="4032" cy="3176"/>
        </p:xfrm>
        <a:graphic>
          <a:graphicData uri="http://schemas.openxmlformats.org/presentationml/2006/ole">
            <mc:AlternateContent xmlns:mc="http://schemas.openxmlformats.org/markup-compatibility/2006">
              <mc:Choice xmlns:v="urn:schemas-microsoft-com:vml" Requires="v">
                <p:oleObj spid="_x0000_s1130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4032" y="3177"/>
                        <a:ext cx="4032" cy="3176"/>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6400"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pic>
        <p:nvPicPr>
          <p:cNvPr id="65"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11134164" y="0"/>
            <a:ext cx="1058749" cy="13716000"/>
          </a:xfrm>
          <a:prstGeom prst="rect">
            <a:avLst/>
          </a:prstGeom>
        </p:spPr>
      </p:pic>
      <p:sp>
        <p:nvSpPr>
          <p:cNvPr id="66" name="PanelGray"/>
          <p:cNvSpPr/>
          <p:nvPr userDrawn="1"/>
        </p:nvSpPr>
        <p:spPr bwMode="white">
          <a:xfrm>
            <a:off x="12195687" y="-2619"/>
            <a:ext cx="12188317" cy="13718619"/>
          </a:xfrm>
          <a:custGeom>
            <a:avLst/>
            <a:gdLst>
              <a:gd name="connsiteX0" fmla="*/ 0 w 6553548"/>
              <a:gd name="connsiteY0" fmla="*/ 0 h 6859309"/>
              <a:gd name="connsiteX1" fmla="*/ 6553548 w 6553548"/>
              <a:gd name="connsiteY1" fmla="*/ 0 h 6859309"/>
              <a:gd name="connsiteX2" fmla="*/ 6553548 w 6553548"/>
              <a:gd name="connsiteY2" fmla="*/ 6859309 h 6859309"/>
              <a:gd name="connsiteX3" fmla="*/ 0 w 6553548"/>
              <a:gd name="connsiteY3" fmla="*/ 6859309 h 6859309"/>
            </a:gdLst>
            <a:ahLst/>
            <a:cxnLst>
              <a:cxn ang="0">
                <a:pos x="connsiteX0" y="connsiteY0"/>
              </a:cxn>
              <a:cxn ang="0">
                <a:pos x="connsiteX1" y="connsiteY1"/>
              </a:cxn>
              <a:cxn ang="0">
                <a:pos x="connsiteX2" y="connsiteY2"/>
              </a:cxn>
              <a:cxn ang="0">
                <a:pos x="connsiteX3" y="connsiteY3"/>
              </a:cxn>
            </a:cxnLst>
            <a:rect l="l" t="t" r="r" b="b"/>
            <a:pathLst>
              <a:path w="6553548" h="6859309">
                <a:moveTo>
                  <a:pt x="0" y="0"/>
                </a:moveTo>
                <a:lnTo>
                  <a:pt x="6553548" y="0"/>
                </a:lnTo>
                <a:lnTo>
                  <a:pt x="6553548" y="6859309"/>
                </a:lnTo>
                <a:lnTo>
                  <a:pt x="0" y="6859309"/>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13" name="Picture Placeholder 18"/>
          <p:cNvSpPr>
            <a:spLocks noGrp="1"/>
          </p:cNvSpPr>
          <p:nvPr>
            <p:ph type="pic" sz="quarter" idx="14" hasCustomPrompt="1"/>
          </p:nvPr>
        </p:nvSpPr>
        <p:spPr>
          <a:xfrm>
            <a:off x="12198587" y="-2619"/>
            <a:ext cx="12185413" cy="13716000"/>
          </a:xfrm>
          <a:prstGeom prst="rect">
            <a:avLst/>
          </a:prstGeom>
          <a:noFill/>
        </p:spPr>
        <p:txBody>
          <a:bodyPr lIns="914400" tIns="914400" rIns="914400" bIns="914400"/>
          <a:lstStyle>
            <a:lvl1pPr algn="ctr">
              <a:defRPr sz="36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5" name="TextBox 14"/>
          <p:cNvSpPr txBox="1"/>
          <p:nvPr userDrawn="1"/>
        </p:nvSpPr>
        <p:spPr>
          <a:xfrm>
            <a:off x="21966653" y="12810073"/>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lumMod val="50000"/>
                  </a:prstClr>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solidFill>
                <a:prstClr val="white">
                  <a:lumMod val="50000"/>
                </a:prstClr>
              </a:solidFill>
              <a:effectLst/>
              <a:uLnTx/>
              <a:uFillTx/>
              <a:latin typeface="Garamond"/>
              <a:ea typeface="+mn-ea"/>
              <a:cs typeface="+mn-cs"/>
              <a:sym typeface="+mn-lt"/>
            </a:endParaRPr>
          </a:p>
        </p:txBody>
      </p:sp>
      <p:sp>
        <p:nvSpPr>
          <p:cNvPr id="16" name="Date Placeholder 2"/>
          <p:cNvSpPr>
            <a:spLocks noGrp="1"/>
          </p:cNvSpPr>
          <p:nvPr>
            <p:ph type="dt" sz="half" idx="15"/>
          </p:nvPr>
        </p:nvSpPr>
        <p:spPr>
          <a:xfrm>
            <a:off x="20037833" y="12810073"/>
            <a:ext cx="1928824" cy="307777"/>
          </a:xfrm>
          <a:prstGeom prst="rect">
            <a:avLst/>
          </a:prstGeom>
        </p:spPr>
        <p:txBody>
          <a:bodyPr/>
          <a:lstStyle>
            <a:lvl1pPr>
              <a:defRPr>
                <a:solidFill>
                  <a:schemeClr val="bg1">
                    <a:lumMod val="50000"/>
                  </a:schemeClr>
                </a:solidFill>
                <a:latin typeface="+mn-lt"/>
                <a:ea typeface="+mn-ea"/>
                <a:cs typeface="+mn-cs"/>
                <a:sym typeface="+mn-lt"/>
              </a:defRPr>
            </a:lvl1pPr>
          </a:lstStyle>
          <a:p>
            <a:pPr defTabSz="2116120" hangingPunct="1"/>
            <a:fld id="{2D578895-6BE2-4CB5-B16B-D3A194569A40}" type="datetime1">
              <a:rPr lang="en-US" b="0" kern="1200" cap="none" smtClean="0">
                <a:solidFill>
                  <a:prstClr val="white">
                    <a:lumMod val="50000"/>
                  </a:prstClr>
                </a:solidFill>
                <a:effectLst/>
              </a:rPr>
              <a:t>5/6/21</a:t>
            </a:fld>
            <a:endParaRPr lang="en-US" b="0" kern="1200" cap="none" dirty="0">
              <a:solidFill>
                <a:prstClr val="white">
                  <a:lumMod val="50000"/>
                </a:prstClr>
              </a:solidFill>
              <a:effectLst/>
            </a:endParaRPr>
          </a:p>
        </p:txBody>
      </p:sp>
      <p:sp>
        <p:nvSpPr>
          <p:cNvPr id="21"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lumMod val="50000"/>
                  </a:prstClr>
                </a:solidFill>
                <a:effectLst/>
                <a:uLnTx/>
                <a:uFillTx/>
                <a:latin typeface="Garamond"/>
                <a:ea typeface="+mn-ea"/>
                <a:cs typeface="+mn-cs"/>
                <a:sym typeface="+mn-lt"/>
              </a:rPr>
              <a:t>Copyright © 2020 by Boston Consulting Group. All rights reserved.</a:t>
            </a:r>
          </a:p>
        </p:txBody>
      </p:sp>
      <p:sp>
        <p:nvSpPr>
          <p:cNvPr id="14" name="Title 1"/>
          <p:cNvSpPr>
            <a:spLocks noGrp="1"/>
          </p:cNvSpPr>
          <p:nvPr>
            <p:ph type="title" hasCustomPrompt="1"/>
          </p:nvPr>
        </p:nvSpPr>
        <p:spPr bwMode="black">
          <a:xfrm>
            <a:off x="1260001" y="3571200"/>
            <a:ext cx="8847400" cy="6573600"/>
          </a:xfrm>
          <a:prstGeom prst="rect">
            <a:avLst/>
          </a:prstGeom>
          <a:noFill/>
        </p:spPr>
        <p:txBody>
          <a:bodyPr wrap="square" lIns="0" tIns="0" rIns="320040" bIns="0" anchor="ctr">
            <a:noAutofit/>
          </a:bodyPr>
          <a:lstStyle>
            <a:lvl1pPr>
              <a:defRPr sz="6400">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3969541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1200" y="-1"/>
            <a:ext cx="24387600" cy="13716002"/>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2000"/>
                </a:spcAft>
              </a:pPr>
              <a:endParaRPr lang="en-US" sz="2400" dirty="0">
                <a:solidFill>
                  <a:schemeClr val="bg1"/>
                </a:solidFill>
                <a:latin typeface="+mn-lt"/>
              </a:endParaRPr>
            </a:p>
          </p:txBody>
        </p:sp>
        <p:sp>
          <p:nvSpPr>
            <p:cNvPr id="153" name="Footnote example"/>
            <p:cNvSpPr txBox="1"/>
            <p:nvPr/>
          </p:nvSpPr>
          <p:spPr>
            <a:xfrm>
              <a:off x="630000" y="6144442"/>
              <a:ext cx="9030914" cy="415499"/>
            </a:xfrm>
            <a:prstGeom prst="rect">
              <a:avLst/>
            </a:prstGeom>
            <a:noFill/>
          </p:spPr>
          <p:txBody>
            <a:bodyPr wrap="square" lIns="0" tIns="0" rIns="0" bIns="0" rtlCol="0" anchor="b">
              <a:spAutoFit/>
            </a:bodyPr>
            <a:lstStyle/>
            <a:p>
              <a:pPr marL="0" marR="0" lvl="0" indent="0" algn="l" defTabSz="18288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18288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18288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fld id="{6221B4DF-88C3-4482-9A77-771CB373EAA3}" type="datetime1">
              <a:rPr lang="en-US" smtClean="0"/>
              <a:t>5/6/21</a:t>
            </a:fld>
            <a:endParaRPr lang="en-US" dirty="0"/>
          </a:p>
        </p:txBody>
      </p:sp>
      <p:sp>
        <p:nvSpPr>
          <p:cNvPr id="56"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53374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3177" y="3177"/>
          <a:ext cx="3174" cy="3174"/>
        </p:xfrm>
        <a:graphic>
          <a:graphicData uri="http://schemas.openxmlformats.org/presentationml/2006/ole">
            <mc:AlternateContent xmlns:mc="http://schemas.openxmlformats.org/markup-compatibility/2006">
              <mc:Choice xmlns:v="urn:schemas-microsoft-com:vml" Requires="v">
                <p:oleObj spid="_x0000_s7990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3177" y="3177"/>
                        <a:ext cx="3174" cy="3174"/>
                      </a:xfrm>
                      <a:prstGeom prst="rect">
                        <a:avLst/>
                      </a:prstGeom>
                    </p:spPr>
                  </p:pic>
                </p:oleObj>
              </mc:Fallback>
            </mc:AlternateContent>
          </a:graphicData>
        </a:graphic>
      </p:graphicFrame>
      <p:sp>
        <p:nvSpPr>
          <p:cNvPr id="7" name="TextBox 6"/>
          <p:cNvSpPr txBox="1"/>
          <p:nvPr userDrawn="1"/>
        </p:nvSpPr>
        <p:spPr bwMode="white">
          <a:xfrm>
            <a:off x="22335744" y="12808800"/>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14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2776291" y="9382374"/>
            <a:ext cx="1858674" cy="1991748"/>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4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5018964" y="9382374"/>
            <a:ext cx="3140304" cy="2936352"/>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360000" rIns="365760" bIns="365760" numCol="1" spcCol="0" rtlCol="0" fromWordArt="0" anchor="t" anchorCtr="0" forceAA="0" compatLnSpc="1">
            <a:prstTxWarp prst="textNoShape">
              <a:avLst/>
            </a:prstTxWarp>
            <a:noAutofit/>
          </a:bodyPr>
          <a:lstStyle/>
          <a:p>
            <a:pPr>
              <a:lnSpc>
                <a:spcPct val="95000"/>
              </a:lnSpc>
            </a:pPr>
            <a:endParaRPr lang="en-US" sz="2400" dirty="0">
              <a:solidFill>
                <a:srgbClr val="FFFFFF"/>
              </a:solidFill>
              <a:latin typeface="Trebuchet MS" panose="020B0603020202020204" pitchFamily="34" charset="0"/>
            </a:endParaRPr>
          </a:p>
        </p:txBody>
      </p:sp>
      <p:sp>
        <p:nvSpPr>
          <p:cNvPr id="2" name="TextBox 1"/>
          <p:cNvSpPr txBox="1"/>
          <p:nvPr userDrawn="1"/>
        </p:nvSpPr>
        <p:spPr>
          <a:xfrm>
            <a:off x="1260000" y="1814398"/>
            <a:ext cx="6897600" cy="2440935"/>
          </a:xfrm>
          <a:prstGeom prst="rect">
            <a:avLst/>
          </a:prstGeom>
          <a:noFill/>
          <a:ln>
            <a:solidFill>
              <a:schemeClr val="bg1"/>
            </a:solidFill>
          </a:ln>
        </p:spPr>
        <p:txBody>
          <a:bodyPr wrap="square" lIns="1224000" tIns="936000" rIns="0" bIns="0" rtlCol="0" anchor="t">
            <a:spAutoFit/>
          </a:bodyPr>
          <a:lstStyle/>
          <a:p>
            <a:pPr>
              <a:lnSpc>
                <a:spcPct val="90000"/>
              </a:lnSpc>
              <a:spcAft>
                <a:spcPts val="1200"/>
              </a:spcAft>
            </a:pPr>
            <a:endParaRPr lang="en-US" sz="10800" dirty="0">
              <a:solidFill>
                <a:schemeClr val="bg1"/>
              </a:solidFill>
            </a:endParaRPr>
          </a:p>
        </p:txBody>
      </p:sp>
      <p:sp>
        <p:nvSpPr>
          <p:cNvPr id="10" name="TextBox 1"/>
          <p:cNvSpPr txBox="1"/>
          <p:nvPr userDrawn="1"/>
        </p:nvSpPr>
        <p:spPr>
          <a:xfrm>
            <a:off x="2414025" y="2230833"/>
            <a:ext cx="4588114" cy="1671227"/>
          </a:xfrm>
          <a:prstGeom prst="rect">
            <a:avLst/>
          </a:prstGeom>
          <a:noFill/>
        </p:spPr>
        <p:txBody>
          <a:bodyPr wrap="none" rtlCol="0">
            <a:spAutoFit/>
          </a:bodyPr>
          <a:lstStyle/>
          <a:p>
            <a:pPr algn="ctr" fontAlgn="auto">
              <a:lnSpc>
                <a:spcPct val="95000"/>
              </a:lnSpc>
              <a:spcBef>
                <a:spcPts val="0"/>
              </a:spcBef>
              <a:spcAft>
                <a:spcPts val="0"/>
              </a:spcAft>
            </a:pPr>
            <a:r>
              <a:rPr lang="en-US" sz="10800" dirty="0">
                <a:solidFill>
                  <a:schemeClr val="bg1"/>
                </a:solidFill>
                <a:latin typeface="+mj-lt"/>
              </a:rPr>
              <a:t>Agenda</a:t>
            </a:r>
          </a:p>
        </p:txBody>
      </p:sp>
    </p:spTree>
    <p:extLst>
      <p:ext uri="{BB962C8B-B14F-4D97-AF65-F5344CB8AC3E}">
        <p14:creationId xmlns:p14="http://schemas.microsoft.com/office/powerpoint/2010/main" val="3160146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50589783"/>
              </p:ext>
            </p:extLst>
          </p:nvPr>
        </p:nvGraphicFramePr>
        <p:xfrm>
          <a:off x="3177" y="3177"/>
          <a:ext cx="3174" cy="3174"/>
        </p:xfrm>
        <a:graphic>
          <a:graphicData uri="http://schemas.openxmlformats.org/presentationml/2006/ole">
            <mc:AlternateContent xmlns:mc="http://schemas.openxmlformats.org/markup-compatibility/2006">
              <mc:Choice xmlns:v="urn:schemas-microsoft-com:vml" Requires="v">
                <p:oleObj spid="_x0000_s8093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3177" y="3177"/>
                        <a:ext cx="3174" cy="3174"/>
                      </a:xfrm>
                      <a:prstGeom prst="rect">
                        <a:avLst/>
                      </a:prstGeom>
                    </p:spPr>
                  </p:pic>
                </p:oleObj>
              </mc:Fallback>
            </mc:AlternateContent>
          </a:graphicData>
        </a:graphic>
      </p:graphicFrame>
      <p:sp>
        <p:nvSpPr>
          <p:cNvPr id="7" name="TextBox 6"/>
          <p:cNvSpPr txBox="1"/>
          <p:nvPr userDrawn="1"/>
        </p:nvSpPr>
        <p:spPr bwMode="white">
          <a:xfrm>
            <a:off x="22335744" y="12808800"/>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14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2569486" y="2856262"/>
            <a:ext cx="1895344" cy="189534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24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2570400" y="5335200"/>
            <a:ext cx="19238400" cy="64008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4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1903381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3177" y="3177"/>
          <a:ext cx="3174" cy="3174"/>
        </p:xfrm>
        <a:graphic>
          <a:graphicData uri="http://schemas.openxmlformats.org/presentationml/2006/ole">
            <mc:AlternateContent xmlns:mc="http://schemas.openxmlformats.org/markup-compatibility/2006">
              <mc:Choice xmlns:v="urn:schemas-microsoft-com:vml" Requires="v">
                <p:oleObj spid="_x0000_s8195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3177" y="3177"/>
                        <a:ext cx="3174" cy="3174"/>
                      </a:xfrm>
                      <a:prstGeom prst="rect">
                        <a:avLst/>
                      </a:prstGeom>
                    </p:spPr>
                  </p:pic>
                </p:oleObj>
              </mc:Fallback>
            </mc:AlternateContent>
          </a:graphicData>
        </a:graphic>
      </p:graphicFrame>
      <p:sp>
        <p:nvSpPr>
          <p:cNvPr id="7" name="TextBox 6"/>
          <p:cNvSpPr txBox="1"/>
          <p:nvPr userDrawn="1"/>
        </p:nvSpPr>
        <p:spPr bwMode="white">
          <a:xfrm>
            <a:off x="22335744" y="12808800"/>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14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1260000" y="1245600"/>
            <a:ext cx="14379996" cy="941796"/>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6800" dirty="0">
                <a:solidFill>
                  <a:schemeClr val="bg1"/>
                </a:solidFill>
              </a:rPr>
              <a:t>Agenda</a:t>
            </a:r>
          </a:p>
        </p:txBody>
      </p:sp>
      <p:cxnSp>
        <p:nvCxnSpPr>
          <p:cNvPr id="13" name="Straight Connector 12"/>
          <p:cNvCxnSpPr/>
          <p:nvPr userDrawn="1"/>
        </p:nvCxnSpPr>
        <p:spPr bwMode="white">
          <a:xfrm>
            <a:off x="1237796" y="2412000"/>
            <a:ext cx="2315260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98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3177" y="3177"/>
          <a:ext cx="3174" cy="3174"/>
        </p:xfrm>
        <a:graphic>
          <a:graphicData uri="http://schemas.openxmlformats.org/presentationml/2006/ole">
            <mc:AlternateContent xmlns:mc="http://schemas.openxmlformats.org/markup-compatibility/2006">
              <mc:Choice xmlns:v="urn:schemas-microsoft-com:vml" Requires="v">
                <p:oleObj spid="_x0000_s8298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3177" y="3177"/>
                        <a:ext cx="3174" cy="3174"/>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342137" y="0"/>
            <a:ext cx="833902" cy="13716000"/>
          </a:xfrm>
          <a:prstGeom prst="rect">
            <a:avLst/>
          </a:prstGeom>
        </p:spPr>
      </p:pic>
      <p:sp>
        <p:nvSpPr>
          <p:cNvPr id="13" name="Rectangle 12"/>
          <p:cNvSpPr/>
          <p:nvPr userDrawn="1"/>
        </p:nvSpPr>
        <p:spPr bwMode="white">
          <a:xfrm>
            <a:off x="8161527" y="-2617"/>
            <a:ext cx="16222474" cy="137186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24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lumMod val="50000"/>
                  </a:schemeClr>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1260001" y="6415431"/>
            <a:ext cx="3094286" cy="886397"/>
          </a:xfrm>
          <a:prstGeom prst="rect">
            <a:avLst/>
          </a:prstGeom>
          <a:noFill/>
        </p:spPr>
        <p:txBody>
          <a:bodyPr wrap="square" lIns="0" tIns="0" rIns="0" bIns="0" rtlCol="0" anchor="t">
            <a:spAutoFit/>
          </a:bodyPr>
          <a:lstStyle/>
          <a:p>
            <a:pPr>
              <a:lnSpc>
                <a:spcPct val="90000"/>
              </a:lnSpc>
              <a:spcAft>
                <a:spcPts val="1200"/>
              </a:spcAft>
            </a:pPr>
            <a:r>
              <a:rPr lang="en-US" sz="6400" dirty="0">
                <a:solidFill>
                  <a:schemeClr val="bg1"/>
                </a:solidFill>
              </a:rPr>
              <a:t>Agenda</a:t>
            </a:r>
          </a:p>
        </p:txBody>
      </p:sp>
    </p:spTree>
    <p:extLst>
      <p:ext uri="{BB962C8B-B14F-4D97-AF65-F5344CB8AC3E}">
        <p14:creationId xmlns:p14="http://schemas.microsoft.com/office/powerpoint/2010/main" val="30578952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3177" y="3177"/>
          <a:ext cx="3174" cy="3174"/>
        </p:xfrm>
        <a:graphic>
          <a:graphicData uri="http://schemas.openxmlformats.org/presentationml/2006/ole">
            <mc:AlternateContent xmlns:mc="http://schemas.openxmlformats.org/markup-compatibility/2006">
              <mc:Choice xmlns:v="urn:schemas-microsoft-com:vml" Requires="v">
                <p:oleObj spid="_x0000_s8400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3177" y="3177"/>
                        <a:ext cx="3174" cy="3174"/>
                      </a:xfrm>
                      <a:prstGeom prst="rect">
                        <a:avLst/>
                      </a:prstGeom>
                    </p:spPr>
                  </p:pic>
                </p:oleObj>
              </mc:Fallback>
            </mc:AlternateContent>
          </a:graphicData>
        </a:graphic>
      </p:graphicFrame>
      <p:sp>
        <p:nvSpPr>
          <p:cNvPr id="5"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14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2776291" y="9382374"/>
            <a:ext cx="1858674" cy="1991748"/>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4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5018964" y="9382374"/>
            <a:ext cx="3140304" cy="2936352"/>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360000" rIns="365760" bIns="365760" numCol="1" spcCol="0" rtlCol="0" fromWordArt="0" anchor="t" anchorCtr="0" forceAA="0" compatLnSpc="1">
            <a:prstTxWarp prst="textNoShape">
              <a:avLst/>
            </a:prstTxWarp>
            <a:noAutofit/>
          </a:bodyPr>
          <a:lstStyle/>
          <a:p>
            <a:pPr>
              <a:lnSpc>
                <a:spcPct val="95000"/>
              </a:lnSpc>
            </a:pPr>
            <a:endParaRPr lang="en-US" sz="2400" dirty="0">
              <a:solidFill>
                <a:srgbClr val="FFFFFF"/>
              </a:solidFill>
              <a:latin typeface="Trebuchet MS" panose="020B0603020202020204" pitchFamily="34" charset="0"/>
            </a:endParaRPr>
          </a:p>
        </p:txBody>
      </p:sp>
      <p:sp>
        <p:nvSpPr>
          <p:cNvPr id="11" name="TextBox 10"/>
          <p:cNvSpPr txBox="1"/>
          <p:nvPr userDrawn="1"/>
        </p:nvSpPr>
        <p:spPr>
          <a:xfrm>
            <a:off x="1260000" y="1814396"/>
            <a:ext cx="6897600" cy="2440935"/>
          </a:xfrm>
          <a:prstGeom prst="rect">
            <a:avLst/>
          </a:prstGeom>
          <a:noFill/>
          <a:ln>
            <a:solidFill>
              <a:schemeClr val="accent4"/>
            </a:solidFill>
          </a:ln>
        </p:spPr>
        <p:txBody>
          <a:bodyPr wrap="square" lIns="1224000" tIns="936000" rIns="0" bIns="0" rtlCol="0" anchor="t">
            <a:spAutoFit/>
          </a:bodyPr>
          <a:lstStyle/>
          <a:p>
            <a:pPr>
              <a:lnSpc>
                <a:spcPct val="90000"/>
              </a:lnSpc>
              <a:spcAft>
                <a:spcPts val="1200"/>
              </a:spcAft>
            </a:pPr>
            <a:endParaRPr lang="en-US" sz="10800" dirty="0">
              <a:solidFill>
                <a:schemeClr val="accent4"/>
              </a:solidFill>
            </a:endParaRPr>
          </a:p>
        </p:txBody>
      </p:sp>
      <p:sp>
        <p:nvSpPr>
          <p:cNvPr id="9" name="TextBox 1"/>
          <p:cNvSpPr txBox="1"/>
          <p:nvPr userDrawn="1"/>
        </p:nvSpPr>
        <p:spPr>
          <a:xfrm>
            <a:off x="2414025" y="2230833"/>
            <a:ext cx="4588114" cy="1671227"/>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10800" dirty="0"/>
              <a:t>Agenda</a:t>
            </a:r>
          </a:p>
        </p:txBody>
      </p:sp>
    </p:spTree>
    <p:extLst>
      <p:ext uri="{BB962C8B-B14F-4D97-AF65-F5344CB8AC3E}">
        <p14:creationId xmlns:p14="http://schemas.microsoft.com/office/powerpoint/2010/main" val="138883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37048553"/>
              </p:ext>
            </p:extLst>
          </p:nvPr>
        </p:nvGraphicFramePr>
        <p:xfrm>
          <a:off x="3177" y="3177"/>
          <a:ext cx="3174" cy="3174"/>
        </p:xfrm>
        <a:graphic>
          <a:graphicData uri="http://schemas.openxmlformats.org/presentationml/2006/ole">
            <mc:AlternateContent xmlns:mc="http://schemas.openxmlformats.org/markup-compatibility/2006">
              <mc:Choice xmlns:v="urn:schemas-microsoft-com:vml" Requires="v">
                <p:oleObj spid="_x0000_s8502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3177" y="3177"/>
                        <a:ext cx="3174" cy="3174"/>
                      </a:xfrm>
                      <a:prstGeom prst="rect">
                        <a:avLst/>
                      </a:prstGeom>
                    </p:spPr>
                  </p:pic>
                </p:oleObj>
              </mc:Fallback>
            </mc:AlternateContent>
          </a:graphicData>
        </a:graphic>
      </p:graphicFrame>
      <p:sp>
        <p:nvSpPr>
          <p:cNvPr id="5"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14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2569486" y="2856262"/>
            <a:ext cx="1895344" cy="189534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24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2570400" y="5335200"/>
            <a:ext cx="19238400" cy="64008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4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41920663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3177" y="3177"/>
          <a:ext cx="3174" cy="3174"/>
        </p:xfrm>
        <a:graphic>
          <a:graphicData uri="http://schemas.openxmlformats.org/presentationml/2006/ole">
            <mc:AlternateContent xmlns:mc="http://schemas.openxmlformats.org/markup-compatibility/2006">
              <mc:Choice xmlns:v="urn:schemas-microsoft-com:vml" Requires="v">
                <p:oleObj spid="_x0000_s8605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3177" y="3177"/>
                        <a:ext cx="3174" cy="3174"/>
                      </a:xfrm>
                      <a:prstGeom prst="rect">
                        <a:avLst/>
                      </a:prstGeom>
                    </p:spPr>
                  </p:pic>
                </p:oleObj>
              </mc:Fallback>
            </mc:AlternateContent>
          </a:graphicData>
        </a:graphic>
      </p:graphicFrame>
      <p:sp>
        <p:nvSpPr>
          <p:cNvPr id="5"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14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1260000" y="1245600"/>
            <a:ext cx="14379996" cy="941796"/>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6800" dirty="0">
                <a:solidFill>
                  <a:schemeClr val="accent4"/>
                </a:solidFill>
              </a:rPr>
              <a:t>Agenda</a:t>
            </a:r>
          </a:p>
        </p:txBody>
      </p:sp>
      <p:cxnSp>
        <p:nvCxnSpPr>
          <p:cNvPr id="9" name="Straight Connector 8"/>
          <p:cNvCxnSpPr/>
          <p:nvPr userDrawn="1"/>
        </p:nvCxnSpPr>
        <p:spPr bwMode="white">
          <a:xfrm>
            <a:off x="1237796" y="2412000"/>
            <a:ext cx="23152608"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1511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3177" y="3177"/>
          <a:ext cx="3174" cy="3174"/>
        </p:xfrm>
        <a:graphic>
          <a:graphicData uri="http://schemas.openxmlformats.org/presentationml/2006/ole">
            <mc:AlternateContent xmlns:mc="http://schemas.openxmlformats.org/markup-compatibility/2006">
              <mc:Choice xmlns:v="urn:schemas-microsoft-com:vml" Requires="v">
                <p:oleObj spid="_x0000_s8707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3177" y="3177"/>
                        <a:ext cx="3174" cy="3174"/>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342137" y="0"/>
            <a:ext cx="833902" cy="13716000"/>
          </a:xfrm>
          <a:prstGeom prst="rect">
            <a:avLst/>
          </a:prstGeom>
        </p:spPr>
      </p:pic>
      <p:sp>
        <p:nvSpPr>
          <p:cNvPr id="26" name="Rectangle 25"/>
          <p:cNvSpPr/>
          <p:nvPr userDrawn="1"/>
        </p:nvSpPr>
        <p:spPr bwMode="ltGray">
          <a:xfrm>
            <a:off x="8161527" y="-2617"/>
            <a:ext cx="16222474" cy="137186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24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lumMod val="50000"/>
                  </a:schemeClr>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1260001" y="6524291"/>
            <a:ext cx="2322094" cy="664797"/>
          </a:xfrm>
          <a:prstGeom prst="rect">
            <a:avLst/>
          </a:prstGeom>
          <a:noFill/>
        </p:spPr>
        <p:txBody>
          <a:bodyPr wrap="square" lIns="0" tIns="0" rIns="0" bIns="0" rtlCol="0" anchor="t">
            <a:spAutoFit/>
          </a:bodyPr>
          <a:lstStyle/>
          <a:p>
            <a:pPr>
              <a:lnSpc>
                <a:spcPct val="90000"/>
              </a:lnSpc>
              <a:spcAft>
                <a:spcPts val="1200"/>
              </a:spcAft>
            </a:pPr>
            <a:r>
              <a:rPr lang="en-US" sz="4800" dirty="0">
                <a:solidFill>
                  <a:schemeClr val="bg1"/>
                </a:solidFill>
              </a:rPr>
              <a:t>Agenda</a:t>
            </a:r>
          </a:p>
        </p:txBody>
      </p:sp>
    </p:spTree>
    <p:extLst>
      <p:ext uri="{BB962C8B-B14F-4D97-AF65-F5344CB8AC3E}">
        <p14:creationId xmlns:p14="http://schemas.microsoft.com/office/powerpoint/2010/main" val="31633091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3177" y="3177"/>
          <a:ext cx="3174" cy="3174"/>
        </p:xfrm>
        <a:graphic>
          <a:graphicData uri="http://schemas.openxmlformats.org/presentationml/2006/ole">
            <mc:AlternateContent xmlns:mc="http://schemas.openxmlformats.org/markup-compatibility/2006">
              <mc:Choice xmlns:v="urn:schemas-microsoft-com:vml" Requires="v">
                <p:oleObj spid="_x0000_s8810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3177" y="3177"/>
                        <a:ext cx="3174" cy="3174"/>
                      </a:xfrm>
                      <a:prstGeom prst="rect">
                        <a:avLst/>
                      </a:prstGeom>
                    </p:spPr>
                  </p:pic>
                </p:oleObj>
              </mc:Fallback>
            </mc:AlternateContent>
          </a:graphicData>
        </a:graphic>
      </p:graphicFrame>
      <p:sp>
        <p:nvSpPr>
          <p:cNvPr id="13" name="Freeform 12"/>
          <p:cNvSpPr/>
          <p:nvPr/>
        </p:nvSpPr>
        <p:spPr bwMode="ltGray">
          <a:xfrm>
            <a:off x="0" y="0"/>
            <a:ext cx="8176624" cy="13716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2000"/>
              </a:spcAft>
            </a:pPr>
            <a:endParaRPr lang="en-US" sz="24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8176624" cy="13716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2000"/>
              </a:spcAft>
            </a:pPr>
            <a:endParaRPr lang="en-US" sz="24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1260000" y="5217102"/>
            <a:ext cx="5638800" cy="3401059"/>
          </a:xfrm>
          <a:prstGeom prst="rect">
            <a:avLst/>
          </a:prstGeom>
          <a:noFill/>
        </p:spPr>
        <p:txBody>
          <a:bodyPr wrap="square" lIns="0" tIns="0" rIns="0" bIns="0" rtlCol="0" anchor="ctr">
            <a:spAutoFit/>
          </a:bodyPr>
          <a:lstStyle/>
          <a:p>
            <a:pPr marL="0" indent="0">
              <a:lnSpc>
                <a:spcPct val="106000"/>
              </a:lnSpc>
              <a:spcAft>
                <a:spcPts val="1400"/>
              </a:spcAft>
              <a:buFontTx/>
              <a:buNone/>
            </a:pPr>
            <a:r>
              <a:rPr lang="en-US" sz="108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14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6217276" y="7173496"/>
            <a:ext cx="2730500" cy="6765924"/>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96289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4032" y="3177"/>
          <a:ext cx="4032" cy="3176"/>
        </p:xfrm>
        <a:graphic>
          <a:graphicData uri="http://schemas.openxmlformats.org/presentationml/2006/ole">
            <mc:AlternateContent xmlns:mc="http://schemas.openxmlformats.org/markup-compatibility/2006">
              <mc:Choice xmlns:v="urn:schemas-microsoft-com:vml" Requires="v">
                <p:oleObj spid="_x0000_s1232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4032" y="3177"/>
                        <a:ext cx="4032" cy="3176"/>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6400"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pic>
        <p:nvPicPr>
          <p:cNvPr id="63"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14470751" y="0"/>
            <a:ext cx="1058749" cy="13716000"/>
          </a:xfrm>
          <a:prstGeom prst="rect">
            <a:avLst/>
          </a:prstGeom>
        </p:spPr>
      </p:pic>
      <p:sp>
        <p:nvSpPr>
          <p:cNvPr id="65" name="PanelGray"/>
          <p:cNvSpPr/>
          <p:nvPr userDrawn="1"/>
        </p:nvSpPr>
        <p:spPr bwMode="white">
          <a:xfrm>
            <a:off x="15532272" y="-2619"/>
            <a:ext cx="8851728" cy="13718619"/>
          </a:xfrm>
          <a:custGeom>
            <a:avLst/>
            <a:gdLst>
              <a:gd name="connsiteX0" fmla="*/ 0 w 6553548"/>
              <a:gd name="connsiteY0" fmla="*/ 0 h 6859309"/>
              <a:gd name="connsiteX1" fmla="*/ 6553548 w 6553548"/>
              <a:gd name="connsiteY1" fmla="*/ 0 h 6859309"/>
              <a:gd name="connsiteX2" fmla="*/ 6553548 w 6553548"/>
              <a:gd name="connsiteY2" fmla="*/ 6859309 h 6859309"/>
              <a:gd name="connsiteX3" fmla="*/ 0 w 6553548"/>
              <a:gd name="connsiteY3" fmla="*/ 6859309 h 6859309"/>
            </a:gdLst>
            <a:ahLst/>
            <a:cxnLst>
              <a:cxn ang="0">
                <a:pos x="connsiteX0" y="connsiteY0"/>
              </a:cxn>
              <a:cxn ang="0">
                <a:pos x="connsiteX1" y="connsiteY1"/>
              </a:cxn>
              <a:cxn ang="0">
                <a:pos x="connsiteX2" y="connsiteY2"/>
              </a:cxn>
              <a:cxn ang="0">
                <a:pos x="connsiteX3" y="connsiteY3"/>
              </a:cxn>
            </a:cxnLst>
            <a:rect l="l" t="t" r="r" b="b"/>
            <a:pathLst>
              <a:path w="6553548" h="6859309">
                <a:moveTo>
                  <a:pt x="0" y="0"/>
                </a:moveTo>
                <a:lnTo>
                  <a:pt x="6553548" y="0"/>
                </a:lnTo>
                <a:lnTo>
                  <a:pt x="6553548" y="6859309"/>
                </a:lnTo>
                <a:lnTo>
                  <a:pt x="0" y="6859309"/>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11" name="Picture Placeholder 5"/>
          <p:cNvSpPr>
            <a:spLocks noGrp="1"/>
          </p:cNvSpPr>
          <p:nvPr userDrawn="1">
            <p:ph type="pic" sz="quarter" idx="11" hasCustomPrompt="1"/>
          </p:nvPr>
        </p:nvSpPr>
        <p:spPr>
          <a:xfrm>
            <a:off x="15535179" y="0"/>
            <a:ext cx="8848821" cy="13716000"/>
          </a:xfrm>
          <a:prstGeom prst="rect">
            <a:avLst/>
          </a:prstGeom>
          <a:noFill/>
        </p:spPr>
        <p:txBody>
          <a:bodyPr lIns="182880" tIns="914400" rIns="182880" bIns="914400"/>
          <a:lstStyle>
            <a:lvl1pPr algn="ctr">
              <a:defRPr sz="3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3" name="Page"/>
          <p:cNvSpPr txBox="1"/>
          <p:nvPr userDrawn="1"/>
        </p:nvSpPr>
        <p:spPr>
          <a:xfrm>
            <a:off x="21966653" y="12810073"/>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lumMod val="50000"/>
                  </a:prstClr>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solidFill>
                <a:prstClr val="white">
                  <a:lumMod val="50000"/>
                </a:prstClr>
              </a:solidFill>
              <a:effectLst/>
              <a:uLnTx/>
              <a:uFillTx/>
              <a:latin typeface="Garamond"/>
              <a:ea typeface="+mn-ea"/>
              <a:cs typeface="+mn-cs"/>
              <a:sym typeface="+mn-lt"/>
            </a:endParaRPr>
          </a:p>
        </p:txBody>
      </p:sp>
      <p:sp>
        <p:nvSpPr>
          <p:cNvPr id="12" name="Date Placeholder 2"/>
          <p:cNvSpPr>
            <a:spLocks noGrp="1"/>
          </p:cNvSpPr>
          <p:nvPr userDrawn="1">
            <p:ph type="dt" sz="half" idx="12"/>
          </p:nvPr>
        </p:nvSpPr>
        <p:spPr>
          <a:xfrm>
            <a:off x="20037833" y="12810073"/>
            <a:ext cx="1928824" cy="307777"/>
          </a:xfrm>
          <a:prstGeom prst="rect">
            <a:avLst/>
          </a:prstGeom>
        </p:spPr>
        <p:txBody>
          <a:bodyPr/>
          <a:lstStyle>
            <a:lvl1pPr>
              <a:defRPr>
                <a:solidFill>
                  <a:schemeClr val="bg1">
                    <a:lumMod val="50000"/>
                  </a:schemeClr>
                </a:solidFill>
                <a:latin typeface="+mn-lt"/>
                <a:ea typeface="+mn-ea"/>
                <a:cs typeface="+mn-cs"/>
                <a:sym typeface="+mn-lt"/>
              </a:defRPr>
            </a:lvl1pPr>
          </a:lstStyle>
          <a:p>
            <a:pPr defTabSz="2116120" hangingPunct="1"/>
            <a:fld id="{037C022E-2DED-4FBC-B81A-093AD55A1631}" type="datetime1">
              <a:rPr lang="en-US" b="0" kern="1200" cap="none" smtClean="0">
                <a:solidFill>
                  <a:prstClr val="white">
                    <a:lumMod val="50000"/>
                  </a:prstClr>
                </a:solidFill>
                <a:effectLst/>
              </a:rPr>
              <a:t>5/6/21</a:t>
            </a:fld>
            <a:endParaRPr lang="en-US" b="0" kern="1200" cap="none" dirty="0">
              <a:solidFill>
                <a:prstClr val="white">
                  <a:lumMod val="50000"/>
                </a:prstClr>
              </a:solidFill>
              <a:effectLst/>
            </a:endParaRPr>
          </a:p>
        </p:txBody>
      </p:sp>
      <p:sp>
        <p:nvSpPr>
          <p:cNvPr id="15" name="Copyright" hidden="1"/>
          <p:cNvSpPr txBox="1"/>
          <p:nvPr userDrawn="1"/>
        </p:nvSpPr>
        <p:spPr>
          <a:xfrm rot="16200000">
            <a:off x="18899106"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lumMod val="50000"/>
                  </a:prstClr>
                </a:solidFill>
                <a:effectLst/>
                <a:uLnTx/>
                <a:uFillTx/>
                <a:latin typeface="Garamond"/>
                <a:ea typeface="+mn-ea"/>
                <a:cs typeface="+mn-cs"/>
                <a:sym typeface="+mn-lt"/>
              </a:rPr>
              <a:t>Copyright © 2020 by Boston Consulting Group. All rights reserved.</a:t>
            </a:r>
          </a:p>
        </p:txBody>
      </p:sp>
      <p:sp>
        <p:nvSpPr>
          <p:cNvPr id="14" name="Title 1"/>
          <p:cNvSpPr>
            <a:spLocks noGrp="1"/>
          </p:cNvSpPr>
          <p:nvPr userDrawn="1">
            <p:ph type="title" hasCustomPrompt="1"/>
          </p:nvPr>
        </p:nvSpPr>
        <p:spPr bwMode="blackWhite">
          <a:xfrm>
            <a:off x="1260001" y="3571200"/>
            <a:ext cx="12459208" cy="6573600"/>
          </a:xfrm>
          <a:prstGeom prst="rect">
            <a:avLst/>
          </a:prstGeom>
        </p:spPr>
        <p:txBody>
          <a:bodyPr anchor="ctr">
            <a:noAutofit/>
          </a:bodyPr>
          <a:lstStyle>
            <a:lvl1pPr>
              <a:defRPr sz="6400">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6524594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044672373"/>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spid="_x0000_s90148" name="think-cell Slide" r:id="rId7" imgW="384" imgH="384" progId="TCLayout.ActiveDocument.1">
                  <p:embed/>
                </p:oleObj>
              </mc:Choice>
              <mc:Fallback>
                <p:oleObj name="think-cell Slide" r:id="rId7" imgW="384" imgH="384" progId="TCLayout.ActiveDocument.1">
                  <p:embed/>
                  <p:pic>
                    <p:nvPicPr>
                      <p:cNvPr id="4" name="Object 3" hidden="1"/>
                      <p:cNvPicPr/>
                      <p:nvPr/>
                    </p:nvPicPr>
                    <p:blipFill>
                      <a:blip r:embed="rId8"/>
                      <a:stretch>
                        <a:fillRect/>
                      </a:stretch>
                    </p:blipFill>
                    <p:spPr>
                      <a:xfrm>
                        <a:off x="3176" y="3176"/>
                        <a:ext cx="3176" cy="3176"/>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317500" cy="31750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108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10558367"/>
            <a:ext cx="24384000" cy="3157634"/>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2000"/>
              </a:spcAft>
            </a:pPr>
            <a:endParaRPr lang="en-US" sz="24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16943843" y="3946544"/>
            <a:ext cx="1161146" cy="13716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24384000" cy="10553700"/>
          </a:xfrm>
          <a:prstGeom prst="rect">
            <a:avLst/>
          </a:prstGeom>
        </p:spPr>
      </p:pic>
      <p:sp>
        <p:nvSpPr>
          <p:cNvPr id="20" name="Picture Placeholder 8"/>
          <p:cNvSpPr>
            <a:spLocks noGrp="1"/>
          </p:cNvSpPr>
          <p:nvPr>
            <p:ph type="pic" sz="quarter" idx="13" hasCustomPrompt="1"/>
          </p:nvPr>
        </p:nvSpPr>
        <p:spPr>
          <a:xfrm>
            <a:off x="18733123" y="11141285"/>
            <a:ext cx="3735870" cy="1793666"/>
          </a:xfrm>
          <a:prstGeom prst="rect">
            <a:avLst/>
          </a:prstGeom>
        </p:spPr>
        <p:txBody>
          <a:bodyPr anchor="b"/>
          <a:lstStyle>
            <a:lvl1pPr algn="ctr">
              <a:defRPr sz="32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1261872" y="1252400"/>
            <a:ext cx="16250400" cy="11059200"/>
          </a:xfrm>
          <a:prstGeom prst="rect">
            <a:avLst/>
          </a:prstGeom>
          <a:gradFill flip="none" rotWithShape="1">
            <a:gsLst>
              <a:gs pos="0">
                <a:srgbClr val="1D2B5D">
                  <a:alpha val="80000"/>
                </a:srgbClr>
              </a:gs>
              <a:gs pos="100000">
                <a:srgbClr val="4E67C7"/>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4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2234830" y="12415684"/>
            <a:ext cx="13737600" cy="654296"/>
          </a:xfrm>
          <a:prstGeom prst="rect">
            <a:avLst/>
          </a:prstGeom>
          <a:noFill/>
        </p:spPr>
        <p:txBody>
          <a:bodyPr anchor="ctr"/>
          <a:lstStyle>
            <a:lvl1pPr algn="l">
              <a:lnSpc>
                <a:spcPct val="110000"/>
              </a:lnSpc>
              <a:buNone/>
              <a:defRPr sz="24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457200" indent="0" algn="ctr">
              <a:buNone/>
              <a:defRPr/>
            </a:lvl4pPr>
            <a:lvl5pPr marL="9144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2234830" y="10991413"/>
            <a:ext cx="13737600" cy="872390"/>
          </a:xfrm>
          <a:prstGeom prst="rect">
            <a:avLst/>
          </a:prstGeom>
        </p:spPr>
        <p:txBody>
          <a:bodyPr anchor="ctr"/>
          <a:lstStyle>
            <a:lvl1pPr marL="0" indent="0" algn="l">
              <a:lnSpc>
                <a:spcPct val="110000"/>
              </a:lnSpc>
              <a:buNone/>
              <a:defRPr sz="3200" baseline="0">
                <a:solidFill>
                  <a:schemeClr val="bg1"/>
                </a:solidFill>
                <a:latin typeface="+mn-lt"/>
                <a:sym typeface="Trebuchet MS" panose="020B0603020202020204" pitchFamily="34" charset="0"/>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dirty="0"/>
              <a:t>Subtitle in sentence case</a:t>
            </a:r>
          </a:p>
        </p:txBody>
      </p:sp>
      <p:sp>
        <p:nvSpPr>
          <p:cNvPr id="27" name="Title 1"/>
          <p:cNvSpPr>
            <a:spLocks noGrp="1"/>
          </p:cNvSpPr>
          <p:nvPr>
            <p:ph type="ctrTitle" hasCustomPrompt="1"/>
          </p:nvPr>
        </p:nvSpPr>
        <p:spPr bwMode="ltGray">
          <a:xfrm>
            <a:off x="2234830" y="3772485"/>
            <a:ext cx="13737600" cy="6276846"/>
          </a:xfrm>
          <a:prstGeom prst="rect">
            <a:avLst/>
          </a:prstGeom>
        </p:spPr>
        <p:txBody>
          <a:bodyPr anchor="b">
            <a:normAutofit/>
          </a:bodyPr>
          <a:lstStyle>
            <a:lvl1pPr algn="l">
              <a:lnSpc>
                <a:spcPct val="93000"/>
              </a:lnSpc>
              <a:defRPr sz="108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2234830" y="2225359"/>
            <a:ext cx="4655288" cy="972958"/>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noAutofit/>
          </a:bodyPr>
          <a:lstStyle/>
          <a:p>
            <a:endParaRPr lang="en-US" sz="8400"/>
          </a:p>
        </p:txBody>
      </p:sp>
    </p:spTree>
    <p:extLst>
      <p:ext uri="{BB962C8B-B14F-4D97-AF65-F5344CB8AC3E}">
        <p14:creationId xmlns:p14="http://schemas.microsoft.com/office/powerpoint/2010/main" val="4180205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19354801" y="12810072"/>
            <a:ext cx="2964102" cy="307776"/>
          </a:xfrm>
          <a:prstGeom prst="rect">
            <a:avLst/>
          </a:prstGeom>
        </p:spPr>
        <p:txBody>
          <a:bodyPr/>
          <a:lstStyle>
            <a:lvl1pPr>
              <a:defRPr>
                <a:latin typeface="+mn-lt"/>
                <a:sym typeface="Trebuchet MS" panose="020B0603020202020204" pitchFamily="34" charset="0"/>
              </a:defRPr>
            </a:lvl1pPr>
          </a:lstStyle>
          <a:p>
            <a:fld id="{29F7F237-C4C3-4FF0-A16D-015967600181}" type="datetime1">
              <a:rPr lang="en-US" smtClean="0"/>
              <a:t>5/6/21</a:t>
            </a:fld>
            <a:endParaRPr lang="en-US" dirty="0"/>
          </a:p>
        </p:txBody>
      </p:sp>
      <p:sp>
        <p:nvSpPr>
          <p:cNvPr id="7"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1260000" y="1245600"/>
            <a:ext cx="21866400" cy="941796"/>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68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3205334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1260000" y="1245600"/>
            <a:ext cx="21866700" cy="941796"/>
          </a:xfrm>
        </p:spPr>
        <p:txBody>
          <a:bodyPr/>
          <a:lstStyle>
            <a:lvl1pPr>
              <a:defRPr sz="68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1258799" y="4171257"/>
            <a:ext cx="21867602" cy="8178262"/>
          </a:xfrm>
        </p:spPr>
        <p:txBody>
          <a:bodyPr/>
          <a:lstStyle>
            <a:lvl1pPr>
              <a:lnSpc>
                <a:spcPct val="100000"/>
              </a:lnSpc>
              <a:spcBef>
                <a:spcPts val="0"/>
              </a:spcBef>
              <a:spcAft>
                <a:spcPts val="0"/>
              </a:spcAft>
              <a:defRPr sz="4000"/>
            </a:lvl1pPr>
            <a:lvl2pPr>
              <a:lnSpc>
                <a:spcPct val="100000"/>
              </a:lnSpc>
              <a:spcBef>
                <a:spcPts val="0"/>
              </a:spcBef>
              <a:spcAft>
                <a:spcPts val="0"/>
              </a:spcAft>
              <a:defRPr sz="4000"/>
            </a:lvl2pPr>
            <a:lvl3pPr>
              <a:lnSpc>
                <a:spcPct val="100000"/>
              </a:lnSpc>
              <a:spcBef>
                <a:spcPts val="0"/>
              </a:spcBef>
              <a:spcAft>
                <a:spcPts val="0"/>
              </a:spcAft>
              <a:defRPr sz="4000"/>
            </a:lvl3pPr>
            <a:lvl4pPr>
              <a:lnSpc>
                <a:spcPct val="100000"/>
              </a:lnSpc>
              <a:spcBef>
                <a:spcPts val="0"/>
              </a:spcBef>
              <a:spcAft>
                <a:spcPts val="0"/>
              </a:spcAft>
              <a:defRPr sz="5600"/>
            </a:lvl4pPr>
            <a:lvl5pPr>
              <a:lnSpc>
                <a:spcPct val="100000"/>
              </a:lnSpc>
              <a:spcBef>
                <a:spcPts val="0"/>
              </a:spcBef>
              <a:spcAft>
                <a:spcPts val="0"/>
              </a:spcAft>
              <a:defRPr sz="5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131306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2" y="-2617"/>
            <a:ext cx="9388800" cy="13718618"/>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l">
              <a:lnSpc>
                <a:spcPct val="90000"/>
              </a:lnSpc>
              <a:spcAft>
                <a:spcPts val="2000"/>
              </a:spcAft>
            </a:pPr>
            <a:endParaRPr lang="en-US" sz="2400" dirty="0">
              <a:solidFill>
                <a:schemeClr val="bg1"/>
              </a:solidFill>
              <a:latin typeface="+mn-lt"/>
            </a:endParaRPr>
          </a:p>
        </p:txBody>
      </p:sp>
      <p:sp>
        <p:nvSpPr>
          <p:cNvPr id="3" name="Date Placeholder 2"/>
          <p:cNvSpPr>
            <a:spLocks noGrp="1"/>
          </p:cNvSpPr>
          <p:nvPr>
            <p:ph type="dt" sz="half" idx="10"/>
          </p:nvPr>
        </p:nvSpPr>
        <p:spPr>
          <a:xfrm>
            <a:off x="19354801" y="12810072"/>
            <a:ext cx="2964102" cy="307776"/>
          </a:xfrm>
          <a:prstGeom prst="rect">
            <a:avLst/>
          </a:prstGeom>
        </p:spPr>
        <p:txBody>
          <a:bodyPr/>
          <a:lstStyle>
            <a:lvl1pPr>
              <a:defRPr>
                <a:latin typeface="+mn-lt"/>
                <a:sym typeface="Trebuchet MS" panose="020B0603020202020204" pitchFamily="34" charset="0"/>
              </a:defRPr>
            </a:lvl1pPr>
          </a:lstStyle>
          <a:p>
            <a:fld id="{9B6D2F0F-3F88-4318-9450-A00506B73704}" type="datetime1">
              <a:rPr lang="en-US" smtClean="0"/>
              <a:t>5/6/21</a:t>
            </a:fld>
            <a:endParaRPr lang="en-US" dirty="0"/>
          </a:p>
        </p:txBody>
      </p:sp>
      <p:sp>
        <p:nvSpPr>
          <p:cNvPr id="9" name="Title 1"/>
          <p:cNvSpPr>
            <a:spLocks noGrp="1"/>
          </p:cNvSpPr>
          <p:nvPr>
            <p:ph type="title" hasCustomPrompt="1"/>
          </p:nvPr>
        </p:nvSpPr>
        <p:spPr bwMode="ltGray">
          <a:xfrm>
            <a:off x="1260000" y="3088548"/>
            <a:ext cx="6904800" cy="2991588"/>
          </a:xfrm>
          <a:noFill/>
        </p:spPr>
        <p:txBody>
          <a:bodyPr wrap="square" lIns="0" tIns="0" rIns="320040" bIns="0" anchor="b">
            <a:noAutofit/>
          </a:bodyPr>
          <a:lstStyle>
            <a:lvl1pPr>
              <a:defRPr sz="6400">
                <a:solidFill>
                  <a:schemeClr val="tx2"/>
                </a:solidFill>
                <a:latin typeface="+mj-lt"/>
              </a:defRPr>
            </a:lvl1pPr>
          </a:lstStyle>
          <a:p>
            <a:r>
              <a:rPr lang="en-US" dirty="0"/>
              <a:t>Click to add title</a:t>
            </a:r>
          </a:p>
        </p:txBody>
      </p:sp>
      <p:sp>
        <p:nvSpPr>
          <p:cNvPr id="11"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61156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2569485" y="5336082"/>
            <a:ext cx="19240982" cy="6402052"/>
          </a:xfrm>
          <a:prstGeom prst="rect">
            <a:avLst/>
          </a:prstGeom>
          <a:ln w="9525">
            <a:solidFill>
              <a:schemeClr val="bg1"/>
            </a:solidFill>
          </a:ln>
        </p:spPr>
        <p:txBody>
          <a:bodyPr lIns="274320" tIns="274320" rIns="274320" bIns="137160" anchor="b">
            <a:noAutofit/>
          </a:bodyPr>
          <a:lstStyle>
            <a:lvl1pPr marL="0" algn="l" defTabSz="1828800" rtl="0" eaLnBrk="1" fontAlgn="auto" latinLnBrk="0" hangingPunct="1">
              <a:lnSpc>
                <a:spcPts val="12000"/>
              </a:lnSpc>
              <a:spcBef>
                <a:spcPts val="0"/>
              </a:spcBef>
              <a:spcAft>
                <a:spcPts val="0"/>
              </a:spcAft>
              <a:defRPr lang="en-US" sz="108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19354801" y="12810072"/>
            <a:ext cx="2964102" cy="307776"/>
          </a:xfrm>
          <a:prstGeom prst="rect">
            <a:avLst/>
          </a:prstGeom>
        </p:spPr>
        <p:txBody>
          <a:bodyPr/>
          <a:lstStyle>
            <a:lvl1pPr>
              <a:defRPr>
                <a:solidFill>
                  <a:schemeClr val="bg1"/>
                </a:solidFill>
                <a:latin typeface="+mn-lt"/>
                <a:sym typeface="Trebuchet MS" panose="020B0603020202020204" pitchFamily="34" charset="0"/>
              </a:defRPr>
            </a:lvl1pPr>
          </a:lstStyle>
          <a:p>
            <a:fld id="{1EC1964A-1A8B-4108-8ACC-50342DF40CD4}" type="datetime1">
              <a:rPr lang="en-US" smtClean="0"/>
              <a:t>5/6/21</a:t>
            </a:fld>
            <a:endParaRPr lang="en-US" dirty="0"/>
          </a:p>
        </p:txBody>
      </p:sp>
      <p:sp>
        <p:nvSpPr>
          <p:cNvPr id="12"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mn-lt"/>
                <a:sym typeface="Trebuchet MS" panose="020B0603020202020204" pitchFamily="34" charset="0"/>
              </a:rPr>
              <a:t>Copyright © 2020 by Boston Consulting Group. All rights reserved.</a:t>
            </a:r>
            <a:endParaRPr lang="en-US" sz="1400" dirty="0">
              <a:solidFill>
                <a:schemeClr val="bg1"/>
              </a:solidFill>
              <a:latin typeface="+mn-lt"/>
              <a:sym typeface="Trebuchet MS" panose="020B0603020202020204" pitchFamily="34" charset="0"/>
            </a:endParaRPr>
          </a:p>
        </p:txBody>
      </p:sp>
      <p:sp>
        <p:nvSpPr>
          <p:cNvPr id="59" name="Rectangle 58"/>
          <p:cNvSpPr/>
          <p:nvPr userDrawn="1"/>
        </p:nvSpPr>
        <p:spPr bwMode="white">
          <a:xfrm>
            <a:off x="2569486" y="2856262"/>
            <a:ext cx="1895344" cy="1895344"/>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24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600713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19354801" y="12810072"/>
            <a:ext cx="2964102" cy="307776"/>
          </a:xfrm>
          <a:prstGeom prst="rect">
            <a:avLst/>
          </a:prstGeom>
        </p:spPr>
        <p:txBody>
          <a:bodyPr/>
          <a:lstStyle>
            <a:lvl1pPr>
              <a:defRPr>
                <a:solidFill>
                  <a:schemeClr val="bg1"/>
                </a:solidFill>
                <a:latin typeface="+mn-lt"/>
                <a:sym typeface="Trebuchet MS" panose="020B0603020202020204" pitchFamily="34" charset="0"/>
              </a:defRPr>
            </a:lvl1pPr>
          </a:lstStyle>
          <a:p>
            <a:fld id="{75DCFF86-3DE3-430A-9705-B692F5ABF982}" type="datetime1">
              <a:rPr lang="en-US" smtClean="0"/>
              <a:t>5/6/21</a:t>
            </a:fld>
            <a:endParaRPr lang="en-US" dirty="0"/>
          </a:p>
        </p:txBody>
      </p:sp>
      <p:sp>
        <p:nvSpPr>
          <p:cNvPr id="147" name="Title 1"/>
          <p:cNvSpPr>
            <a:spLocks noGrp="1"/>
          </p:cNvSpPr>
          <p:nvPr>
            <p:ph type="title" hasCustomPrompt="1"/>
          </p:nvPr>
        </p:nvSpPr>
        <p:spPr bwMode="blackWhite">
          <a:xfrm>
            <a:off x="1260000" y="7653600"/>
            <a:ext cx="21873600" cy="4082400"/>
          </a:xfrm>
        </p:spPr>
        <p:txBody>
          <a:bodyPr anchor="t">
            <a:noAutofit/>
          </a:bodyPr>
          <a:lstStyle>
            <a:lvl1pPr>
              <a:defRPr sz="108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1237796" y="7360032"/>
            <a:ext cx="23152608"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7036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8129989" y="0"/>
            <a:ext cx="833902" cy="13716000"/>
          </a:xfrm>
          <a:prstGeom prst="rect">
            <a:avLst/>
          </a:prstGeom>
        </p:spPr>
      </p:pic>
      <p:sp>
        <p:nvSpPr>
          <p:cNvPr id="17" name="Date Placeholder 1"/>
          <p:cNvSpPr>
            <a:spLocks noGrp="1"/>
          </p:cNvSpPr>
          <p:nvPr>
            <p:ph type="dt" sz="half" idx="31"/>
          </p:nvPr>
        </p:nvSpPr>
        <p:spPr>
          <a:xfrm>
            <a:off x="19354801" y="12810072"/>
            <a:ext cx="2964102" cy="307776"/>
          </a:xfrm>
          <a:prstGeom prst="rect">
            <a:avLst/>
          </a:prstGeom>
        </p:spPr>
        <p:txBody>
          <a:bodyPr/>
          <a:lstStyle>
            <a:lvl1pPr>
              <a:defRPr>
                <a:solidFill>
                  <a:schemeClr val="bg1"/>
                </a:solidFill>
                <a:latin typeface="+mn-lt"/>
                <a:sym typeface="Trebuchet MS" panose="020B0603020202020204" pitchFamily="34" charset="0"/>
              </a:defRPr>
            </a:lvl1pPr>
          </a:lstStyle>
          <a:p>
            <a:fld id="{7AF5ACC1-EEFC-4189-86B3-0F47FE78596F}" type="datetime1">
              <a:rPr lang="en-US" smtClean="0"/>
              <a:t>5/6/21</a:t>
            </a:fld>
            <a:endParaRPr lang="en-US" dirty="0"/>
          </a:p>
        </p:txBody>
      </p:sp>
      <p:sp>
        <p:nvSpPr>
          <p:cNvPr id="25"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mn-lt"/>
                <a:sym typeface="Trebuchet MS" panose="020B0603020202020204" pitchFamily="34" charset="0"/>
              </a:rPr>
              <a:t>Copyright © 2020 by Boston Consulting Group. All rights reserved.</a:t>
            </a:r>
            <a:endParaRPr lang="en-US" sz="1400" dirty="0">
              <a:solidFill>
                <a:schemeClr val="bg1"/>
              </a:solidFill>
              <a:latin typeface="+mn-lt"/>
              <a:sym typeface="Trebuchet MS" panose="020B0603020202020204" pitchFamily="34" charset="0"/>
            </a:endParaRPr>
          </a:p>
        </p:txBody>
      </p:sp>
      <p:sp>
        <p:nvSpPr>
          <p:cNvPr id="20" name="TextBox 19"/>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8159016" cy="1371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24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1260001" y="5362206"/>
            <a:ext cx="6255762" cy="2991588"/>
          </a:xfrm>
          <a:prstGeom prst="rect">
            <a:avLst/>
          </a:prstGeom>
        </p:spPr>
        <p:txBody>
          <a:bodyPr anchor="ctr">
            <a:noAutofit/>
          </a:bodyPr>
          <a:lstStyle>
            <a:lvl1pPr>
              <a:defRPr sz="6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42757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14331213" y="0"/>
            <a:ext cx="833902" cy="13716000"/>
          </a:xfrm>
          <a:prstGeom prst="rect">
            <a:avLst/>
          </a:prstGeom>
        </p:spPr>
      </p:pic>
      <p:sp>
        <p:nvSpPr>
          <p:cNvPr id="13" name="Rectangle 12"/>
          <p:cNvSpPr/>
          <p:nvPr userDrawn="1"/>
        </p:nvSpPr>
        <p:spPr bwMode="white">
          <a:xfrm>
            <a:off x="0" y="0"/>
            <a:ext cx="14343912" cy="1371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24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19354801" y="12810072"/>
            <a:ext cx="2964102" cy="307776"/>
          </a:xfrm>
          <a:prstGeom prst="rect">
            <a:avLst/>
          </a:prstGeom>
        </p:spPr>
        <p:txBody>
          <a:bodyPr/>
          <a:lstStyle>
            <a:lvl1pPr>
              <a:defRPr>
                <a:solidFill>
                  <a:schemeClr val="bg1"/>
                </a:solidFill>
                <a:latin typeface="+mn-lt"/>
                <a:sym typeface="Trebuchet MS" panose="020B0603020202020204" pitchFamily="34" charset="0"/>
              </a:defRPr>
            </a:lvl1pPr>
          </a:lstStyle>
          <a:p>
            <a:fld id="{5379A5A1-E0A3-4238-A4DA-778865433E55}" type="datetime1">
              <a:rPr lang="en-US" smtClean="0"/>
              <a:t>5/6/21</a:t>
            </a:fld>
            <a:endParaRPr lang="en-US" dirty="0"/>
          </a:p>
        </p:txBody>
      </p:sp>
      <p:sp>
        <p:nvSpPr>
          <p:cNvPr id="20"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mn-lt"/>
                <a:sym typeface="Trebuchet MS" panose="020B0603020202020204" pitchFamily="34" charset="0"/>
              </a:rPr>
              <a:t>Copyright © 2020 by Boston Consulting Group. All rights reserved.</a:t>
            </a:r>
            <a:endParaRPr lang="en-US" sz="1400" dirty="0">
              <a:solidFill>
                <a:schemeClr val="bg1"/>
              </a:solidFill>
              <a:latin typeface="+mn-lt"/>
              <a:sym typeface="Trebuchet MS" panose="020B0603020202020204" pitchFamily="34" charset="0"/>
            </a:endParaRPr>
          </a:p>
        </p:txBody>
      </p:sp>
      <p:sp>
        <p:nvSpPr>
          <p:cNvPr id="17" name="TextBox 16"/>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1260000" y="1245600"/>
            <a:ext cx="12513600" cy="941796"/>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68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0001480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342137" y="0"/>
            <a:ext cx="833902" cy="13716000"/>
          </a:xfrm>
          <a:prstGeom prst="rect">
            <a:avLst/>
          </a:prstGeom>
        </p:spPr>
      </p:pic>
      <p:sp>
        <p:nvSpPr>
          <p:cNvPr id="11" name="Title 4"/>
          <p:cNvSpPr>
            <a:spLocks noGrp="1"/>
          </p:cNvSpPr>
          <p:nvPr>
            <p:ph type="title" hasCustomPrompt="1"/>
          </p:nvPr>
        </p:nvSpPr>
        <p:spPr>
          <a:xfrm>
            <a:off x="1260001" y="5362206"/>
            <a:ext cx="6255762" cy="2991588"/>
          </a:xfrm>
          <a:prstGeom prst="rect">
            <a:avLst/>
          </a:prstGeom>
        </p:spPr>
        <p:txBody>
          <a:bodyPr anchor="ctr">
            <a:noAutofit/>
          </a:bodyPr>
          <a:lstStyle>
            <a:lvl1pPr>
              <a:defRPr sz="64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8161527" y="-2617"/>
            <a:ext cx="16222474" cy="137186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24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19354801" y="12810072"/>
            <a:ext cx="2964102" cy="30777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fld id="{47FC6011-23AE-4BAF-8159-81050574839E}" type="datetime1">
              <a:rPr lang="en-US" smtClean="0"/>
              <a:t>5/6/21</a:t>
            </a:fld>
            <a:endParaRPr lang="en-US" dirty="0"/>
          </a:p>
        </p:txBody>
      </p:sp>
      <p:sp>
        <p:nvSpPr>
          <p:cNvPr id="15" name="TextBox 14"/>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lumMod val="50000"/>
                  </a:schemeClr>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921322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11379165" y="0"/>
            <a:ext cx="833902" cy="13716000"/>
          </a:xfrm>
          <a:prstGeom prst="rect">
            <a:avLst/>
          </a:prstGeom>
        </p:spPr>
      </p:pic>
      <p:sp>
        <p:nvSpPr>
          <p:cNvPr id="12" name="Rectangle 11"/>
          <p:cNvSpPr/>
          <p:nvPr userDrawn="1"/>
        </p:nvSpPr>
        <p:spPr>
          <a:xfrm>
            <a:off x="12192000" y="0"/>
            <a:ext cx="12192000" cy="13716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2000"/>
              </a:spcAft>
            </a:pPr>
            <a:endParaRPr lang="en-US" sz="24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12184043" y="0"/>
            <a:ext cx="12199954" cy="13716000"/>
          </a:xfrm>
          <a:prstGeom prst="rect">
            <a:avLst/>
          </a:prstGeom>
          <a:noFill/>
        </p:spPr>
        <p:txBody>
          <a:bodyPr lIns="914400" tIns="914400" rIns="914400" bIns="914400"/>
          <a:lstStyle>
            <a:lvl1pPr algn="ctr">
              <a:defRPr sz="36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1260000" y="3571200"/>
            <a:ext cx="8776800" cy="6573600"/>
          </a:xfrm>
          <a:prstGeom prst="rect">
            <a:avLst/>
          </a:prstGeom>
          <a:noFill/>
        </p:spPr>
        <p:txBody>
          <a:bodyPr wrap="square" lIns="0" tIns="0" rIns="320040" bIns="0" anchor="ctr">
            <a:noAutofit/>
          </a:bodyPr>
          <a:lstStyle>
            <a:lvl1pPr>
              <a:defRPr sz="88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lumMod val="50000"/>
                  </a:schemeClr>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16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19354801" y="12810072"/>
            <a:ext cx="2964102" cy="30777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fld id="{4EDCF5CC-D7C9-42C7-93DF-A72811AA6053}" type="datetime1">
              <a:rPr lang="en-US" smtClean="0"/>
              <a:t>5/6/21</a:t>
            </a:fld>
            <a:endParaRPr lang="en-US" dirty="0"/>
          </a:p>
        </p:txBody>
      </p:sp>
      <p:sp>
        <p:nvSpPr>
          <p:cNvPr id="21"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453077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13348"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sp>
        <p:nvSpPr>
          <p:cNvPr id="63" name="ArrowPanelGray"/>
          <p:cNvSpPr/>
          <p:nvPr userDrawn="1"/>
        </p:nvSpPr>
        <p:spPr bwMode="ltGray">
          <a:xfrm>
            <a:off x="3" y="4"/>
            <a:ext cx="8274133" cy="13718621"/>
          </a:xfrm>
          <a:custGeom>
            <a:avLst/>
            <a:gdLst>
              <a:gd name="connsiteX0" fmla="*/ 0 w 3258479"/>
              <a:gd name="connsiteY0" fmla="*/ 0 h 6859310"/>
              <a:gd name="connsiteX1" fmla="*/ 156629 w 3258479"/>
              <a:gd name="connsiteY1" fmla="*/ 0 h 6859310"/>
              <a:gd name="connsiteX2" fmla="*/ 156629 w 3258479"/>
              <a:gd name="connsiteY2" fmla="*/ 1310 h 6859310"/>
              <a:gd name="connsiteX3" fmla="*/ 2435100 w 3258479"/>
              <a:gd name="connsiteY3" fmla="*/ 1310 h 6859310"/>
              <a:gd name="connsiteX4" fmla="*/ 3258479 w 3258479"/>
              <a:gd name="connsiteY4" fmla="*/ 3430310 h 6859310"/>
              <a:gd name="connsiteX5" fmla="*/ 2435100 w 3258479"/>
              <a:gd name="connsiteY5" fmla="*/ 6859310 h 6859310"/>
              <a:gd name="connsiteX6" fmla="*/ 0 w 3258479"/>
              <a:gd name="connsiteY6" fmla="*/ 685931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58479" h="6859310">
                <a:moveTo>
                  <a:pt x="0" y="0"/>
                </a:moveTo>
                <a:lnTo>
                  <a:pt x="156629" y="0"/>
                </a:lnTo>
                <a:lnTo>
                  <a:pt x="156629" y="1310"/>
                </a:lnTo>
                <a:lnTo>
                  <a:pt x="2435100" y="1310"/>
                </a:lnTo>
                <a:lnTo>
                  <a:pt x="3258479" y="3430310"/>
                </a:lnTo>
                <a:lnTo>
                  <a:pt x="2435100" y="6859310"/>
                </a:lnTo>
                <a:lnTo>
                  <a:pt x="0" y="685931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2116120" rtl="0" eaLnBrk="1" fontAlgn="auto" latinLnBrk="0" hangingPunct="1">
              <a:lnSpc>
                <a:spcPct val="90000"/>
              </a:lnSpc>
              <a:spcBef>
                <a:spcPts val="0"/>
              </a:spcBef>
              <a:spcAft>
                <a:spcPts val="200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12" name="Page"/>
          <p:cNvSpPr txBox="1"/>
          <p:nvPr userDrawn="1"/>
        </p:nvSpPr>
        <p:spPr>
          <a:xfrm>
            <a:off x="21966653" y="12810073"/>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5" name="Date Placeholder 4"/>
          <p:cNvSpPr>
            <a:spLocks noGrp="1"/>
          </p:cNvSpPr>
          <p:nvPr userDrawn="1">
            <p:ph type="dt" sz="half" idx="10"/>
          </p:nvPr>
        </p:nvSpPr>
        <p:spPr>
          <a:xfrm>
            <a:off x="20037833" y="12810073"/>
            <a:ext cx="1928824" cy="307777"/>
          </a:xfrm>
          <a:prstGeom prst="rect">
            <a:avLst/>
          </a:prstGeom>
        </p:spPr>
        <p:txBody>
          <a:bodyPr/>
          <a:lstStyle>
            <a:lvl1pPr>
              <a:defRPr>
                <a:solidFill>
                  <a:schemeClr val="bg1"/>
                </a:solidFill>
                <a:latin typeface="+mn-lt"/>
                <a:ea typeface="+mn-ea"/>
                <a:cs typeface="+mn-cs"/>
                <a:sym typeface="+mn-lt"/>
              </a:defRPr>
            </a:lvl1pPr>
          </a:lstStyle>
          <a:p>
            <a:pPr defTabSz="2116120" hangingPunct="1"/>
            <a:fld id="{D5230420-BFD8-4E20-A408-AB23F5AA2084}" type="datetime1">
              <a:rPr lang="en-US" b="0" kern="1200" cap="none" smtClean="0">
                <a:solidFill>
                  <a:prstClr val="white"/>
                </a:solidFill>
                <a:effectLst/>
              </a:rPr>
              <a:t>5/6/21</a:t>
            </a:fld>
            <a:endParaRPr lang="en-US" b="0" kern="1200" cap="none" dirty="0">
              <a:solidFill>
                <a:prstClr val="white"/>
              </a:solidFill>
              <a:effectLst/>
            </a:endParaRPr>
          </a:p>
        </p:txBody>
      </p:sp>
      <p:sp>
        <p:nvSpPr>
          <p:cNvPr id="19"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aramond"/>
                <a:ea typeface="+mn-ea"/>
                <a:cs typeface="+mn-cs"/>
                <a:sym typeface="+mn-lt"/>
              </a:rPr>
              <a:t>Copyright © 2020 by Boston Consulting Group. All rights reserved.</a:t>
            </a:r>
          </a:p>
        </p:txBody>
      </p:sp>
      <p:sp>
        <p:nvSpPr>
          <p:cNvPr id="4" name="Title 3"/>
          <p:cNvSpPr>
            <a:spLocks noGrp="1"/>
          </p:cNvSpPr>
          <p:nvPr>
            <p:ph type="title" hasCustomPrompt="1"/>
          </p:nvPr>
        </p:nvSpPr>
        <p:spPr>
          <a:xfrm>
            <a:off x="1260000" y="5360400"/>
            <a:ext cx="5201536" cy="2995200"/>
          </a:xfrm>
        </p:spPr>
        <p:txBody>
          <a:bodyPr anchor="ctr" anchorCtr="0">
            <a:noAutofit/>
          </a:bodyPr>
          <a:lstStyle>
            <a:lvl1pPr>
              <a:defRPr>
                <a:latin typeface="+mj-lt"/>
                <a:ea typeface="+mj-ea"/>
                <a:cs typeface="+mj-cs"/>
                <a:sym typeface="+mj-lt"/>
              </a:defRPr>
            </a:lvl1pPr>
          </a:lstStyle>
          <a:p>
            <a:r>
              <a:rPr lang="en-US" dirty="0"/>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848111" y="7183992"/>
            <a:ext cx="3466728" cy="6765925"/>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42174 w 1365250"/>
              <a:gd name="connsiteY5" fmla="*/ 3265653 h 3382962"/>
              <a:gd name="connsiteX6" fmla="*/ 11501 w 1365250"/>
              <a:gd name="connsiteY6" fmla="*/ 3299343 h 3382962"/>
              <a:gd name="connsiteX7" fmla="*/ 113895 w 1365250"/>
              <a:gd name="connsiteY7" fmla="*/ 3306486 h 3382962"/>
              <a:gd name="connsiteX8" fmla="*/ 123928 w 1365250"/>
              <a:gd name="connsiteY8" fmla="*/ 3267469 h 3382962"/>
              <a:gd name="connsiteX9" fmla="*/ 129871 w 1365250"/>
              <a:gd name="connsiteY9" fmla="*/ 3267601 h 3382962"/>
              <a:gd name="connsiteX10" fmla="*/ 0 w 1365250"/>
              <a:gd name="connsiteY10" fmla="*/ 0 h 3382962"/>
              <a:gd name="connsiteX11" fmla="*/ 909386 w 1365250"/>
              <a:gd name="connsiteY11" fmla="*/ 0 h 3382962"/>
              <a:gd name="connsiteX12" fmla="*/ 0 w 1365250"/>
              <a:gd name="connsiteY12"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65250" h="3382962">
                <a:moveTo>
                  <a:pt x="919541" y="0"/>
                </a:moveTo>
                <a:lnTo>
                  <a:pt x="1365250" y="0"/>
                </a:lnTo>
                <a:lnTo>
                  <a:pt x="1365250" y="3382962"/>
                </a:lnTo>
                <a:lnTo>
                  <a:pt x="0" y="3382962"/>
                </a:lnTo>
                <a:lnTo>
                  <a:pt x="0" y="3264716"/>
                </a:lnTo>
                <a:lnTo>
                  <a:pt x="42174" y="3265653"/>
                </a:lnTo>
                <a:lnTo>
                  <a:pt x="11501" y="3299343"/>
                </a:lnTo>
                <a:lnTo>
                  <a:pt x="113895" y="3306486"/>
                </a:lnTo>
                <a:lnTo>
                  <a:pt x="123928" y="3267469"/>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5924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14819699" y="0"/>
            <a:ext cx="833902" cy="13716000"/>
          </a:xfrm>
          <a:prstGeom prst="rect">
            <a:avLst/>
          </a:prstGeom>
        </p:spPr>
      </p:pic>
      <p:sp>
        <p:nvSpPr>
          <p:cNvPr id="10" name="Rectangle 9"/>
          <p:cNvSpPr/>
          <p:nvPr userDrawn="1"/>
        </p:nvSpPr>
        <p:spPr bwMode="gray">
          <a:xfrm>
            <a:off x="15639087" y="0"/>
            <a:ext cx="8744914" cy="1371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24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15640051" y="0"/>
            <a:ext cx="8743950" cy="13716000"/>
          </a:xfrm>
          <a:prstGeom prst="rect">
            <a:avLst/>
          </a:prstGeom>
          <a:noFill/>
        </p:spPr>
        <p:txBody>
          <a:bodyPr lIns="182880" tIns="914400" rIns="182880" bIns="914400"/>
          <a:lstStyle>
            <a:lvl1pPr algn="ctr">
              <a:defRPr sz="32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19354801" y="12810072"/>
            <a:ext cx="2964102" cy="30777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fld id="{5CB5F9D6-E3C4-4122-8730-B12E2003E50A}" type="datetime1">
              <a:rPr lang="en-US" smtClean="0"/>
              <a:t>5/6/21</a:t>
            </a:fld>
            <a:endParaRPr lang="en-US" dirty="0"/>
          </a:p>
        </p:txBody>
      </p:sp>
      <p:sp>
        <p:nvSpPr>
          <p:cNvPr id="15" name="Copyright"/>
          <p:cNvSpPr txBox="1"/>
          <p:nvPr userDrawn="1"/>
        </p:nvSpPr>
        <p:spPr>
          <a:xfrm rot="16200000">
            <a:off x="18973801" y="7834584"/>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1260000" y="3609300"/>
            <a:ext cx="12495104" cy="6573600"/>
          </a:xfrm>
          <a:prstGeom prst="rect">
            <a:avLst/>
          </a:prstGeom>
        </p:spPr>
        <p:txBody>
          <a:bodyPr anchor="ctr">
            <a:noAutofit/>
          </a:bodyPr>
          <a:lstStyle>
            <a:lvl1pPr>
              <a:defRPr sz="88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lumMod val="50000"/>
                  </a:schemeClr>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16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14550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3048" y="2620"/>
            <a:ext cx="8176624" cy="13716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2000"/>
              </a:spcAft>
            </a:pPr>
            <a:endParaRPr lang="en-US" sz="24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19354801" y="12810072"/>
            <a:ext cx="2964102" cy="307776"/>
          </a:xfrm>
          <a:prstGeom prst="rect">
            <a:avLst/>
          </a:prstGeom>
        </p:spPr>
        <p:txBody>
          <a:bodyPr/>
          <a:lstStyle>
            <a:lvl1pPr>
              <a:defRPr>
                <a:solidFill>
                  <a:schemeClr val="bg1"/>
                </a:solidFill>
                <a:latin typeface="+mn-lt"/>
                <a:sym typeface="Trebuchet MS" panose="020B0603020202020204" pitchFamily="34" charset="0"/>
              </a:defRPr>
            </a:lvl1pPr>
          </a:lstStyle>
          <a:p>
            <a:fld id="{F5641B8E-04F0-4402-B19D-08BDB54A028A}" type="datetime1">
              <a:rPr lang="en-US" smtClean="0"/>
              <a:t>5/6/21</a:t>
            </a:fld>
            <a:endParaRPr lang="en-US" dirty="0"/>
          </a:p>
        </p:txBody>
      </p:sp>
      <p:sp>
        <p:nvSpPr>
          <p:cNvPr id="19"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mn-lt"/>
                <a:sym typeface="Trebuchet MS" panose="020B0603020202020204" pitchFamily="34" charset="0"/>
              </a:rPr>
              <a:t>Copyright © 2020 by Boston Consulting Group. All rights reserved.</a:t>
            </a:r>
            <a:endParaRPr lang="en-US" sz="1400" dirty="0">
              <a:solidFill>
                <a:schemeClr val="bg1"/>
              </a:solidFill>
              <a:latin typeface="+mn-lt"/>
              <a:sym typeface="Trebuchet MS" panose="020B0603020202020204" pitchFamily="34" charset="0"/>
            </a:endParaRPr>
          </a:p>
        </p:txBody>
      </p:sp>
      <p:sp>
        <p:nvSpPr>
          <p:cNvPr id="12" name="TextBox 11"/>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1260000" y="5528407"/>
            <a:ext cx="4957276" cy="2628622"/>
          </a:xfrm>
          <a:prstGeom prst="rect">
            <a:avLst/>
          </a:prstGeom>
        </p:spPr>
        <p:txBody>
          <a:bodyPr anchor="ctr">
            <a:noAutofit/>
          </a:bodyPr>
          <a:lstStyle>
            <a:lvl1pPr>
              <a:defRPr sz="64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264884" y="7180798"/>
            <a:ext cx="2730500" cy="6765924"/>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32361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8176624" cy="13716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2000"/>
              </a:spcAft>
            </a:pPr>
            <a:endParaRPr lang="en-US" sz="24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1260000" y="5528407"/>
            <a:ext cx="4957276" cy="2628622"/>
          </a:xfrm>
        </p:spPr>
        <p:txBody>
          <a:bodyPr anchor="ctr" anchorCtr="0">
            <a:noAutofit/>
          </a:bodyPr>
          <a:lstStyle>
            <a:lvl1pPr>
              <a:defRPr sz="64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19354801" y="12810072"/>
            <a:ext cx="2964102" cy="307776"/>
          </a:xfrm>
          <a:prstGeom prst="rect">
            <a:avLst/>
          </a:prstGeom>
        </p:spPr>
        <p:txBody>
          <a:bodyPr vert="horz" wrap="square" lIns="0" tIns="0" rIns="0" bIns="0" rtlCol="0" anchor="b">
            <a:spAutoFit/>
          </a:bodyPr>
          <a:lstStyle>
            <a:lvl1pPr algn="r">
              <a:defRPr sz="2000">
                <a:solidFill>
                  <a:schemeClr val="bg1">
                    <a:lumMod val="50000"/>
                  </a:schemeClr>
                </a:solidFill>
                <a:latin typeface="+mn-lt"/>
                <a:sym typeface="Trebuchet MS" panose="020B0603020202020204" pitchFamily="34" charset="0"/>
              </a:defRPr>
            </a:lvl1pPr>
          </a:lstStyle>
          <a:p>
            <a:fld id="{B9D0FA88-62B6-481E-B4F4-97B5F7AC2D46}" type="datetime1">
              <a:rPr lang="en-US" smtClean="0"/>
              <a:t>5/6/21</a:t>
            </a:fld>
            <a:endParaRPr lang="en-US" dirty="0"/>
          </a:p>
        </p:txBody>
      </p:sp>
      <p:sp>
        <p:nvSpPr>
          <p:cNvPr id="14" name="TextBox 13"/>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lumMod val="50000"/>
                  </a:schemeClr>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4349284" y="6805657"/>
            <a:ext cx="5389332" cy="6923490"/>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962487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82467329"/>
              </p:ext>
            </p:extLst>
          </p:nvPr>
        </p:nvGraphicFramePr>
        <p:xfrm>
          <a:off x="3177" y="3177"/>
          <a:ext cx="3174" cy="3174"/>
        </p:xfrm>
        <a:graphic>
          <a:graphicData uri="http://schemas.openxmlformats.org/presentationml/2006/ole">
            <mc:AlternateContent xmlns:mc="http://schemas.openxmlformats.org/markup-compatibility/2006">
              <mc:Choice xmlns:v="urn:schemas-microsoft-com:vml" Requires="v">
                <p:oleObj spid="_x0000_s91172"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3177" y="3177"/>
                        <a:ext cx="3174" cy="3174"/>
                      </a:xfrm>
                      <a:prstGeom prst="rect">
                        <a:avLst/>
                      </a:prstGeom>
                    </p:spPr>
                  </p:pic>
                </p:oleObj>
              </mc:Fallback>
            </mc:AlternateContent>
          </a:graphicData>
        </a:graphic>
      </p:graphicFrame>
      <p:sp>
        <p:nvSpPr>
          <p:cNvPr id="5" name="TextBox 4"/>
          <p:cNvSpPr txBox="1"/>
          <p:nvPr/>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16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19354801" y="12810072"/>
            <a:ext cx="2964102" cy="307776"/>
          </a:xfrm>
          <a:prstGeom prst="rect">
            <a:avLst/>
          </a:prstGeom>
        </p:spPr>
        <p:txBody>
          <a:bodyPr/>
          <a:lstStyle>
            <a:lvl1pPr>
              <a:defRPr>
                <a:solidFill>
                  <a:schemeClr val="bg1"/>
                </a:solidFill>
                <a:latin typeface="+mn-lt"/>
                <a:sym typeface="Trebuchet MS" panose="020B0603020202020204" pitchFamily="34" charset="0"/>
              </a:defRPr>
            </a:lvl1pPr>
          </a:lstStyle>
          <a:p>
            <a:fld id="{8BD7AD60-224F-43BF-B13C-44953BE85B1C}" type="datetime1">
              <a:rPr lang="en-US" smtClean="0"/>
              <a:t>5/6/21</a:t>
            </a:fld>
            <a:endParaRPr lang="en-US" dirty="0"/>
          </a:p>
        </p:txBody>
      </p:sp>
      <p:sp>
        <p:nvSpPr>
          <p:cNvPr id="12"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mn-lt"/>
                <a:sym typeface="Trebuchet MS" panose="020B0603020202020204" pitchFamily="34" charset="0"/>
              </a:rPr>
              <a:t>Copyright © 2020 by Boston Consulting Group. All rights reserved.</a:t>
            </a:r>
            <a:endParaRPr lang="en-US" sz="1400" dirty="0">
              <a:solidFill>
                <a:schemeClr val="bg1"/>
              </a:solidFill>
              <a:latin typeface="+mn-lt"/>
              <a:sym typeface="Trebuchet MS" panose="020B0603020202020204" pitchFamily="34" charset="0"/>
            </a:endParaRPr>
          </a:p>
        </p:txBody>
      </p:sp>
      <p:sp>
        <p:nvSpPr>
          <p:cNvPr id="13" name="Pentagon 3"/>
          <p:cNvSpPr/>
          <p:nvPr userDrawn="1"/>
        </p:nvSpPr>
        <p:spPr bwMode="white">
          <a:xfrm>
            <a:off x="2" y="0"/>
            <a:ext cx="10853840" cy="13716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2000"/>
              </a:spcAft>
            </a:pPr>
            <a:endParaRPr lang="en-US" sz="24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1260001" y="3571200"/>
            <a:ext cx="8124470" cy="6573600"/>
          </a:xfrm>
          <a:prstGeom prst="rect">
            <a:avLst/>
          </a:prstGeom>
        </p:spPr>
        <p:txBody>
          <a:bodyPr anchor="ctr">
            <a:noAutofit/>
          </a:bodyPr>
          <a:lstStyle>
            <a:lvl1pPr>
              <a:defRPr sz="88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163051" y="6788785"/>
            <a:ext cx="2597150" cy="7143750"/>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80326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2" y="0"/>
            <a:ext cx="10853840" cy="13716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2000"/>
              </a:spcAft>
            </a:pPr>
            <a:endParaRPr lang="en-US" sz="24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1260001" y="3571200"/>
            <a:ext cx="8124470" cy="6573600"/>
          </a:xfrm>
          <a:prstGeom prst="rect">
            <a:avLst/>
          </a:prstGeom>
        </p:spPr>
        <p:txBody>
          <a:bodyPr anchor="ctr">
            <a:noAutofit/>
          </a:bodyPr>
          <a:lstStyle>
            <a:lvl1pPr>
              <a:defRPr sz="88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19354801" y="12810072"/>
            <a:ext cx="2964102" cy="307776"/>
          </a:xfrm>
          <a:prstGeom prst="rect">
            <a:avLst/>
          </a:prstGeom>
        </p:spPr>
        <p:txBody>
          <a:bodyPr vert="horz" wrap="square" lIns="0" tIns="0" rIns="0" bIns="0" rtlCol="0" anchor="b">
            <a:spAutoFit/>
          </a:bodyPr>
          <a:lstStyle>
            <a:lvl1pPr algn="r">
              <a:defRPr sz="2000">
                <a:solidFill>
                  <a:schemeClr val="bg1">
                    <a:lumMod val="50000"/>
                  </a:schemeClr>
                </a:solidFill>
                <a:latin typeface="+mn-lt"/>
                <a:sym typeface="Trebuchet MS" panose="020B0603020202020204" pitchFamily="34" charset="0"/>
              </a:defRPr>
            </a:lvl1pPr>
          </a:lstStyle>
          <a:p>
            <a:fld id="{25D022A5-AA28-42F7-81E8-800F4E3E5B6F}" type="datetime1">
              <a:rPr lang="en-US" smtClean="0"/>
              <a:t>5/6/21</a:t>
            </a:fld>
            <a:endParaRPr lang="en-US" dirty="0"/>
          </a:p>
        </p:txBody>
      </p:sp>
      <p:sp>
        <p:nvSpPr>
          <p:cNvPr id="16" name="TextBox 15"/>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lumMod val="50000"/>
                  </a:schemeClr>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7156118" y="6832600"/>
            <a:ext cx="5389332" cy="68834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0195059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19354801" y="12810072"/>
            <a:ext cx="2964102" cy="307776"/>
          </a:xfrm>
          <a:prstGeom prst="rect">
            <a:avLst/>
          </a:prstGeom>
        </p:spPr>
        <p:txBody>
          <a:bodyPr/>
          <a:lstStyle>
            <a:lvl1pPr>
              <a:defRPr>
                <a:solidFill>
                  <a:schemeClr val="bg1"/>
                </a:solidFill>
                <a:latin typeface="+mn-lt"/>
                <a:sym typeface="Trebuchet MS" panose="020B0603020202020204" pitchFamily="34" charset="0"/>
              </a:defRPr>
            </a:lvl1pPr>
          </a:lstStyle>
          <a:p>
            <a:fld id="{5E781401-87D0-4B11-886D-9CF7C20316DA}" type="datetime1">
              <a:rPr lang="en-US" smtClean="0"/>
              <a:t>5/6/21</a:t>
            </a:fld>
            <a:endParaRPr lang="en-US" dirty="0"/>
          </a:p>
        </p:txBody>
      </p:sp>
      <p:sp>
        <p:nvSpPr>
          <p:cNvPr id="18"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mn-lt"/>
                <a:sym typeface="Trebuchet MS" panose="020B0603020202020204" pitchFamily="34" charset="0"/>
              </a:rPr>
              <a:t>Copyright © 2020 by Boston Consulting Group. All rights reserved.</a:t>
            </a:r>
            <a:endParaRPr lang="en-US" sz="1400" dirty="0">
              <a:solidFill>
                <a:schemeClr val="bg1"/>
              </a:solidFill>
              <a:latin typeface="+mn-lt"/>
              <a:sym typeface="Trebuchet MS" panose="020B0603020202020204" pitchFamily="34" charset="0"/>
            </a:endParaRPr>
          </a:p>
        </p:txBody>
      </p:sp>
      <p:sp>
        <p:nvSpPr>
          <p:cNvPr id="15" name="TextBox 14"/>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12727092" cy="13716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2000"/>
              </a:spcAft>
            </a:pPr>
            <a:endParaRPr lang="en-US" sz="24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1260000" y="1245600"/>
            <a:ext cx="9347292" cy="941796"/>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68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95612" y="7179212"/>
            <a:ext cx="2730500" cy="6765924"/>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5895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12727092" cy="13716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2000"/>
              </a:spcAft>
            </a:pPr>
            <a:endParaRPr lang="en-US" sz="24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1260000" y="1245600"/>
            <a:ext cx="9347292" cy="941796"/>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68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19354801" y="12810072"/>
            <a:ext cx="2964102" cy="307776"/>
          </a:xfrm>
          <a:prstGeom prst="rect">
            <a:avLst/>
          </a:prstGeom>
        </p:spPr>
        <p:txBody>
          <a:bodyPr vert="horz" wrap="square" lIns="0" tIns="0" rIns="0" bIns="0" rtlCol="0" anchor="b">
            <a:spAutoFit/>
          </a:bodyPr>
          <a:lstStyle>
            <a:lvl1pPr algn="r">
              <a:defRPr sz="2000">
                <a:solidFill>
                  <a:schemeClr val="bg1">
                    <a:lumMod val="50000"/>
                  </a:schemeClr>
                </a:solidFill>
                <a:latin typeface="+mn-lt"/>
                <a:sym typeface="Trebuchet MS" panose="020B0603020202020204" pitchFamily="34" charset="0"/>
              </a:defRPr>
            </a:lvl1pPr>
          </a:lstStyle>
          <a:p>
            <a:fld id="{33CEAFAB-88CF-446C-A319-818840A9AB05}" type="datetime1">
              <a:rPr lang="en-US" smtClean="0"/>
              <a:t>5/6/21</a:t>
            </a:fld>
            <a:endParaRPr lang="en-US" dirty="0"/>
          </a:p>
        </p:txBody>
      </p:sp>
      <p:sp>
        <p:nvSpPr>
          <p:cNvPr id="13" name="TextBox 12"/>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lumMod val="50000"/>
                  </a:schemeClr>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8920344" y="6815607"/>
            <a:ext cx="5389332" cy="6913102"/>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3697755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1" y="0"/>
            <a:ext cx="16892478" cy="13716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2000"/>
              </a:spcAft>
            </a:pPr>
            <a:endParaRPr lang="en-US" sz="24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19354801" y="12810072"/>
            <a:ext cx="2964102" cy="307776"/>
          </a:xfrm>
          <a:prstGeom prst="rect">
            <a:avLst/>
          </a:prstGeom>
        </p:spPr>
        <p:txBody>
          <a:bodyPr/>
          <a:lstStyle>
            <a:lvl1pPr>
              <a:defRPr>
                <a:solidFill>
                  <a:schemeClr val="bg1"/>
                </a:solidFill>
                <a:latin typeface="+mn-lt"/>
                <a:sym typeface="Trebuchet MS" panose="020B0603020202020204" pitchFamily="34" charset="0"/>
              </a:defRPr>
            </a:lvl1pPr>
          </a:lstStyle>
          <a:p>
            <a:fld id="{C6ECC59E-E7B5-47E8-8D36-60A6E5646F54}" type="datetime1">
              <a:rPr lang="en-US" smtClean="0"/>
              <a:t>5/6/21</a:t>
            </a:fld>
            <a:endParaRPr lang="en-US" dirty="0"/>
          </a:p>
        </p:txBody>
      </p:sp>
      <p:sp>
        <p:nvSpPr>
          <p:cNvPr id="9"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mn-lt"/>
                <a:sym typeface="Trebuchet MS" panose="020B0603020202020204" pitchFamily="34" charset="0"/>
              </a:rPr>
              <a:t>Copyright © 2020 by Boston Consulting Group. All rights reserved.</a:t>
            </a:r>
            <a:endParaRPr lang="en-US" sz="1400" dirty="0">
              <a:solidFill>
                <a:schemeClr val="bg1"/>
              </a:solidFill>
              <a:latin typeface="+mn-lt"/>
              <a:sym typeface="Trebuchet MS" panose="020B0603020202020204" pitchFamily="34" charset="0"/>
            </a:endParaRPr>
          </a:p>
        </p:txBody>
      </p:sp>
      <p:sp>
        <p:nvSpPr>
          <p:cNvPr id="15" name="TextBox 14"/>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1260000" y="1245600"/>
            <a:ext cx="12513600" cy="941796"/>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68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980678" y="7179212"/>
            <a:ext cx="2730500" cy="6765924"/>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5441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1" y="0"/>
            <a:ext cx="16892478" cy="13716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2000"/>
              </a:spcAft>
            </a:pPr>
            <a:endParaRPr lang="en-US" sz="24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1260000" y="1245600"/>
            <a:ext cx="12513600" cy="941796"/>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68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19354801" y="12810072"/>
            <a:ext cx="2964102" cy="307776"/>
          </a:xfrm>
          <a:prstGeom prst="rect">
            <a:avLst/>
          </a:prstGeom>
        </p:spPr>
        <p:txBody>
          <a:bodyPr vert="horz" wrap="square" lIns="0" tIns="0" rIns="0" bIns="0" rtlCol="0" anchor="b">
            <a:spAutoFit/>
          </a:bodyPr>
          <a:lstStyle>
            <a:lvl1pPr algn="r">
              <a:defRPr sz="2000">
                <a:solidFill>
                  <a:schemeClr val="bg1">
                    <a:lumMod val="50000"/>
                  </a:schemeClr>
                </a:solidFill>
                <a:latin typeface="+mn-lt"/>
                <a:sym typeface="Trebuchet MS" panose="020B0603020202020204" pitchFamily="34" charset="0"/>
              </a:defRPr>
            </a:lvl1pPr>
          </a:lstStyle>
          <a:p>
            <a:fld id="{FDC93BE5-AD7E-4C41-8A32-159B91E2B4BE}" type="datetime1">
              <a:rPr lang="en-US" smtClean="0"/>
              <a:t>5/6/21</a:t>
            </a:fld>
            <a:endParaRPr lang="en-US" dirty="0"/>
          </a:p>
        </p:txBody>
      </p:sp>
      <p:sp>
        <p:nvSpPr>
          <p:cNvPr id="18" name="TextBox 17"/>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lumMod val="50000"/>
                  </a:schemeClr>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13135256" y="6815607"/>
            <a:ext cx="5389332" cy="6913102"/>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70440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19354801" y="12810072"/>
            <a:ext cx="2964102" cy="307776"/>
          </a:xfrm>
          <a:prstGeom prst="rect">
            <a:avLst/>
          </a:prstGeom>
        </p:spPr>
        <p:txBody>
          <a:bodyPr/>
          <a:lstStyle>
            <a:lvl1pPr>
              <a:defRPr>
                <a:solidFill>
                  <a:schemeClr val="bg1"/>
                </a:solidFill>
                <a:latin typeface="+mn-lt"/>
                <a:sym typeface="Trebuchet MS" panose="020B0603020202020204" pitchFamily="34" charset="0"/>
              </a:defRPr>
            </a:lvl1pPr>
          </a:lstStyle>
          <a:p>
            <a:fld id="{CD233967-8D9A-4AC6-B2CF-20E5B3431A53}" type="datetime1">
              <a:rPr lang="en-US" smtClean="0"/>
              <a:t>5/6/21</a:t>
            </a:fld>
            <a:endParaRPr lang="en-US" dirty="0"/>
          </a:p>
        </p:txBody>
      </p:sp>
      <p:sp>
        <p:nvSpPr>
          <p:cNvPr id="9"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mn-lt"/>
                <a:sym typeface="Trebuchet MS" panose="020B0603020202020204" pitchFamily="34" charset="0"/>
              </a:rPr>
              <a:t>Copyright © 2020 by Boston Consulting Group. All rights reserved.</a:t>
            </a:r>
            <a:endParaRPr lang="en-US" sz="14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1260000" y="7652666"/>
            <a:ext cx="21866400" cy="3213100"/>
          </a:xfrm>
        </p:spPr>
        <p:txBody>
          <a:bodyPr anchor="b">
            <a:noAutofit/>
          </a:bodyPr>
          <a:lstStyle>
            <a:lvl1pPr marL="0" algn="l" defTabSz="1828800" rtl="0" eaLnBrk="1" fontAlgn="auto" latinLnBrk="0" hangingPunct="1">
              <a:lnSpc>
                <a:spcPts val="12000"/>
              </a:lnSpc>
              <a:spcBef>
                <a:spcPts val="0"/>
              </a:spcBef>
              <a:spcAft>
                <a:spcPts val="0"/>
              </a:spcAft>
              <a:defRPr lang="en-US" sz="108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8096718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1437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sp>
        <p:nvSpPr>
          <p:cNvPr id="63" name="ArrowPanelGray"/>
          <p:cNvSpPr/>
          <p:nvPr userDrawn="1"/>
        </p:nvSpPr>
        <p:spPr bwMode="ltGray">
          <a:xfrm>
            <a:off x="3" y="4"/>
            <a:ext cx="8274133" cy="13718621"/>
          </a:xfrm>
          <a:custGeom>
            <a:avLst/>
            <a:gdLst>
              <a:gd name="connsiteX0" fmla="*/ 0 w 3258479"/>
              <a:gd name="connsiteY0" fmla="*/ 0 h 6859310"/>
              <a:gd name="connsiteX1" fmla="*/ 156629 w 3258479"/>
              <a:gd name="connsiteY1" fmla="*/ 0 h 6859310"/>
              <a:gd name="connsiteX2" fmla="*/ 156629 w 3258479"/>
              <a:gd name="connsiteY2" fmla="*/ 1310 h 6859310"/>
              <a:gd name="connsiteX3" fmla="*/ 2435100 w 3258479"/>
              <a:gd name="connsiteY3" fmla="*/ 1310 h 6859310"/>
              <a:gd name="connsiteX4" fmla="*/ 3258479 w 3258479"/>
              <a:gd name="connsiteY4" fmla="*/ 3430310 h 6859310"/>
              <a:gd name="connsiteX5" fmla="*/ 2435100 w 3258479"/>
              <a:gd name="connsiteY5" fmla="*/ 6859310 h 6859310"/>
              <a:gd name="connsiteX6" fmla="*/ 0 w 3258479"/>
              <a:gd name="connsiteY6" fmla="*/ 685931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58479" h="6859310">
                <a:moveTo>
                  <a:pt x="0" y="0"/>
                </a:moveTo>
                <a:lnTo>
                  <a:pt x="156629" y="0"/>
                </a:lnTo>
                <a:lnTo>
                  <a:pt x="156629" y="1310"/>
                </a:lnTo>
                <a:lnTo>
                  <a:pt x="2435100" y="1310"/>
                </a:lnTo>
                <a:lnTo>
                  <a:pt x="3258479" y="3430310"/>
                </a:lnTo>
                <a:lnTo>
                  <a:pt x="2435100" y="6859310"/>
                </a:lnTo>
                <a:lnTo>
                  <a:pt x="0" y="685931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2116120" rtl="0" eaLnBrk="1" fontAlgn="auto" latinLnBrk="0" hangingPunct="1">
              <a:lnSpc>
                <a:spcPct val="90000"/>
              </a:lnSpc>
              <a:spcBef>
                <a:spcPts val="0"/>
              </a:spcBef>
              <a:spcAft>
                <a:spcPts val="200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19" name="Copyright" hidden="1"/>
          <p:cNvSpPr txBox="1"/>
          <p:nvPr userDrawn="1"/>
        </p:nvSpPr>
        <p:spPr>
          <a:xfrm rot="16200000">
            <a:off x="18899103" y="7844997"/>
            <a:ext cx="10267949" cy="193899"/>
          </a:xfrm>
          <a:prstGeom prst="rect">
            <a:avLst/>
          </a:prstGeom>
        </p:spPr>
        <p:txBody>
          <a:bodyPr wrap="square" lIns="0" tIns="0" rIns="0" bIns="0" rtlCol="0" anchor="t">
            <a:spAutoFit/>
          </a:bodyPr>
          <a:lstStyle/>
          <a:p>
            <a:pPr marL="0" marR="0" lvl="0" indent="0" algn="l" defTabSz="1828778"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lumMod val="50000"/>
                  </a:prstClr>
                </a:solidFill>
                <a:effectLst/>
                <a:uLnTx/>
                <a:uFillTx/>
                <a:latin typeface="Garamond"/>
                <a:ea typeface="+mn-ea"/>
                <a:cs typeface="+mn-cs"/>
                <a:sym typeface="+mn-lt"/>
              </a:rPr>
              <a:t>Copyright © 2020 by Boston Consulting Group. All rights reserved.</a:t>
            </a:r>
          </a:p>
        </p:txBody>
      </p:sp>
      <p:sp>
        <p:nvSpPr>
          <p:cNvPr id="15" name="Title 2"/>
          <p:cNvSpPr>
            <a:spLocks noGrp="1"/>
          </p:cNvSpPr>
          <p:nvPr>
            <p:ph type="title" hasCustomPrompt="1"/>
          </p:nvPr>
        </p:nvSpPr>
        <p:spPr>
          <a:xfrm>
            <a:off x="1260000" y="5360400"/>
            <a:ext cx="5201536" cy="2995200"/>
          </a:xfrm>
        </p:spPr>
        <p:txBody>
          <a:bodyPr anchor="ctr" anchorCtr="0">
            <a:noAutofit/>
          </a:bodyPr>
          <a:lstStyle>
            <a:lvl1pPr>
              <a:defRPr>
                <a:solidFill>
                  <a:srgbClr val="FFFFFF"/>
                </a:solidFill>
                <a:latin typeface="+mj-lt"/>
                <a:ea typeface="+mj-ea"/>
                <a:cs typeface="+mj-cs"/>
                <a:sym typeface="+mj-lt"/>
              </a:defRPr>
            </a:lvl1pPr>
          </a:lstStyle>
          <a:p>
            <a:r>
              <a:rPr lang="en-US" dirty="0"/>
              <a:t>Click to add title</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3413747" y="6805660"/>
            <a:ext cx="6842464" cy="6923491"/>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1" name="Page"/>
          <p:cNvSpPr txBox="1"/>
          <p:nvPr userDrawn="1"/>
        </p:nvSpPr>
        <p:spPr>
          <a:xfrm>
            <a:off x="21966653" y="12810073"/>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lumMod val="50000"/>
                  </a:prstClr>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solidFill>
                <a:prstClr val="white">
                  <a:lumMod val="50000"/>
                </a:prstClr>
              </a:solidFill>
              <a:effectLst/>
              <a:uLnTx/>
              <a:uFillTx/>
              <a:latin typeface="Garamond"/>
              <a:ea typeface="+mn-ea"/>
              <a:cs typeface="+mn-cs"/>
              <a:sym typeface="+mn-lt"/>
            </a:endParaRPr>
          </a:p>
        </p:txBody>
      </p:sp>
      <p:sp>
        <p:nvSpPr>
          <p:cNvPr id="13" name="Date Placeholder 2"/>
          <p:cNvSpPr>
            <a:spLocks noGrp="1"/>
          </p:cNvSpPr>
          <p:nvPr>
            <p:ph type="dt" sz="half" idx="12"/>
          </p:nvPr>
        </p:nvSpPr>
        <p:spPr>
          <a:xfrm>
            <a:off x="20037833" y="12810073"/>
            <a:ext cx="1928824" cy="307777"/>
          </a:xfrm>
          <a:prstGeom prst="rect">
            <a:avLst/>
          </a:prstGeom>
        </p:spPr>
        <p:txBody>
          <a:bodyPr/>
          <a:lstStyle>
            <a:lvl1pPr>
              <a:defRPr>
                <a:solidFill>
                  <a:schemeClr val="bg1">
                    <a:lumMod val="50000"/>
                  </a:schemeClr>
                </a:solidFill>
                <a:latin typeface="+mn-lt"/>
                <a:ea typeface="+mn-ea"/>
                <a:cs typeface="+mn-cs"/>
                <a:sym typeface="+mn-lt"/>
              </a:defRPr>
            </a:lvl1pPr>
          </a:lstStyle>
          <a:p>
            <a:pPr defTabSz="2116120" hangingPunct="1"/>
            <a:fld id="{5B6681B6-FA00-4AB4-A6E1-C851766CC90C}" type="datetime1">
              <a:rPr lang="en-US" b="0" kern="1200" cap="none" smtClean="0">
                <a:solidFill>
                  <a:prstClr val="white">
                    <a:lumMod val="50000"/>
                  </a:prstClr>
                </a:solidFill>
                <a:effectLst/>
              </a:rPr>
              <a:t>5/6/21</a:t>
            </a:fld>
            <a:endParaRPr lang="en-US" b="0" kern="1200" cap="none" dirty="0">
              <a:solidFill>
                <a:prstClr val="white">
                  <a:lumMod val="50000"/>
                </a:prstClr>
              </a:solidFill>
              <a:effectLst/>
            </a:endParaRPr>
          </a:p>
        </p:txBody>
      </p:sp>
    </p:spTree>
    <p:extLst>
      <p:ext uri="{BB962C8B-B14F-4D97-AF65-F5344CB8AC3E}">
        <p14:creationId xmlns:p14="http://schemas.microsoft.com/office/powerpoint/2010/main" val="2006939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19354801" y="12810072"/>
            <a:ext cx="2964102" cy="30777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fld id="{1A69829C-8EA2-4B74-A3A5-5A1757DD01D6}" type="datetime1">
              <a:rPr lang="en-US" smtClean="0"/>
              <a:t>5/6/21</a:t>
            </a:fld>
            <a:endParaRPr lang="en-US" dirty="0"/>
          </a:p>
        </p:txBody>
      </p:sp>
      <p:sp>
        <p:nvSpPr>
          <p:cNvPr id="9"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1260000" y="1250950"/>
            <a:ext cx="1865376" cy="1865376"/>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24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1260000" y="7652666"/>
            <a:ext cx="21866400" cy="3213100"/>
          </a:xfrm>
          <a:prstGeom prst="rect">
            <a:avLst/>
          </a:prstGeom>
        </p:spPr>
        <p:txBody>
          <a:bodyPr anchor="b">
            <a:noAutofit/>
          </a:bodyPr>
          <a:lstStyle>
            <a:lvl1pPr marL="0" algn="l" defTabSz="1828800" rtl="0" eaLnBrk="1" fontAlgn="auto" latinLnBrk="0" hangingPunct="1">
              <a:lnSpc>
                <a:spcPts val="12000"/>
              </a:lnSpc>
              <a:spcBef>
                <a:spcPts val="0"/>
              </a:spcBef>
              <a:spcAft>
                <a:spcPts val="0"/>
              </a:spcAft>
              <a:defRPr lang="en-US" sz="108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894381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71127703"/>
              </p:ext>
            </p:extLst>
          </p:nvPr>
        </p:nvGraphicFramePr>
        <p:xfrm>
          <a:off x="3177" y="3177"/>
          <a:ext cx="3174" cy="3174"/>
        </p:xfrm>
        <a:graphic>
          <a:graphicData uri="http://schemas.openxmlformats.org/presentationml/2006/ole">
            <mc:AlternateContent xmlns:mc="http://schemas.openxmlformats.org/markup-compatibility/2006">
              <mc:Choice xmlns:v="urn:schemas-microsoft-com:vml" Requires="v">
                <p:oleObj spid="_x0000_s92196"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3177" y="3177"/>
                        <a:ext cx="3174" cy="3174"/>
                      </a:xfrm>
                      <a:prstGeom prst="rect">
                        <a:avLst/>
                      </a:prstGeom>
                    </p:spPr>
                  </p:pic>
                </p:oleObj>
              </mc:Fallback>
            </mc:AlternateContent>
          </a:graphicData>
        </a:graphic>
      </p:graphicFrame>
      <p:sp>
        <p:nvSpPr>
          <p:cNvPr id="6" name="TextBox 5"/>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13594923" y="202887"/>
            <a:ext cx="1538514" cy="20039642"/>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24384000" cy="11734670"/>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182880" tIns="91440" rIns="182880" bIns="91440" numCol="1" anchor="t" anchorCtr="0" compatLnSpc="1">
            <a:prstTxWarp prst="textNoShape">
              <a:avLst/>
            </a:prstTxWarp>
            <a:noAutofit/>
          </a:bodyPr>
          <a:lstStyle/>
          <a:p>
            <a:endParaRPr lang="en-US" sz="8400" dirty="0">
              <a:latin typeface="+mn-lt"/>
              <a:sym typeface="Trebuchet MS" panose="020B0603020202020204" pitchFamily="34" charset="0"/>
            </a:endParaRPr>
          </a:p>
        </p:txBody>
      </p:sp>
    </p:spTree>
    <p:extLst>
      <p:ext uri="{BB962C8B-B14F-4D97-AF65-F5344CB8AC3E}">
        <p14:creationId xmlns:p14="http://schemas.microsoft.com/office/powerpoint/2010/main" val="35700231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22335744" y="12808800"/>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19354801" y="12810072"/>
            <a:ext cx="2964102" cy="307776"/>
          </a:xfrm>
          <a:prstGeom prst="rect">
            <a:avLst/>
          </a:prstGeom>
        </p:spPr>
        <p:txBody>
          <a:bodyPr/>
          <a:lstStyle>
            <a:lvl1pPr>
              <a:defRPr>
                <a:solidFill>
                  <a:schemeClr val="bg1"/>
                </a:solidFill>
                <a:latin typeface="+mn-lt"/>
                <a:sym typeface="Trebuchet MS" panose="020B0603020202020204" pitchFamily="34" charset="0"/>
              </a:defRPr>
            </a:lvl1pPr>
          </a:lstStyle>
          <a:p>
            <a:fld id="{398CD1E5-8133-4745-ACF5-00A14BA9F808}" type="datetime1">
              <a:rPr lang="en-US" smtClean="0"/>
              <a:t>5/6/21</a:t>
            </a:fld>
            <a:endParaRPr lang="en-US" dirty="0"/>
          </a:p>
        </p:txBody>
      </p:sp>
      <p:sp>
        <p:nvSpPr>
          <p:cNvPr id="11"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mn-lt"/>
                <a:sym typeface="Trebuchet MS" panose="020B0603020202020204" pitchFamily="34" charset="0"/>
              </a:rPr>
              <a:t>Copyright © 2020 by Boston Consulting Group. All rights reserved.</a:t>
            </a:r>
            <a:endParaRPr lang="en-US" sz="14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1260000" y="1245600"/>
            <a:ext cx="21866400" cy="941796"/>
          </a:xfrm>
        </p:spPr>
        <p:txBody>
          <a:bodyPr/>
          <a:lstStyle>
            <a:lvl1pPr>
              <a:defRPr sz="68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304404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19354801" y="12810072"/>
            <a:ext cx="2964102" cy="30777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fld id="{7BBD2DFD-94F4-4CDE-8690-F9C966C1BBB1}" type="datetime1">
              <a:rPr lang="en-US" smtClean="0"/>
              <a:t>5/6/21</a:t>
            </a:fld>
            <a:endParaRPr lang="en-US" dirty="0"/>
          </a:p>
        </p:txBody>
      </p:sp>
      <p:sp>
        <p:nvSpPr>
          <p:cNvPr id="7"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986738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22335744" y="12808800"/>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19354801" y="12810072"/>
            <a:ext cx="2964102" cy="307776"/>
          </a:xfrm>
          <a:prstGeom prst="rect">
            <a:avLst/>
          </a:prstGeom>
        </p:spPr>
        <p:txBody>
          <a:bodyPr/>
          <a:lstStyle>
            <a:lvl1pPr>
              <a:defRPr>
                <a:solidFill>
                  <a:schemeClr val="bg1"/>
                </a:solidFill>
                <a:latin typeface="+mn-lt"/>
                <a:sym typeface="Trebuchet MS" panose="020B0603020202020204" pitchFamily="34" charset="0"/>
              </a:defRPr>
            </a:lvl1pPr>
          </a:lstStyle>
          <a:p>
            <a:fld id="{3473CDAB-82A6-4B20-A860-B78938DF28BD}" type="datetime1">
              <a:rPr lang="en-US" smtClean="0"/>
              <a:t>5/6/21</a:t>
            </a:fld>
            <a:endParaRPr lang="en-US" dirty="0"/>
          </a:p>
        </p:txBody>
      </p:sp>
      <p:sp>
        <p:nvSpPr>
          <p:cNvPr id="9"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mn-lt"/>
                <a:sym typeface="Trebuchet MS" panose="020B0603020202020204" pitchFamily="34" charset="0"/>
              </a:rPr>
              <a:t>Copyright © 2020 by Boston Consulting Group. All rights reserved.</a:t>
            </a:r>
            <a:endParaRPr lang="en-US" sz="14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228647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10043652" y="3328513"/>
            <a:ext cx="12418144" cy="6647974"/>
          </a:xfrm>
          <a:prstGeom prst="rect">
            <a:avLst/>
          </a:prstGeom>
        </p:spPr>
        <p:txBody>
          <a:bodyPr wrap="square" lIns="0" tIns="0" rIns="0" bIns="0" anchor="ctr">
            <a:spAutoFit/>
          </a:bodyPr>
          <a:lstStyle/>
          <a:p>
            <a:pPr indent="0">
              <a:lnSpc>
                <a:spcPct val="100000"/>
              </a:lnSpc>
            </a:pPr>
            <a:r>
              <a:rPr lang="en-US" sz="1800" b="0" dirty="0">
                <a:latin typeface="+mn-lt"/>
                <a:sym typeface="Trebuchet MS" panose="020B0603020202020204" pitchFamily="34" charset="0"/>
              </a:rPr>
              <a:t>The services and materials provided by Boston Consulting Group (BCG) are subject to BCG's Standard Terms </a:t>
            </a:r>
            <a:br>
              <a:rPr lang="en-US" sz="1800" b="0" dirty="0">
                <a:latin typeface="+mn-lt"/>
                <a:sym typeface="Trebuchet MS" panose="020B0603020202020204" pitchFamily="34" charset="0"/>
              </a:rPr>
            </a:br>
            <a:r>
              <a:rPr lang="en-US" sz="18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1800" b="0" dirty="0">
                <a:latin typeface="+mn-lt"/>
                <a:sym typeface="Trebuchet MS" panose="020B0603020202020204" pitchFamily="34" charset="0"/>
              </a:rPr>
            </a:br>
            <a:r>
              <a:rPr lang="en-US" sz="1800" b="0" dirty="0">
                <a:latin typeface="+mn-lt"/>
                <a:sym typeface="Trebuchet MS" panose="020B0603020202020204" pitchFamily="34" charset="0"/>
              </a:rPr>
              <a:t>to update these materials after the date hereof, notwithstanding that such information may become outdated </a:t>
            </a:r>
            <a:br>
              <a:rPr lang="en-US" sz="1800" b="0" dirty="0">
                <a:latin typeface="+mn-lt"/>
                <a:sym typeface="Trebuchet MS" panose="020B0603020202020204" pitchFamily="34" charset="0"/>
              </a:rPr>
            </a:br>
            <a:r>
              <a:rPr lang="en-US" sz="1800" b="0" dirty="0">
                <a:latin typeface="+mn-lt"/>
                <a:sym typeface="Trebuchet MS" panose="020B0603020202020204" pitchFamily="34" charset="0"/>
              </a:rPr>
              <a:t>or inaccurate.</a:t>
            </a:r>
          </a:p>
          <a:p>
            <a:pPr indent="0">
              <a:lnSpc>
                <a:spcPct val="100000"/>
              </a:lnSpc>
            </a:pPr>
            <a:r>
              <a:rPr lang="en-US" sz="1800" b="0" dirty="0">
                <a:latin typeface="+mn-lt"/>
                <a:sym typeface="Trebuchet MS" panose="020B0603020202020204" pitchFamily="34" charset="0"/>
              </a:rPr>
              <a:t> </a:t>
            </a:r>
          </a:p>
          <a:p>
            <a:pPr indent="0">
              <a:lnSpc>
                <a:spcPct val="100000"/>
              </a:lnSpc>
            </a:pPr>
            <a:r>
              <a:rPr lang="en-US" sz="18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1800" b="0" dirty="0">
              <a:latin typeface="+mn-lt"/>
              <a:sym typeface="Trebuchet MS" panose="020B0603020202020204" pitchFamily="34" charset="0"/>
            </a:endParaRPr>
          </a:p>
          <a:p>
            <a:pPr marL="0" marR="0" indent="0" algn="l" defTabSz="1828800" rtl="0" eaLnBrk="1" fontAlgn="auto" latinLnBrk="0" hangingPunct="1">
              <a:lnSpc>
                <a:spcPct val="100000"/>
              </a:lnSpc>
              <a:spcBef>
                <a:spcPts val="0"/>
              </a:spcBef>
              <a:spcAft>
                <a:spcPts val="0"/>
              </a:spcAft>
              <a:buClrTx/>
              <a:buSzTx/>
              <a:buFontTx/>
              <a:buNone/>
              <a:tabLst/>
              <a:defRPr/>
            </a:pPr>
            <a:r>
              <a:rPr lang="en-US" sz="18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1278089" y="5946153"/>
            <a:ext cx="6399058" cy="1412694"/>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102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8735796" y="3260371"/>
            <a:ext cx="0" cy="6784258"/>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19354801" y="12810072"/>
            <a:ext cx="2964102" cy="30777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fld id="{0C7E5DF5-1E51-4713-A9FB-7566A1462000}" type="datetime1">
              <a:rPr lang="en-US" smtClean="0"/>
              <a:t>5/6/21</a:t>
            </a:fld>
            <a:endParaRPr lang="en-US" dirty="0"/>
          </a:p>
        </p:txBody>
      </p:sp>
      <p:sp>
        <p:nvSpPr>
          <p:cNvPr id="10"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284975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68962723"/>
              </p:ext>
            </p:extLst>
          </p:nvPr>
        </p:nvGraphicFramePr>
        <p:xfrm>
          <a:off x="3177" y="3177"/>
          <a:ext cx="3174" cy="3174"/>
        </p:xfrm>
        <a:graphic>
          <a:graphicData uri="http://schemas.openxmlformats.org/presentationml/2006/ole">
            <mc:AlternateContent xmlns:mc="http://schemas.openxmlformats.org/markup-compatibility/2006">
              <mc:Choice xmlns:v="urn:schemas-microsoft-com:vml" Requires="v">
                <p:oleObj spid="_x0000_s93220"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3177" y="3177"/>
                        <a:ext cx="3174" cy="3174"/>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24384000" cy="13716000"/>
          </a:xfrm>
          <a:prstGeom prst="rect">
            <a:avLst/>
          </a:prstGeom>
        </p:spPr>
      </p:pic>
      <p:sp>
        <p:nvSpPr>
          <p:cNvPr id="10" name="Rectangle 9">
            <a:extLst>
              <a:ext uri="{FF2B5EF4-FFF2-40B4-BE49-F238E27FC236}">
                <a16:creationId xmlns:a16="http://schemas.microsoft.com/office/drawing/2014/main" id="{854D5010-62C8-40BE-BE2C-9BA62B902CFE}"/>
              </a:ext>
            </a:extLst>
          </p:cNvPr>
          <p:cNvSpPr/>
          <p:nvPr userDrawn="1"/>
        </p:nvSpPr>
        <p:spPr bwMode="black">
          <a:xfrm>
            <a:off x="1261872" y="1252400"/>
            <a:ext cx="16250400" cy="11059200"/>
          </a:xfrm>
          <a:prstGeom prst="rect">
            <a:avLst/>
          </a:prstGeom>
          <a:gradFill flip="none" rotWithShape="1">
            <a:gsLst>
              <a:gs pos="0">
                <a:srgbClr val="1D2B5D">
                  <a:alpha val="80000"/>
                </a:srgbClr>
              </a:gs>
              <a:gs pos="100000">
                <a:srgbClr val="4E67C7"/>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4000" dirty="0">
              <a:solidFill>
                <a:prstClr val="white"/>
              </a:solidFill>
              <a:latin typeface="+mn-lt"/>
              <a:sym typeface="Trebuchet MS" panose="020B0603020202020204" pitchFamily="34" charset="0"/>
            </a:endParaRPr>
          </a:p>
        </p:txBody>
      </p:sp>
      <p:sp>
        <p:nvSpPr>
          <p:cNvPr id="15" name="TextBox 14"/>
          <p:cNvSpPr txBox="1"/>
          <p:nvPr/>
        </p:nvSpPr>
        <p:spPr bwMode="white">
          <a:xfrm>
            <a:off x="1849959" y="11430356"/>
            <a:ext cx="1681602" cy="340220"/>
          </a:xfrm>
          <a:prstGeom prst="rect">
            <a:avLst/>
          </a:prstGeom>
          <a:noFill/>
        </p:spPr>
        <p:txBody>
          <a:bodyPr wrap="none" lIns="0" tIns="0" rIns="0" bIns="0" rtlCol="0" anchor="b">
            <a:noAutofit/>
          </a:bodyPr>
          <a:lstStyle/>
          <a:p>
            <a:pPr>
              <a:lnSpc>
                <a:spcPct val="90000"/>
              </a:lnSpc>
              <a:spcAft>
                <a:spcPts val="1200"/>
              </a:spcAft>
            </a:pPr>
            <a:r>
              <a:rPr lang="en-US" sz="24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5353717" y="5939026"/>
            <a:ext cx="8066714" cy="1685948"/>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noAutofit/>
          </a:bodyPr>
          <a:lstStyle/>
          <a:p>
            <a:endParaRPr lang="en-US" sz="8400"/>
          </a:p>
        </p:txBody>
      </p:sp>
    </p:spTree>
    <p:extLst>
      <p:ext uri="{BB962C8B-B14F-4D97-AF65-F5344CB8AC3E}">
        <p14:creationId xmlns:p14="http://schemas.microsoft.com/office/powerpoint/2010/main" val="105181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1200" y="-1"/>
            <a:ext cx="24387600" cy="13716002"/>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2000"/>
                </a:spcAft>
              </a:pPr>
              <a:endParaRPr lang="en-US" sz="2400" dirty="0">
                <a:solidFill>
                  <a:schemeClr val="bg1"/>
                </a:solidFill>
                <a:latin typeface="+mn-lt"/>
              </a:endParaRPr>
            </a:p>
          </p:txBody>
        </p:sp>
        <p:sp>
          <p:nvSpPr>
            <p:cNvPr id="60" name="Footnote example"/>
            <p:cNvSpPr txBox="1"/>
            <p:nvPr/>
          </p:nvSpPr>
          <p:spPr>
            <a:xfrm>
              <a:off x="630000" y="6144442"/>
              <a:ext cx="9030914" cy="415499"/>
            </a:xfrm>
            <a:prstGeom prst="rect">
              <a:avLst/>
            </a:prstGeom>
            <a:noFill/>
          </p:spPr>
          <p:txBody>
            <a:bodyPr wrap="square" lIns="0" tIns="0" rIns="0" bIns="0" rtlCol="0" anchor="b">
              <a:spAutoFit/>
            </a:bodyPr>
            <a:lstStyle/>
            <a:p>
              <a:pPr marL="0" marR="0" lvl="0" indent="0" algn="l" defTabSz="18288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18288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18288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fld id="{17BE6387-77F2-46EE-ADCD-26E67D29C54F}" type="datetime1">
              <a:rPr lang="en-US" smtClean="0"/>
              <a:t>5/6/21</a:t>
            </a:fld>
            <a:endParaRPr lang="en-US" dirty="0"/>
          </a:p>
        </p:txBody>
      </p:sp>
      <p:sp>
        <p:nvSpPr>
          <p:cNvPr id="56"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171102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88944600"/>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spid="_x0000_s94244"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3176" y="3176"/>
                        <a:ext cx="3176" cy="3176"/>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317500" cy="31750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108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10558367"/>
            <a:ext cx="24384000" cy="3157634"/>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2000"/>
              </a:spcAft>
            </a:pPr>
            <a:endParaRPr lang="en-US" sz="24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16943843" y="3946544"/>
            <a:ext cx="1161146" cy="13716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24384000" cy="10553700"/>
          </a:xfrm>
          <a:prstGeom prst="rect">
            <a:avLst/>
          </a:prstGeom>
        </p:spPr>
      </p:pic>
      <p:sp>
        <p:nvSpPr>
          <p:cNvPr id="20" name="Picture Placeholder 8"/>
          <p:cNvSpPr>
            <a:spLocks noGrp="1"/>
          </p:cNvSpPr>
          <p:nvPr>
            <p:ph type="pic" sz="quarter" idx="13" hasCustomPrompt="1"/>
          </p:nvPr>
        </p:nvSpPr>
        <p:spPr>
          <a:xfrm>
            <a:off x="18733123" y="11141285"/>
            <a:ext cx="3735870" cy="1793666"/>
          </a:xfrm>
          <a:prstGeom prst="rect">
            <a:avLst/>
          </a:prstGeom>
        </p:spPr>
        <p:txBody>
          <a:bodyPr anchor="b"/>
          <a:lstStyle>
            <a:lvl1pPr algn="ctr">
              <a:defRPr sz="32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1261872" y="1252400"/>
            <a:ext cx="16250400" cy="110592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4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2234830" y="12415684"/>
            <a:ext cx="13737600" cy="654296"/>
          </a:xfrm>
          <a:prstGeom prst="rect">
            <a:avLst/>
          </a:prstGeom>
          <a:noFill/>
        </p:spPr>
        <p:txBody>
          <a:bodyPr anchor="ctr"/>
          <a:lstStyle>
            <a:lvl1pPr algn="l">
              <a:lnSpc>
                <a:spcPct val="110000"/>
              </a:lnSpc>
              <a:buNone/>
              <a:defRPr sz="24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457200" indent="0" algn="ctr">
              <a:buNone/>
              <a:defRPr/>
            </a:lvl4pPr>
            <a:lvl5pPr marL="9144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2234830" y="10991413"/>
            <a:ext cx="13737600" cy="872390"/>
          </a:xfrm>
          <a:prstGeom prst="rect">
            <a:avLst/>
          </a:prstGeom>
        </p:spPr>
        <p:txBody>
          <a:bodyPr anchor="ctr"/>
          <a:lstStyle>
            <a:lvl1pPr marL="0" indent="0" algn="l">
              <a:lnSpc>
                <a:spcPct val="110000"/>
              </a:lnSpc>
              <a:buNone/>
              <a:defRPr sz="3200">
                <a:solidFill>
                  <a:schemeClr val="bg1"/>
                </a:solidFill>
                <a:latin typeface="+mn-lt"/>
                <a:sym typeface="Trebuchet MS" panose="020B0603020202020204" pitchFamily="34" charset="0"/>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dirty="0"/>
              <a:t>Subtitle in sentence case</a:t>
            </a:r>
          </a:p>
        </p:txBody>
      </p:sp>
      <p:sp>
        <p:nvSpPr>
          <p:cNvPr id="27" name="Title 1"/>
          <p:cNvSpPr>
            <a:spLocks noGrp="1"/>
          </p:cNvSpPr>
          <p:nvPr>
            <p:ph type="ctrTitle" hasCustomPrompt="1"/>
          </p:nvPr>
        </p:nvSpPr>
        <p:spPr bwMode="ltGray">
          <a:xfrm>
            <a:off x="2234830" y="3772485"/>
            <a:ext cx="13737600" cy="6276846"/>
          </a:xfrm>
        </p:spPr>
        <p:txBody>
          <a:bodyPr anchor="b">
            <a:normAutofit/>
          </a:bodyPr>
          <a:lstStyle>
            <a:lvl1pPr algn="l">
              <a:lnSpc>
                <a:spcPct val="93000"/>
              </a:lnSpc>
              <a:defRPr sz="108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2234830" y="2225359"/>
            <a:ext cx="4655288" cy="972958"/>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noAutofit/>
          </a:bodyPr>
          <a:lstStyle/>
          <a:p>
            <a:endParaRPr lang="en-US" sz="8400"/>
          </a:p>
        </p:txBody>
      </p:sp>
    </p:spTree>
    <p:extLst>
      <p:ext uri="{BB962C8B-B14F-4D97-AF65-F5344CB8AC3E}">
        <p14:creationId xmlns:p14="http://schemas.microsoft.com/office/powerpoint/2010/main" val="17435461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fld id="{04E73415-6409-4F26-BEB6-7A2BE0D5FF7E}" type="datetime1">
              <a:rPr lang="en-US" smtClean="0"/>
              <a:t>5/6/21</a:t>
            </a:fld>
            <a:endParaRPr lang="en-US" dirty="0"/>
          </a:p>
        </p:txBody>
      </p:sp>
      <p:sp>
        <p:nvSpPr>
          <p:cNvPr id="7"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1260000" y="1245601"/>
            <a:ext cx="21866700" cy="664798"/>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8601740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4032" y="3177"/>
          <a:ext cx="4032" cy="3176"/>
        </p:xfrm>
        <a:graphic>
          <a:graphicData uri="http://schemas.openxmlformats.org/presentationml/2006/ole">
            <mc:AlternateContent xmlns:mc="http://schemas.openxmlformats.org/markup-compatibility/2006">
              <mc:Choice xmlns:v="urn:schemas-microsoft-com:vml" Requires="v">
                <p:oleObj spid="_x0000_s1539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4032" y="3177"/>
                        <a:ext cx="4032" cy="3176"/>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6400"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sp>
        <p:nvSpPr>
          <p:cNvPr id="66" name="ArrowPanelGray"/>
          <p:cNvSpPr/>
          <p:nvPr userDrawn="1"/>
        </p:nvSpPr>
        <p:spPr>
          <a:xfrm flipH="1" flipV="1">
            <a:off x="7" y="4"/>
            <a:ext cx="10961901" cy="13718621"/>
          </a:xfrm>
          <a:custGeom>
            <a:avLst/>
            <a:gdLst>
              <a:gd name="connsiteX0" fmla="*/ 4316963 w 4316963"/>
              <a:gd name="connsiteY0" fmla="*/ 6859311 h 6859311"/>
              <a:gd name="connsiteX1" fmla="*/ 2973131 w 4316963"/>
              <a:gd name="connsiteY1" fmla="*/ 6859311 h 6859311"/>
              <a:gd name="connsiteX2" fmla="*/ 2973131 w 4316963"/>
              <a:gd name="connsiteY2" fmla="*/ 6858000 h 6859311"/>
              <a:gd name="connsiteX3" fmla="*/ 823379 w 4316963"/>
              <a:gd name="connsiteY3" fmla="*/ 6858000 h 6859311"/>
              <a:gd name="connsiteX4" fmla="*/ 0 w 4316963"/>
              <a:gd name="connsiteY4" fmla="*/ 3429000 h 6859311"/>
              <a:gd name="connsiteX5" fmla="*/ 823379 w 4316963"/>
              <a:gd name="connsiteY5" fmla="*/ 0 h 6859311"/>
              <a:gd name="connsiteX6" fmla="*/ 3258479 w 4316963"/>
              <a:gd name="connsiteY6" fmla="*/ 0 h 6859311"/>
              <a:gd name="connsiteX7" fmla="*/ 3258479 w 4316963"/>
              <a:gd name="connsiteY7" fmla="*/ 1311 h 6859311"/>
              <a:gd name="connsiteX8" fmla="*/ 4316963 w 4316963"/>
              <a:gd name="connsiteY8" fmla="*/ 1311 h 685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16963" h="6859311">
                <a:moveTo>
                  <a:pt x="4316963" y="6859311"/>
                </a:moveTo>
                <a:lnTo>
                  <a:pt x="2973131" y="6859311"/>
                </a:lnTo>
                <a:lnTo>
                  <a:pt x="2973131" y="6858000"/>
                </a:lnTo>
                <a:lnTo>
                  <a:pt x="823379" y="6858000"/>
                </a:lnTo>
                <a:lnTo>
                  <a:pt x="0" y="3429000"/>
                </a:lnTo>
                <a:lnTo>
                  <a:pt x="823379" y="0"/>
                </a:lnTo>
                <a:lnTo>
                  <a:pt x="3258479" y="0"/>
                </a:lnTo>
                <a:lnTo>
                  <a:pt x="3258479" y="1311"/>
                </a:lnTo>
                <a:lnTo>
                  <a:pt x="4316963" y="1311"/>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2116120" rtl="0" eaLnBrk="1" fontAlgn="auto" latinLnBrk="0" hangingPunct="1">
              <a:lnSpc>
                <a:spcPct val="90000"/>
              </a:lnSpc>
              <a:spcBef>
                <a:spcPts val="0"/>
              </a:spcBef>
              <a:spcAft>
                <a:spcPts val="200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5" name="Page"/>
          <p:cNvSpPr txBox="1"/>
          <p:nvPr userDrawn="1"/>
        </p:nvSpPr>
        <p:spPr>
          <a:xfrm>
            <a:off x="21966653" y="12810073"/>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8" name="Date Placeholder 7"/>
          <p:cNvSpPr>
            <a:spLocks noGrp="1"/>
          </p:cNvSpPr>
          <p:nvPr userDrawn="1">
            <p:ph type="dt" sz="half" idx="11"/>
          </p:nvPr>
        </p:nvSpPr>
        <p:spPr>
          <a:xfrm>
            <a:off x="20037833" y="12810073"/>
            <a:ext cx="1928824" cy="307777"/>
          </a:xfrm>
          <a:prstGeom prst="rect">
            <a:avLst/>
          </a:prstGeom>
        </p:spPr>
        <p:txBody>
          <a:bodyPr/>
          <a:lstStyle>
            <a:lvl1pPr>
              <a:defRPr>
                <a:solidFill>
                  <a:schemeClr val="bg1"/>
                </a:solidFill>
                <a:latin typeface="+mn-lt"/>
                <a:ea typeface="+mn-ea"/>
                <a:cs typeface="+mn-cs"/>
                <a:sym typeface="+mn-lt"/>
              </a:defRPr>
            </a:lvl1pPr>
          </a:lstStyle>
          <a:p>
            <a:pPr defTabSz="2116120" hangingPunct="1"/>
            <a:fld id="{9F790CF9-1D54-4846-8004-72EAF67C81C7}" type="datetime1">
              <a:rPr lang="en-US" b="0" kern="1200" cap="none" smtClean="0">
                <a:solidFill>
                  <a:prstClr val="white"/>
                </a:solidFill>
                <a:effectLst/>
              </a:rPr>
              <a:t>5/6/21</a:t>
            </a:fld>
            <a:endParaRPr lang="en-US" b="0" kern="1200" cap="none" dirty="0">
              <a:solidFill>
                <a:prstClr val="white"/>
              </a:solidFill>
              <a:effectLst/>
            </a:endParaRPr>
          </a:p>
        </p:txBody>
      </p:sp>
      <p:sp>
        <p:nvSpPr>
          <p:cNvPr id="12"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aramond"/>
                <a:ea typeface="+mn-ea"/>
                <a:cs typeface="+mn-cs"/>
                <a:sym typeface="+mn-lt"/>
              </a:rPr>
              <a:t>Copyright © 2020 by Boston Consulting Group. All rights reserved.</a:t>
            </a:r>
          </a:p>
        </p:txBody>
      </p:sp>
      <p:sp>
        <p:nvSpPr>
          <p:cNvPr id="14" name="Title 1"/>
          <p:cNvSpPr>
            <a:spLocks noGrp="1"/>
          </p:cNvSpPr>
          <p:nvPr userDrawn="1">
            <p:ph type="title" hasCustomPrompt="1"/>
          </p:nvPr>
        </p:nvSpPr>
        <p:spPr>
          <a:xfrm>
            <a:off x="1260001" y="3571200"/>
            <a:ext cx="8211987" cy="6573600"/>
          </a:xfrm>
          <a:prstGeom prst="rect">
            <a:avLst/>
          </a:prstGeom>
        </p:spPr>
        <p:txBody>
          <a:bodyPr anchor="ctr">
            <a:noAutofit/>
          </a:bodyPr>
          <a:lstStyle>
            <a:lvl1pPr>
              <a:defRPr sz="6400" b="0">
                <a:solidFill>
                  <a:schemeClr val="tx2"/>
                </a:solidFill>
                <a:latin typeface="+mj-lt"/>
                <a:ea typeface="+mj-ea"/>
                <a:cs typeface="+mj-cs"/>
                <a:sym typeface="+mj-lt"/>
              </a:defRPr>
            </a:lvl1pPr>
          </a:lstStyle>
          <a:p>
            <a:r>
              <a:rPr lang="en-US" dirty="0"/>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470385" y="7188739"/>
            <a:ext cx="3466728" cy="6765925"/>
          </a:xfrm>
          <a:custGeom>
            <a:avLst/>
            <a:gdLst>
              <a:gd name="connsiteX0" fmla="*/ 938221 w 1365250"/>
              <a:gd name="connsiteY0" fmla="*/ 0 h 3382962"/>
              <a:gd name="connsiteX1" fmla="*/ 1365250 w 1365250"/>
              <a:gd name="connsiteY1" fmla="*/ 0 h 3382962"/>
              <a:gd name="connsiteX2" fmla="*/ 1365250 w 1365250"/>
              <a:gd name="connsiteY2" fmla="*/ 3382962 h 3382962"/>
              <a:gd name="connsiteX3" fmla="*/ 126131 w 1365250"/>
              <a:gd name="connsiteY3" fmla="*/ 3382962 h 3382962"/>
              <a:gd name="connsiteX4" fmla="*/ 0 w 1365250"/>
              <a:gd name="connsiteY4" fmla="*/ 0 h 3382962"/>
              <a:gd name="connsiteX5" fmla="*/ 655186 w 1365250"/>
              <a:gd name="connsiteY5" fmla="*/ 0 h 3382962"/>
              <a:gd name="connsiteX6" fmla="*/ 0 w 1365250"/>
              <a:gd name="connsiteY6" fmla="*/ 2331602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38221" y="0"/>
                </a:moveTo>
                <a:lnTo>
                  <a:pt x="1365250" y="0"/>
                </a:lnTo>
                <a:lnTo>
                  <a:pt x="1365250" y="3382962"/>
                </a:lnTo>
                <a:lnTo>
                  <a:pt x="126131" y="3382962"/>
                </a:lnTo>
                <a:close/>
                <a:moveTo>
                  <a:pt x="0" y="0"/>
                </a:moveTo>
                <a:lnTo>
                  <a:pt x="655186" y="0"/>
                </a:lnTo>
                <a:lnTo>
                  <a:pt x="0" y="2331602"/>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45580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1258800" y="4171256"/>
            <a:ext cx="21867900" cy="8145952"/>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5187042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fld id="{DD7201C6-DBC5-45F0-B1C9-E51D4F919E50}" type="datetime1">
              <a:rPr lang="en-US" smtClean="0"/>
              <a:t>5/6/21</a:t>
            </a:fld>
            <a:endParaRPr lang="en-US" dirty="0"/>
          </a:p>
        </p:txBody>
      </p:sp>
      <p:sp>
        <p:nvSpPr>
          <p:cNvPr id="11"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2" y="-2617"/>
            <a:ext cx="9388800" cy="13718618"/>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l">
              <a:lnSpc>
                <a:spcPct val="90000"/>
              </a:lnSpc>
              <a:spcAft>
                <a:spcPts val="2000"/>
              </a:spcAft>
            </a:pPr>
            <a:endParaRPr lang="en-US" sz="24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1260000" y="4317975"/>
            <a:ext cx="7488000" cy="1083374"/>
          </a:xfrm>
          <a:prstGeom prst="rect">
            <a:avLst/>
          </a:prstGeom>
        </p:spPr>
        <p:txBody>
          <a:bodyPr>
            <a:noAutofit/>
          </a:bodyPr>
          <a:lstStyle>
            <a:lvl1pPr marL="0" indent="0" algn="l">
              <a:buNone/>
              <a:defRPr sz="3200">
                <a:solidFill>
                  <a:schemeClr val="tx2"/>
                </a:solidFill>
                <a:latin typeface="+mn-lt"/>
                <a:sym typeface="Trebuchet MS" panose="020B0603020202020204" pitchFamily="34" charset="0"/>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dirty="0"/>
              <a:t>Click to add subtitle</a:t>
            </a:r>
          </a:p>
        </p:txBody>
      </p:sp>
      <p:sp>
        <p:nvSpPr>
          <p:cNvPr id="9" name="Title 4"/>
          <p:cNvSpPr>
            <a:spLocks noGrp="1"/>
          </p:cNvSpPr>
          <p:nvPr>
            <p:ph type="title" hasCustomPrompt="1"/>
          </p:nvPr>
        </p:nvSpPr>
        <p:spPr>
          <a:xfrm>
            <a:off x="1260000" y="2454097"/>
            <a:ext cx="7488000" cy="1329594"/>
          </a:xfrm>
        </p:spPr>
        <p:txBody>
          <a:bodyPr anchor="t">
            <a:noAutofit/>
          </a:bodyPr>
          <a:lstStyle>
            <a:lvl1pPr>
              <a:defRPr sz="48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9576305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fld id="{7AEF71BF-8C56-4B0D-8482-EA5B20BF725C}" type="datetime1">
              <a:rPr lang="en-US" smtClean="0"/>
              <a:t>5/6/21</a:t>
            </a:fld>
            <a:endParaRPr lang="en-US" dirty="0"/>
          </a:p>
        </p:txBody>
      </p:sp>
      <p:sp>
        <p:nvSpPr>
          <p:cNvPr id="12"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2569485" y="5336082"/>
            <a:ext cx="19240982" cy="6402052"/>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1828800" rtl="0" eaLnBrk="1" fontAlgn="auto" latinLnBrk="0" hangingPunct="1">
              <a:lnSpc>
                <a:spcPts val="12000"/>
              </a:lnSpc>
              <a:spcBef>
                <a:spcPts val="0"/>
              </a:spcBef>
              <a:spcAft>
                <a:spcPts val="0"/>
              </a:spcAft>
              <a:defRPr lang="en-US" sz="108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2561387" y="2848163"/>
            <a:ext cx="1903442" cy="1903442"/>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24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65665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fld id="{E5E29BEE-2906-4A02-9D64-508FF403FF3E}" type="datetime1">
              <a:rPr lang="en-US" smtClean="0"/>
              <a:t>5/6/21</a:t>
            </a:fld>
            <a:endParaRPr lang="en-US" dirty="0"/>
          </a:p>
        </p:txBody>
      </p:sp>
      <p:sp>
        <p:nvSpPr>
          <p:cNvPr id="7" name="Title 1"/>
          <p:cNvSpPr>
            <a:spLocks noGrp="1"/>
          </p:cNvSpPr>
          <p:nvPr>
            <p:ph type="title" hasCustomPrompt="1"/>
          </p:nvPr>
        </p:nvSpPr>
        <p:spPr bwMode="blackWhite">
          <a:xfrm>
            <a:off x="1260000" y="7653600"/>
            <a:ext cx="21873600" cy="4082400"/>
          </a:xfrm>
        </p:spPr>
        <p:txBody>
          <a:bodyPr anchor="t">
            <a:noAutofit/>
          </a:bodyPr>
          <a:lstStyle>
            <a:lvl1pPr>
              <a:defRPr sz="108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1260001" y="7360032"/>
            <a:ext cx="23117174"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60036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8129989" y="0"/>
            <a:ext cx="833902" cy="13716000"/>
          </a:xfrm>
          <a:prstGeom prst="rect">
            <a:avLst/>
          </a:prstGeom>
        </p:spPr>
      </p:pic>
      <p:sp>
        <p:nvSpPr>
          <p:cNvPr id="18" name="Date Placeholder 1"/>
          <p:cNvSpPr>
            <a:spLocks noGrp="1"/>
          </p:cNvSpPr>
          <p:nvPr>
            <p:ph type="dt" sz="half" idx="31"/>
          </p:nvPr>
        </p:nvSpPr>
        <p:spPr>
          <a:xfrm>
            <a:off x="19354801" y="12810072"/>
            <a:ext cx="2964102" cy="307776"/>
          </a:xfrm>
          <a:prstGeom prst="rect">
            <a:avLst/>
          </a:prstGeom>
        </p:spPr>
        <p:txBody>
          <a:bodyPr/>
          <a:lstStyle>
            <a:lvl1pPr>
              <a:defRPr>
                <a:solidFill>
                  <a:schemeClr val="bg1"/>
                </a:solidFill>
                <a:latin typeface="+mn-lt"/>
                <a:sym typeface="Trebuchet MS" panose="020B0603020202020204" pitchFamily="34" charset="0"/>
              </a:defRPr>
            </a:lvl1pPr>
          </a:lstStyle>
          <a:p>
            <a:fld id="{2B6DBBFA-0BDD-41F1-A7BB-495563AF8767}" type="datetime1">
              <a:rPr lang="en-US" smtClean="0"/>
              <a:t>5/6/21</a:t>
            </a:fld>
            <a:endParaRPr lang="en-US" dirty="0"/>
          </a:p>
        </p:txBody>
      </p:sp>
      <p:sp>
        <p:nvSpPr>
          <p:cNvPr id="20" name="TextBox 19"/>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mn-lt"/>
                <a:sym typeface="Trebuchet MS" panose="020B0603020202020204" pitchFamily="34" charset="0"/>
              </a:rPr>
              <a:t>Copyright © 2020 by Boston Consulting Group. All rights reserved.</a:t>
            </a:r>
            <a:endParaRPr lang="en-US" sz="14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8159016" cy="13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24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1260001" y="5362206"/>
            <a:ext cx="6255762" cy="2991588"/>
          </a:xfrm>
          <a:prstGeom prst="rect">
            <a:avLst/>
          </a:prstGeom>
        </p:spPr>
        <p:txBody>
          <a:bodyPr anchor="ctr">
            <a:noAutofit/>
          </a:bodyPr>
          <a:lstStyle>
            <a:lvl1pPr>
              <a:defRPr sz="48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5887993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14331213" y="0"/>
            <a:ext cx="833902" cy="13716000"/>
          </a:xfrm>
          <a:prstGeom prst="rect">
            <a:avLst/>
          </a:prstGeom>
        </p:spPr>
      </p:pic>
      <p:sp>
        <p:nvSpPr>
          <p:cNvPr id="14" name="Rectangle 13"/>
          <p:cNvSpPr/>
          <p:nvPr userDrawn="1"/>
        </p:nvSpPr>
        <p:spPr bwMode="white">
          <a:xfrm>
            <a:off x="0" y="0"/>
            <a:ext cx="14343912" cy="13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24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19354801" y="12810072"/>
            <a:ext cx="2964102" cy="307776"/>
          </a:xfrm>
          <a:prstGeom prst="rect">
            <a:avLst/>
          </a:prstGeom>
        </p:spPr>
        <p:txBody>
          <a:bodyPr/>
          <a:lstStyle>
            <a:lvl1pPr>
              <a:defRPr>
                <a:solidFill>
                  <a:schemeClr val="bg1"/>
                </a:solidFill>
                <a:latin typeface="+mn-lt"/>
                <a:sym typeface="Trebuchet MS" panose="020B0603020202020204" pitchFamily="34" charset="0"/>
              </a:defRPr>
            </a:lvl1pPr>
          </a:lstStyle>
          <a:p>
            <a:fld id="{7385F404-7334-448F-8A1F-9EAC4C07C3BD}" type="datetime1">
              <a:rPr lang="en-US" smtClean="0"/>
              <a:t>5/6/21</a:t>
            </a:fld>
            <a:endParaRPr lang="en-US" dirty="0"/>
          </a:p>
        </p:txBody>
      </p:sp>
      <p:sp>
        <p:nvSpPr>
          <p:cNvPr id="19" name="TextBox 18"/>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mn-lt"/>
                <a:sym typeface="Trebuchet MS" panose="020B0603020202020204" pitchFamily="34" charset="0"/>
              </a:rPr>
              <a:t>Copyright © 2020 by Boston Consulting Group. All rights reserved.</a:t>
            </a:r>
            <a:endParaRPr lang="en-US" sz="14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1260001" y="1245601"/>
            <a:ext cx="12553058" cy="664798"/>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5274950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18058493" y="0"/>
            <a:ext cx="833902" cy="13716000"/>
          </a:xfrm>
          <a:prstGeom prst="rect">
            <a:avLst/>
          </a:prstGeom>
        </p:spPr>
      </p:pic>
      <p:sp>
        <p:nvSpPr>
          <p:cNvPr id="10" name="Rectangle 9"/>
          <p:cNvSpPr/>
          <p:nvPr userDrawn="1"/>
        </p:nvSpPr>
        <p:spPr bwMode="white">
          <a:xfrm>
            <a:off x="0" y="0"/>
            <a:ext cx="18068544" cy="13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24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19354801" y="12810072"/>
            <a:ext cx="2964102" cy="307776"/>
          </a:xfrm>
        </p:spPr>
        <p:txBody>
          <a:bodyPr/>
          <a:lstStyle>
            <a:lvl1pPr>
              <a:defRPr>
                <a:solidFill>
                  <a:schemeClr val="bg1"/>
                </a:solidFill>
                <a:latin typeface="+mn-lt"/>
                <a:sym typeface="Trebuchet MS" panose="020B0603020202020204" pitchFamily="34" charset="0"/>
              </a:defRPr>
            </a:lvl1pPr>
          </a:lstStyle>
          <a:p>
            <a:fld id="{7368D531-A5A0-4FBE-916F-17CBBF59F6BE}" type="datetime1">
              <a:rPr lang="en-US" smtClean="0"/>
              <a:t>5/6/21</a:t>
            </a:fld>
            <a:endParaRPr lang="en-US" dirty="0"/>
          </a:p>
        </p:txBody>
      </p:sp>
      <p:sp>
        <p:nvSpPr>
          <p:cNvPr id="22"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mn-lt"/>
                <a:sym typeface="Trebuchet MS" panose="020B0603020202020204" pitchFamily="34" charset="0"/>
              </a:rPr>
              <a:t>Copyright © 2020 by Boston Consulting Group. All rights reserved.</a:t>
            </a:r>
            <a:endParaRPr lang="en-US" sz="1400" dirty="0">
              <a:solidFill>
                <a:schemeClr val="bg1"/>
              </a:solidFill>
              <a:latin typeface="+mn-lt"/>
              <a:sym typeface="Trebuchet MS" panose="020B0603020202020204" pitchFamily="34" charset="0"/>
            </a:endParaRPr>
          </a:p>
        </p:txBody>
      </p:sp>
      <p:sp>
        <p:nvSpPr>
          <p:cNvPr id="15" name="TextBox 14"/>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1260000" y="1245601"/>
            <a:ext cx="16203168" cy="664798"/>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143603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342137" y="0"/>
            <a:ext cx="833902" cy="13716000"/>
          </a:xfrm>
          <a:prstGeom prst="rect">
            <a:avLst/>
          </a:prstGeom>
        </p:spPr>
      </p:pic>
      <p:sp>
        <p:nvSpPr>
          <p:cNvPr id="24" name="Title 4"/>
          <p:cNvSpPr>
            <a:spLocks noGrp="1"/>
          </p:cNvSpPr>
          <p:nvPr>
            <p:ph type="title" hasCustomPrompt="1"/>
          </p:nvPr>
        </p:nvSpPr>
        <p:spPr>
          <a:xfrm>
            <a:off x="1260001" y="5362206"/>
            <a:ext cx="6255762" cy="2991588"/>
          </a:xfrm>
          <a:prstGeom prst="rect">
            <a:avLst/>
          </a:prstGeom>
        </p:spPr>
        <p:txBody>
          <a:bodyPr anchor="ctr">
            <a:noAutofit/>
          </a:bodyPr>
          <a:lstStyle>
            <a:lvl1pPr>
              <a:defRPr sz="48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8161527" y="-2617"/>
            <a:ext cx="16222474" cy="137186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24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19354801" y="12810072"/>
            <a:ext cx="2964102" cy="30777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fld id="{1BCD4928-32DA-4CF4-8866-5B87D8EDCB5C}" type="datetime1">
              <a:rPr lang="en-US" smtClean="0"/>
              <a:t>5/6/21</a:t>
            </a:fld>
            <a:endParaRPr lang="en-US" dirty="0"/>
          </a:p>
        </p:txBody>
      </p:sp>
      <p:sp>
        <p:nvSpPr>
          <p:cNvPr id="29"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lumMod val="50000"/>
                  </a:schemeClr>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834331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11379165" y="0"/>
            <a:ext cx="833902" cy="13716000"/>
          </a:xfrm>
          <a:prstGeom prst="rect">
            <a:avLst/>
          </a:prstGeom>
        </p:spPr>
      </p:pic>
      <p:sp>
        <p:nvSpPr>
          <p:cNvPr id="11" name="Rectangle 10"/>
          <p:cNvSpPr/>
          <p:nvPr userDrawn="1"/>
        </p:nvSpPr>
        <p:spPr>
          <a:xfrm>
            <a:off x="12192000" y="0"/>
            <a:ext cx="12192000" cy="13716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2000"/>
              </a:spcAft>
            </a:pPr>
            <a:endParaRPr lang="en-US" sz="24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12184043" y="0"/>
            <a:ext cx="12199954" cy="13716000"/>
          </a:xfrm>
          <a:prstGeom prst="rect">
            <a:avLst/>
          </a:prstGeom>
          <a:noFill/>
        </p:spPr>
        <p:txBody>
          <a:bodyPr lIns="914400" tIns="914400" rIns="914400" bIns="914400"/>
          <a:lstStyle>
            <a:lvl1pPr algn="ctr">
              <a:defRPr sz="36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1260000" y="3571200"/>
            <a:ext cx="8776800" cy="6573600"/>
          </a:xfrm>
          <a:prstGeom prst="rect">
            <a:avLst/>
          </a:prstGeom>
          <a:noFill/>
        </p:spPr>
        <p:txBody>
          <a:bodyPr wrap="square" lIns="0" tIns="0" rIns="320040" bIns="0" anchor="ctr">
            <a:noAutofit/>
          </a:bodyPr>
          <a:lstStyle>
            <a:lvl1pPr>
              <a:defRPr sz="88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lumMod val="50000"/>
                  </a:schemeClr>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16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19354801" y="12810072"/>
            <a:ext cx="2964102" cy="30777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fld id="{1844D3EB-C71E-4A8A-917C-DCDFD6123887}" type="datetime1">
              <a:rPr lang="en-US" smtClean="0"/>
              <a:t>5/6/21</a:t>
            </a:fld>
            <a:endParaRPr lang="en-US" dirty="0"/>
          </a:p>
        </p:txBody>
      </p:sp>
      <p:sp>
        <p:nvSpPr>
          <p:cNvPr id="17"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973609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14819699" y="0"/>
            <a:ext cx="833902" cy="13716000"/>
          </a:xfrm>
          <a:prstGeom prst="rect">
            <a:avLst/>
          </a:prstGeom>
        </p:spPr>
      </p:pic>
      <p:sp>
        <p:nvSpPr>
          <p:cNvPr id="11" name="Rectangle 10"/>
          <p:cNvSpPr/>
          <p:nvPr userDrawn="1"/>
        </p:nvSpPr>
        <p:spPr bwMode="gray">
          <a:xfrm>
            <a:off x="15639087" y="0"/>
            <a:ext cx="8744914" cy="13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24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15640051" y="0"/>
            <a:ext cx="8743950" cy="13716000"/>
          </a:xfrm>
          <a:prstGeom prst="rect">
            <a:avLst/>
          </a:prstGeom>
          <a:noFill/>
        </p:spPr>
        <p:txBody>
          <a:bodyPr lIns="182880" tIns="914400" rIns="182880" bIns="914400"/>
          <a:lstStyle>
            <a:lvl1pPr algn="ctr">
              <a:defRPr sz="32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19354801" y="12810072"/>
            <a:ext cx="2964102" cy="30777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fld id="{25FA66B1-E3BE-4006-AAF9-4AA648B7FDE0}" type="datetime1">
              <a:rPr lang="en-US" smtClean="0"/>
              <a:t>5/6/21</a:t>
            </a:fld>
            <a:endParaRPr lang="en-US" dirty="0"/>
          </a:p>
        </p:txBody>
      </p:sp>
      <p:sp>
        <p:nvSpPr>
          <p:cNvPr id="9"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1261872" y="3571200"/>
            <a:ext cx="12495104" cy="6573600"/>
          </a:xfrm>
          <a:prstGeom prst="rect">
            <a:avLst/>
          </a:prstGeom>
        </p:spPr>
        <p:txBody>
          <a:bodyPr anchor="ctr">
            <a:noAutofit/>
          </a:bodyPr>
          <a:lstStyle>
            <a:lvl1pPr>
              <a:defRPr sz="88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lumMod val="50000"/>
                  </a:schemeClr>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16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16008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x">
  <p:cSld name="1_Blank">
    <p:spTree>
      <p:nvGrpSpPr>
        <p:cNvPr id="1" name=""/>
        <p:cNvGrpSpPr/>
        <p:nvPr/>
      </p:nvGrpSpPr>
      <p:grpSpPr>
        <a:xfrm>
          <a:off x="0" y="0"/>
          <a:ext cx="0" cy="0"/>
          <a:chOff x="0" y="0"/>
          <a:chExt cx="0" cy="0"/>
        </a:xfrm>
      </p:grpSpPr>
      <p:sp>
        <p:nvSpPr>
          <p:cNvPr id="25" name="Slide Number"/>
          <p:cNvSpPr txBox="1">
            <a:spLocks noGrp="1"/>
          </p:cNvSpPr>
          <p:nvPr>
            <p:ph type="sldNum" sz="quarter" idx="2"/>
          </p:nvPr>
        </p:nvSpPr>
        <p:spPr>
          <a:xfrm>
            <a:off x="22807637" y="12496800"/>
            <a:ext cx="371426" cy="381000"/>
          </a:xfrm>
          <a:prstGeom prst="rect">
            <a:avLst/>
          </a:prstGeom>
        </p:spPr>
        <p:txBody>
          <a:bodyPr lIns="38100" tIns="38100" rIns="38100" bIns="38100" anchor="t"/>
          <a:lstStyle>
            <a:lvl1pPr defTabSz="825500">
              <a:defRPr sz="2000" b="0">
                <a:solidFill>
                  <a:schemeClr val="accent5"/>
                </a:solidFill>
                <a:latin typeface="+mj-lt"/>
                <a:ea typeface="+mj-ea"/>
                <a:cs typeface="+mj-cs"/>
                <a:sym typeface="Helvetica"/>
              </a:defRPr>
            </a:lvl1pPr>
          </a:lstStyle>
          <a:p>
            <a:pPr>
              <a:defRPr>
                <a:effectLst/>
              </a:defRPr>
            </a:pPr>
            <a:fld id="{86CB4B4D-7CA3-9044-876B-883B54F8677D}" type="slidenum">
              <a:t>‹#›</a:t>
            </a:fld>
            <a:endParaRPr/>
          </a:p>
        </p:txBody>
      </p:sp>
    </p:spTree>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4032" y="3177"/>
          <a:ext cx="4032" cy="3176"/>
        </p:xfrm>
        <a:graphic>
          <a:graphicData uri="http://schemas.openxmlformats.org/presentationml/2006/ole">
            <mc:AlternateContent xmlns:mc="http://schemas.openxmlformats.org/markup-compatibility/2006">
              <mc:Choice xmlns:v="urn:schemas-microsoft-com:vml" Requires="v">
                <p:oleObj spid="_x0000_s1642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4032" y="3177"/>
                        <a:ext cx="4032" cy="3176"/>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6400"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sp>
        <p:nvSpPr>
          <p:cNvPr id="66" name="ArrowPanelGray"/>
          <p:cNvSpPr/>
          <p:nvPr userDrawn="1"/>
        </p:nvSpPr>
        <p:spPr>
          <a:xfrm flipH="1" flipV="1">
            <a:off x="7" y="4"/>
            <a:ext cx="10961901" cy="13718621"/>
          </a:xfrm>
          <a:custGeom>
            <a:avLst/>
            <a:gdLst>
              <a:gd name="connsiteX0" fmla="*/ 4316963 w 4316963"/>
              <a:gd name="connsiteY0" fmla="*/ 6859311 h 6859311"/>
              <a:gd name="connsiteX1" fmla="*/ 2973131 w 4316963"/>
              <a:gd name="connsiteY1" fmla="*/ 6859311 h 6859311"/>
              <a:gd name="connsiteX2" fmla="*/ 2973131 w 4316963"/>
              <a:gd name="connsiteY2" fmla="*/ 6858000 h 6859311"/>
              <a:gd name="connsiteX3" fmla="*/ 823379 w 4316963"/>
              <a:gd name="connsiteY3" fmla="*/ 6858000 h 6859311"/>
              <a:gd name="connsiteX4" fmla="*/ 0 w 4316963"/>
              <a:gd name="connsiteY4" fmla="*/ 3429000 h 6859311"/>
              <a:gd name="connsiteX5" fmla="*/ 823379 w 4316963"/>
              <a:gd name="connsiteY5" fmla="*/ 0 h 6859311"/>
              <a:gd name="connsiteX6" fmla="*/ 3258479 w 4316963"/>
              <a:gd name="connsiteY6" fmla="*/ 0 h 6859311"/>
              <a:gd name="connsiteX7" fmla="*/ 3258479 w 4316963"/>
              <a:gd name="connsiteY7" fmla="*/ 1311 h 6859311"/>
              <a:gd name="connsiteX8" fmla="*/ 4316963 w 4316963"/>
              <a:gd name="connsiteY8" fmla="*/ 1311 h 685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16963" h="6859311">
                <a:moveTo>
                  <a:pt x="4316963" y="6859311"/>
                </a:moveTo>
                <a:lnTo>
                  <a:pt x="2973131" y="6859311"/>
                </a:lnTo>
                <a:lnTo>
                  <a:pt x="2973131" y="6858000"/>
                </a:lnTo>
                <a:lnTo>
                  <a:pt x="823379" y="6858000"/>
                </a:lnTo>
                <a:lnTo>
                  <a:pt x="0" y="3429000"/>
                </a:lnTo>
                <a:lnTo>
                  <a:pt x="823379" y="0"/>
                </a:lnTo>
                <a:lnTo>
                  <a:pt x="3258479" y="0"/>
                </a:lnTo>
                <a:lnTo>
                  <a:pt x="3258479" y="1311"/>
                </a:lnTo>
                <a:lnTo>
                  <a:pt x="4316963" y="1311"/>
                </a:lnTo>
                <a:close/>
              </a:path>
            </a:pathLst>
          </a:custGeom>
          <a:gradFill>
            <a:gsLst>
              <a:gs pos="100000">
                <a:schemeClr val="tx2"/>
              </a:gs>
              <a:gs pos="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2116120" rtl="0" eaLnBrk="1" fontAlgn="auto" latinLnBrk="0" hangingPunct="1">
              <a:lnSpc>
                <a:spcPct val="90000"/>
              </a:lnSpc>
              <a:spcBef>
                <a:spcPts val="0"/>
              </a:spcBef>
              <a:spcAft>
                <a:spcPts val="200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14" name="Title 1"/>
          <p:cNvSpPr>
            <a:spLocks noGrp="1"/>
          </p:cNvSpPr>
          <p:nvPr userDrawn="1">
            <p:ph type="title" hasCustomPrompt="1"/>
          </p:nvPr>
        </p:nvSpPr>
        <p:spPr>
          <a:xfrm>
            <a:off x="1260001" y="3571200"/>
            <a:ext cx="8211987" cy="6573600"/>
          </a:xfrm>
          <a:prstGeom prst="rect">
            <a:avLst/>
          </a:prstGeom>
        </p:spPr>
        <p:txBody>
          <a:bodyPr anchor="ctr">
            <a:noAutofit/>
          </a:bodyPr>
          <a:lstStyle>
            <a:lvl1pPr>
              <a:defRPr sz="6400" b="0">
                <a:solidFill>
                  <a:srgbClr val="FFFFFF"/>
                </a:solidFill>
                <a:latin typeface="+mj-lt"/>
                <a:ea typeface="+mj-ea"/>
                <a:cs typeface="+mj-cs"/>
                <a:sym typeface="+mj-lt"/>
              </a:defRPr>
            </a:lvl1pPr>
          </a:lstStyle>
          <a:p>
            <a:r>
              <a:rPr lang="en-US" dirty="0"/>
              <a:t>Click to add title</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6094037" y="6811343"/>
            <a:ext cx="6842464" cy="6923491"/>
          </a:xfrm>
          <a:custGeom>
            <a:avLst/>
            <a:gdLst>
              <a:gd name="connsiteX0" fmla="*/ 2197214 w 2694666"/>
              <a:gd name="connsiteY0" fmla="*/ 0 h 3461745"/>
              <a:gd name="connsiteX1" fmla="*/ 2694666 w 2694666"/>
              <a:gd name="connsiteY1" fmla="*/ 0 h 3461745"/>
              <a:gd name="connsiteX2" fmla="*/ 2694666 w 2694666"/>
              <a:gd name="connsiteY2" fmla="*/ 3461745 h 3461745"/>
              <a:gd name="connsiteX3" fmla="*/ 1617820 w 2694666"/>
              <a:gd name="connsiteY3" fmla="*/ 3461745 h 3461745"/>
              <a:gd name="connsiteX4" fmla="*/ 0 w 2694666"/>
              <a:gd name="connsiteY4" fmla="*/ 0 h 3461745"/>
              <a:gd name="connsiteX5" fmla="*/ 1857210 w 2694666"/>
              <a:gd name="connsiteY5" fmla="*/ 0 h 3461745"/>
              <a:gd name="connsiteX6" fmla="*/ 1151336 w 2694666"/>
              <a:gd name="connsiteY6" fmla="*/ 3461745 h 3461745"/>
              <a:gd name="connsiteX7" fmla="*/ 0 w 2694666"/>
              <a:gd name="connsiteY7"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61745">
                <a:moveTo>
                  <a:pt x="2197214" y="0"/>
                </a:moveTo>
                <a:lnTo>
                  <a:pt x="2694666" y="0"/>
                </a:lnTo>
                <a:lnTo>
                  <a:pt x="2694666" y="3461745"/>
                </a:lnTo>
                <a:lnTo>
                  <a:pt x="1617820" y="3461745"/>
                </a:lnTo>
                <a:close/>
                <a:moveTo>
                  <a:pt x="0" y="0"/>
                </a:moveTo>
                <a:lnTo>
                  <a:pt x="1857210" y="0"/>
                </a:lnTo>
                <a:lnTo>
                  <a:pt x="1151336" y="3461745"/>
                </a:lnTo>
                <a:lnTo>
                  <a:pt x="0" y="3461745"/>
                </a:lnTo>
                <a:close/>
              </a:path>
            </a:pathLst>
          </a:custGeom>
        </p:spPr>
      </p:pic>
      <p:sp>
        <p:nvSpPr>
          <p:cNvPr id="11" name="Copyright" hidden="1"/>
          <p:cNvSpPr txBox="1"/>
          <p:nvPr userDrawn="1"/>
        </p:nvSpPr>
        <p:spPr>
          <a:xfrm rot="16200000">
            <a:off x="18899103" y="7844997"/>
            <a:ext cx="10267949" cy="193899"/>
          </a:xfrm>
          <a:prstGeom prst="rect">
            <a:avLst/>
          </a:prstGeom>
        </p:spPr>
        <p:txBody>
          <a:bodyPr wrap="square" lIns="0" tIns="0" rIns="0" bIns="0" rtlCol="0" anchor="t">
            <a:spAutoFit/>
          </a:bodyPr>
          <a:lstStyle/>
          <a:p>
            <a:pPr marL="0" marR="0" lvl="0" indent="0" algn="l" defTabSz="1828778"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lumMod val="50000"/>
                  </a:prstClr>
                </a:solidFill>
                <a:effectLst/>
                <a:uLnTx/>
                <a:uFillTx/>
                <a:latin typeface="Garamond"/>
                <a:ea typeface="+mn-ea"/>
                <a:cs typeface="+mn-cs"/>
                <a:sym typeface="+mn-lt"/>
              </a:rPr>
              <a:t>Copyright © 2020 by Boston Consulting Group. All rights reserved.</a:t>
            </a:r>
          </a:p>
        </p:txBody>
      </p:sp>
      <p:sp>
        <p:nvSpPr>
          <p:cNvPr id="13" name="Page"/>
          <p:cNvSpPr txBox="1"/>
          <p:nvPr userDrawn="1"/>
        </p:nvSpPr>
        <p:spPr>
          <a:xfrm>
            <a:off x="21966653" y="12810073"/>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lumMod val="50000"/>
                  </a:prstClr>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solidFill>
                <a:prstClr val="white">
                  <a:lumMod val="50000"/>
                </a:prstClr>
              </a:solidFill>
              <a:effectLst/>
              <a:uLnTx/>
              <a:uFillTx/>
              <a:latin typeface="Garamond"/>
              <a:ea typeface="+mn-ea"/>
              <a:cs typeface="+mn-cs"/>
              <a:sym typeface="+mn-lt"/>
            </a:endParaRPr>
          </a:p>
        </p:txBody>
      </p:sp>
      <p:sp>
        <p:nvSpPr>
          <p:cNvPr id="15" name="Date Placeholder 2"/>
          <p:cNvSpPr>
            <a:spLocks noGrp="1"/>
          </p:cNvSpPr>
          <p:nvPr>
            <p:ph type="dt" sz="half" idx="12"/>
          </p:nvPr>
        </p:nvSpPr>
        <p:spPr>
          <a:xfrm>
            <a:off x="20037833" y="12810073"/>
            <a:ext cx="1928824" cy="307777"/>
          </a:xfrm>
          <a:prstGeom prst="rect">
            <a:avLst/>
          </a:prstGeom>
        </p:spPr>
        <p:txBody>
          <a:bodyPr/>
          <a:lstStyle>
            <a:lvl1pPr>
              <a:defRPr>
                <a:solidFill>
                  <a:schemeClr val="bg1">
                    <a:lumMod val="50000"/>
                  </a:schemeClr>
                </a:solidFill>
                <a:latin typeface="+mn-lt"/>
                <a:ea typeface="+mn-ea"/>
                <a:cs typeface="+mn-cs"/>
                <a:sym typeface="+mn-lt"/>
              </a:defRPr>
            </a:lvl1pPr>
          </a:lstStyle>
          <a:p>
            <a:pPr defTabSz="2116120" hangingPunct="1"/>
            <a:fld id="{52F74051-9D04-41B2-9340-A9B6C163A958}" type="datetime1">
              <a:rPr lang="en-US" b="0" kern="1200" cap="none" smtClean="0">
                <a:solidFill>
                  <a:prstClr val="white">
                    <a:lumMod val="50000"/>
                  </a:prstClr>
                </a:solidFill>
                <a:effectLst/>
              </a:rPr>
              <a:t>5/6/21</a:t>
            </a:fld>
            <a:endParaRPr lang="en-US" b="0" kern="1200" cap="none" dirty="0">
              <a:solidFill>
                <a:prstClr val="white">
                  <a:lumMod val="50000"/>
                </a:prstClr>
              </a:solidFill>
              <a:effectLst/>
            </a:endParaRPr>
          </a:p>
        </p:txBody>
      </p:sp>
    </p:spTree>
    <p:extLst>
      <p:ext uri="{BB962C8B-B14F-4D97-AF65-F5344CB8AC3E}">
        <p14:creationId xmlns:p14="http://schemas.microsoft.com/office/powerpoint/2010/main" val="8951351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83187140"/>
              </p:ext>
            </p:extLst>
          </p:nvPr>
        </p:nvGraphicFramePr>
        <p:xfrm>
          <a:off x="3177" y="3177"/>
          <a:ext cx="3174" cy="3174"/>
        </p:xfrm>
        <a:graphic>
          <a:graphicData uri="http://schemas.openxmlformats.org/presentationml/2006/ole">
            <mc:AlternateContent xmlns:mc="http://schemas.openxmlformats.org/markup-compatibility/2006">
              <mc:Choice xmlns:v="urn:schemas-microsoft-com:vml" Requires="v">
                <p:oleObj spid="_x0000_s95268"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3177" y="3177"/>
                        <a:ext cx="3174" cy="3174"/>
                      </a:xfrm>
                      <a:prstGeom prst="rect">
                        <a:avLst/>
                      </a:prstGeom>
                    </p:spPr>
                  </p:pic>
                </p:oleObj>
              </mc:Fallback>
            </mc:AlternateContent>
          </a:graphicData>
        </a:graphic>
      </p:graphicFrame>
      <p:sp>
        <p:nvSpPr>
          <p:cNvPr id="10" name="Freeform 14"/>
          <p:cNvSpPr/>
          <p:nvPr userDrawn="1"/>
        </p:nvSpPr>
        <p:spPr bwMode="ltGray">
          <a:xfrm>
            <a:off x="3048" y="2620"/>
            <a:ext cx="8176624" cy="13716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2000"/>
              </a:spcAft>
            </a:pPr>
            <a:endParaRPr lang="en-US" sz="24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19354801" y="12810072"/>
            <a:ext cx="2964102" cy="307776"/>
          </a:xfrm>
          <a:prstGeom prst="rect">
            <a:avLst/>
          </a:prstGeom>
        </p:spPr>
        <p:txBody>
          <a:bodyPr/>
          <a:lstStyle>
            <a:lvl1pPr>
              <a:defRPr>
                <a:solidFill>
                  <a:schemeClr val="bg1"/>
                </a:solidFill>
                <a:latin typeface="+mn-lt"/>
                <a:sym typeface="Trebuchet MS" panose="020B0603020202020204" pitchFamily="34" charset="0"/>
              </a:defRPr>
            </a:lvl1pPr>
          </a:lstStyle>
          <a:p>
            <a:fld id="{F7A75EC6-363B-41FE-A27B-4C2199C665EA}" type="datetime1">
              <a:rPr lang="en-US" smtClean="0"/>
              <a:t>5/6/21</a:t>
            </a:fld>
            <a:endParaRPr lang="en-US" dirty="0"/>
          </a:p>
        </p:txBody>
      </p:sp>
      <p:sp>
        <p:nvSpPr>
          <p:cNvPr id="11"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mn-lt"/>
                <a:sym typeface="Trebuchet MS" panose="020B0603020202020204" pitchFamily="34" charset="0"/>
              </a:rPr>
              <a:t>Copyright © 2020 by Boston Consulting Group. All rights reserved.</a:t>
            </a:r>
            <a:endParaRPr lang="en-US" sz="1400" dirty="0">
              <a:solidFill>
                <a:schemeClr val="bg1"/>
              </a:solidFill>
              <a:latin typeface="+mn-lt"/>
              <a:sym typeface="Trebuchet MS" panose="020B0603020202020204" pitchFamily="34" charset="0"/>
            </a:endParaRPr>
          </a:p>
        </p:txBody>
      </p:sp>
      <p:sp>
        <p:nvSpPr>
          <p:cNvPr id="18" name="TextBox 17"/>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1260000" y="5528407"/>
            <a:ext cx="4957276" cy="2628622"/>
          </a:xfrm>
          <a:prstGeom prst="rect">
            <a:avLst/>
          </a:prstGeom>
        </p:spPr>
        <p:txBody>
          <a:bodyPr anchor="ctr">
            <a:noAutofit/>
          </a:bodyPr>
          <a:lstStyle>
            <a:lvl1pPr>
              <a:defRPr sz="48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6264884" y="7180798"/>
            <a:ext cx="2730500" cy="6765924"/>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58602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3048" y="2620"/>
            <a:ext cx="8176624" cy="13716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2000"/>
              </a:spcAft>
            </a:pPr>
            <a:endParaRPr lang="en-US" sz="24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1260000" y="5528407"/>
            <a:ext cx="4957276" cy="2628622"/>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19354801" y="12810072"/>
            <a:ext cx="2964102" cy="307776"/>
          </a:xfrm>
          <a:prstGeom prst="rect">
            <a:avLst/>
          </a:prstGeom>
        </p:spPr>
        <p:txBody>
          <a:bodyPr vert="horz" wrap="square" lIns="0" tIns="0" rIns="0" bIns="0" rtlCol="0" anchor="b">
            <a:spAutoFit/>
          </a:bodyPr>
          <a:lstStyle>
            <a:lvl1pPr algn="r">
              <a:defRPr sz="2000">
                <a:solidFill>
                  <a:schemeClr val="bg1">
                    <a:lumMod val="50000"/>
                  </a:schemeClr>
                </a:solidFill>
                <a:latin typeface="+mn-lt"/>
                <a:sym typeface="Trebuchet MS" panose="020B0603020202020204" pitchFamily="34" charset="0"/>
              </a:defRPr>
            </a:lvl1pPr>
          </a:lstStyle>
          <a:p>
            <a:fld id="{443C1FCE-ABB8-4944-BBD7-156BD5486D2A}" type="datetime1">
              <a:rPr lang="en-US" smtClean="0"/>
              <a:t>5/6/21</a:t>
            </a:fld>
            <a:endParaRPr lang="en-US" dirty="0"/>
          </a:p>
        </p:txBody>
      </p:sp>
      <p:sp>
        <p:nvSpPr>
          <p:cNvPr id="16" name="TextBox 15"/>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lumMod val="50000"/>
                  </a:schemeClr>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4349284" y="6805657"/>
            <a:ext cx="5389332" cy="6923490"/>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7229626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16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19354801" y="12810072"/>
            <a:ext cx="2964102" cy="307776"/>
          </a:xfrm>
          <a:prstGeom prst="rect">
            <a:avLst/>
          </a:prstGeom>
        </p:spPr>
        <p:txBody>
          <a:bodyPr/>
          <a:lstStyle>
            <a:lvl1pPr>
              <a:defRPr>
                <a:solidFill>
                  <a:schemeClr val="bg1"/>
                </a:solidFill>
                <a:latin typeface="+mn-lt"/>
                <a:sym typeface="Trebuchet MS" panose="020B0603020202020204" pitchFamily="34" charset="0"/>
              </a:defRPr>
            </a:lvl1pPr>
          </a:lstStyle>
          <a:p>
            <a:fld id="{10E079D5-3806-4D12-B366-48D149E2791D}" type="datetime1">
              <a:rPr lang="en-US" smtClean="0"/>
              <a:t>5/6/21</a:t>
            </a:fld>
            <a:endParaRPr lang="en-US" dirty="0"/>
          </a:p>
        </p:txBody>
      </p:sp>
      <p:sp>
        <p:nvSpPr>
          <p:cNvPr id="17"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mn-lt"/>
                <a:sym typeface="Trebuchet MS" panose="020B0603020202020204" pitchFamily="34" charset="0"/>
              </a:rPr>
              <a:t>Copyright © 2020 by Boston Consulting Group. All rights reserved.</a:t>
            </a:r>
            <a:endParaRPr lang="en-US" sz="1400" dirty="0">
              <a:solidFill>
                <a:schemeClr val="bg1"/>
              </a:solidFill>
              <a:latin typeface="+mn-lt"/>
              <a:sym typeface="Trebuchet MS" panose="020B0603020202020204" pitchFamily="34" charset="0"/>
            </a:endParaRPr>
          </a:p>
        </p:txBody>
      </p:sp>
      <p:sp>
        <p:nvSpPr>
          <p:cNvPr id="19" name="Pentagon 3"/>
          <p:cNvSpPr/>
          <p:nvPr userDrawn="1"/>
        </p:nvSpPr>
        <p:spPr bwMode="white">
          <a:xfrm>
            <a:off x="2" y="0"/>
            <a:ext cx="10853840" cy="13716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2000"/>
              </a:spcAft>
            </a:pPr>
            <a:endParaRPr lang="en-US" sz="24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1260001" y="3571200"/>
            <a:ext cx="8124470" cy="6573600"/>
          </a:xfrm>
          <a:prstGeom prst="rect">
            <a:avLst/>
          </a:prstGeom>
        </p:spPr>
        <p:txBody>
          <a:bodyPr anchor="ctr">
            <a:noAutofit/>
          </a:bodyPr>
          <a:lstStyle>
            <a:lvl1pPr>
              <a:defRPr sz="88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63051" y="6788785"/>
            <a:ext cx="2597150" cy="7143750"/>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19930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2" y="0"/>
            <a:ext cx="10853840" cy="13716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2000"/>
              </a:spcAft>
            </a:pPr>
            <a:endParaRPr lang="en-US" sz="24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1260001" y="3571200"/>
            <a:ext cx="8124470" cy="6573600"/>
          </a:xfrm>
          <a:prstGeom prst="rect">
            <a:avLst/>
          </a:prstGeom>
        </p:spPr>
        <p:txBody>
          <a:bodyPr anchor="ctr">
            <a:noAutofit/>
          </a:bodyPr>
          <a:lstStyle>
            <a:lvl1pPr>
              <a:defRPr sz="88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19354801" y="12810072"/>
            <a:ext cx="2964102" cy="307776"/>
          </a:xfrm>
          <a:prstGeom prst="rect">
            <a:avLst/>
          </a:prstGeom>
        </p:spPr>
        <p:txBody>
          <a:bodyPr vert="horz" wrap="square" lIns="0" tIns="0" rIns="0" bIns="0" rtlCol="0" anchor="b">
            <a:spAutoFit/>
          </a:bodyPr>
          <a:lstStyle>
            <a:lvl1pPr algn="r">
              <a:defRPr sz="2000">
                <a:solidFill>
                  <a:schemeClr val="bg1">
                    <a:lumMod val="50000"/>
                  </a:schemeClr>
                </a:solidFill>
                <a:latin typeface="+mn-lt"/>
                <a:sym typeface="Trebuchet MS" panose="020B0603020202020204" pitchFamily="34" charset="0"/>
              </a:defRPr>
            </a:lvl1pPr>
          </a:lstStyle>
          <a:p>
            <a:fld id="{384B52A3-0DFD-41EC-9E2D-8152D3ED2CB4}" type="datetime1">
              <a:rPr lang="en-US" smtClean="0"/>
              <a:t>5/6/21</a:t>
            </a:fld>
            <a:endParaRPr lang="en-US" dirty="0"/>
          </a:p>
        </p:txBody>
      </p:sp>
      <p:sp>
        <p:nvSpPr>
          <p:cNvPr id="14" name="TextBox 13"/>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lumMod val="50000"/>
                  </a:schemeClr>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7156118" y="6832600"/>
            <a:ext cx="5389332" cy="68834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413705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12727092" cy="13716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2000"/>
              </a:spcAft>
            </a:pPr>
            <a:endParaRPr lang="en-US" sz="24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1260000" y="1245601"/>
            <a:ext cx="9495644" cy="664798"/>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19354801" y="12810072"/>
            <a:ext cx="2964102" cy="307776"/>
          </a:xfrm>
        </p:spPr>
        <p:txBody>
          <a:bodyPr/>
          <a:lstStyle>
            <a:lvl1pPr>
              <a:defRPr>
                <a:solidFill>
                  <a:schemeClr val="bg1"/>
                </a:solidFill>
                <a:latin typeface="+mn-lt"/>
                <a:sym typeface="Trebuchet MS" panose="020B0603020202020204" pitchFamily="34" charset="0"/>
              </a:defRPr>
            </a:lvl1pPr>
          </a:lstStyle>
          <a:p>
            <a:fld id="{BB9763B6-F963-4BDB-9028-B496CB907FF7}" type="datetime1">
              <a:rPr lang="en-US" smtClean="0"/>
              <a:t>5/6/21</a:t>
            </a:fld>
            <a:endParaRPr lang="en-US" dirty="0"/>
          </a:p>
        </p:txBody>
      </p:sp>
      <p:sp>
        <p:nvSpPr>
          <p:cNvPr id="18"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mn-lt"/>
                <a:sym typeface="Trebuchet MS" panose="020B0603020202020204" pitchFamily="34" charset="0"/>
              </a:rPr>
              <a:t>Copyright © 2020 by Boston Consulting Group. All rights reserved.</a:t>
            </a:r>
            <a:endParaRPr lang="en-US" sz="1400" dirty="0">
              <a:solidFill>
                <a:schemeClr val="bg1"/>
              </a:solidFill>
              <a:latin typeface="+mn-lt"/>
              <a:sym typeface="Trebuchet MS" panose="020B0603020202020204" pitchFamily="34" charset="0"/>
            </a:endParaRPr>
          </a:p>
        </p:txBody>
      </p:sp>
      <p:sp>
        <p:nvSpPr>
          <p:cNvPr id="16" name="TextBox 15"/>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95612" y="7179212"/>
            <a:ext cx="2730500" cy="6765924"/>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67688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12727092" cy="13716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2000"/>
              </a:spcAft>
            </a:pPr>
            <a:endParaRPr lang="en-US" sz="24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1260000" y="1245601"/>
            <a:ext cx="9495644" cy="664798"/>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19354801" y="12810072"/>
            <a:ext cx="2964102" cy="307776"/>
          </a:xfrm>
          <a:prstGeom prst="rect">
            <a:avLst/>
          </a:prstGeom>
        </p:spPr>
        <p:txBody>
          <a:bodyPr vert="horz" wrap="square" lIns="0" tIns="0" rIns="0" bIns="0" rtlCol="0" anchor="b">
            <a:spAutoFit/>
          </a:bodyPr>
          <a:lstStyle>
            <a:lvl1pPr algn="r">
              <a:defRPr sz="2000">
                <a:solidFill>
                  <a:schemeClr val="bg1">
                    <a:lumMod val="50000"/>
                  </a:schemeClr>
                </a:solidFill>
                <a:latin typeface="+mn-lt"/>
                <a:sym typeface="Trebuchet MS" panose="020B0603020202020204" pitchFamily="34" charset="0"/>
              </a:defRPr>
            </a:lvl1pPr>
          </a:lstStyle>
          <a:p>
            <a:fld id="{6D3FD113-29B6-4F86-9715-655B28B9738D}" type="datetime1">
              <a:rPr lang="en-US" smtClean="0"/>
              <a:t>5/6/21</a:t>
            </a:fld>
            <a:endParaRPr lang="en-US" dirty="0"/>
          </a:p>
        </p:txBody>
      </p:sp>
      <p:sp>
        <p:nvSpPr>
          <p:cNvPr id="14" name="TextBox 13"/>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lumMod val="50000"/>
                  </a:schemeClr>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8920344" y="6815607"/>
            <a:ext cx="5389332" cy="6913102"/>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9307488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1" y="0"/>
            <a:ext cx="16892478" cy="13716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2000"/>
              </a:spcAft>
            </a:pPr>
            <a:endParaRPr lang="en-US" sz="24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19354801" y="12810072"/>
            <a:ext cx="2964102" cy="307776"/>
          </a:xfrm>
        </p:spPr>
        <p:txBody>
          <a:bodyPr/>
          <a:lstStyle>
            <a:lvl1pPr>
              <a:defRPr>
                <a:solidFill>
                  <a:schemeClr val="bg1"/>
                </a:solidFill>
                <a:latin typeface="+mn-lt"/>
                <a:sym typeface="Trebuchet MS" panose="020B0603020202020204" pitchFamily="34" charset="0"/>
              </a:defRPr>
            </a:lvl1pPr>
          </a:lstStyle>
          <a:p>
            <a:fld id="{FBEFBCA9-FF59-403C-8F70-99F042A5EE43}" type="datetime1">
              <a:rPr lang="en-US" smtClean="0"/>
              <a:t>5/6/21</a:t>
            </a:fld>
            <a:endParaRPr lang="en-US" dirty="0"/>
          </a:p>
        </p:txBody>
      </p:sp>
      <p:sp>
        <p:nvSpPr>
          <p:cNvPr id="9"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mn-lt"/>
                <a:sym typeface="Trebuchet MS" panose="020B0603020202020204" pitchFamily="34" charset="0"/>
              </a:rPr>
              <a:t>Copyright © 2020 by Boston Consulting Group. All rights reserved.</a:t>
            </a:r>
            <a:endParaRPr lang="en-US" sz="1400" dirty="0">
              <a:solidFill>
                <a:schemeClr val="bg1"/>
              </a:solidFill>
              <a:latin typeface="+mn-lt"/>
              <a:sym typeface="Trebuchet MS" panose="020B0603020202020204" pitchFamily="34" charset="0"/>
            </a:endParaRPr>
          </a:p>
        </p:txBody>
      </p:sp>
      <p:sp>
        <p:nvSpPr>
          <p:cNvPr id="15" name="TextBox 14"/>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1260000" y="1245601"/>
            <a:ext cx="12508992" cy="664798"/>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980678" y="7179212"/>
            <a:ext cx="2730500" cy="6765924"/>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3547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1" y="0"/>
            <a:ext cx="16892478" cy="13716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2000"/>
              </a:spcAft>
            </a:pPr>
            <a:endParaRPr lang="en-US" sz="24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1260000" y="1245601"/>
            <a:ext cx="12508992" cy="664798"/>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19354801" y="12810072"/>
            <a:ext cx="2964102" cy="307776"/>
          </a:xfrm>
          <a:prstGeom prst="rect">
            <a:avLst/>
          </a:prstGeom>
        </p:spPr>
        <p:txBody>
          <a:bodyPr vert="horz" wrap="square" lIns="0" tIns="0" rIns="0" bIns="0" rtlCol="0" anchor="b">
            <a:spAutoFit/>
          </a:bodyPr>
          <a:lstStyle>
            <a:lvl1pPr algn="r">
              <a:defRPr sz="2000">
                <a:solidFill>
                  <a:schemeClr val="bg1">
                    <a:lumMod val="50000"/>
                  </a:schemeClr>
                </a:solidFill>
                <a:latin typeface="+mn-lt"/>
                <a:sym typeface="Trebuchet MS" panose="020B0603020202020204" pitchFamily="34" charset="0"/>
              </a:defRPr>
            </a:lvl1pPr>
          </a:lstStyle>
          <a:p>
            <a:fld id="{D01315EE-DBA5-4384-BCD6-FFB7867FA1A1}" type="datetime1">
              <a:rPr lang="en-US" smtClean="0"/>
              <a:t>5/6/21</a:t>
            </a:fld>
            <a:endParaRPr lang="en-US" dirty="0"/>
          </a:p>
        </p:txBody>
      </p:sp>
      <p:sp>
        <p:nvSpPr>
          <p:cNvPr id="18" name="TextBox 17"/>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lumMod val="50000"/>
                  </a:schemeClr>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13135256" y="6815607"/>
            <a:ext cx="5389332" cy="6913102"/>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4305917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19354801" y="12810072"/>
            <a:ext cx="2964102" cy="307776"/>
          </a:xfrm>
        </p:spPr>
        <p:txBody>
          <a:bodyPr/>
          <a:lstStyle>
            <a:lvl1pPr>
              <a:defRPr>
                <a:solidFill>
                  <a:schemeClr val="bg1"/>
                </a:solidFill>
                <a:latin typeface="+mn-lt"/>
                <a:sym typeface="Trebuchet MS" panose="020B0603020202020204" pitchFamily="34" charset="0"/>
              </a:defRPr>
            </a:lvl1pPr>
          </a:lstStyle>
          <a:p>
            <a:fld id="{C909176F-3CB8-4578-8267-C14AAD04B311}" type="datetime1">
              <a:rPr lang="en-US" smtClean="0"/>
              <a:t>5/6/21</a:t>
            </a:fld>
            <a:endParaRPr lang="en-US" dirty="0"/>
          </a:p>
        </p:txBody>
      </p:sp>
      <p:sp>
        <p:nvSpPr>
          <p:cNvPr id="9"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mn-lt"/>
                <a:sym typeface="Trebuchet MS" panose="020B0603020202020204" pitchFamily="34" charset="0"/>
              </a:rPr>
              <a:t>Copyright © 2020 by Boston Consulting Group. All rights reserved.</a:t>
            </a:r>
            <a:endParaRPr lang="en-US" sz="1400" dirty="0">
              <a:solidFill>
                <a:schemeClr val="bg1"/>
              </a:solidFill>
              <a:latin typeface="+mn-lt"/>
              <a:sym typeface="Trebuchet MS" panose="020B0603020202020204" pitchFamily="34" charset="0"/>
            </a:endParaRPr>
          </a:p>
        </p:txBody>
      </p:sp>
      <p:sp>
        <p:nvSpPr>
          <p:cNvPr id="10" name="TextBox 9"/>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1260000" y="7652666"/>
            <a:ext cx="21866400" cy="3213100"/>
          </a:xfrm>
        </p:spPr>
        <p:txBody>
          <a:bodyPr anchor="b">
            <a:noAutofit/>
          </a:bodyPr>
          <a:lstStyle>
            <a:lvl1pPr marL="0" algn="l" defTabSz="1828800" rtl="0" eaLnBrk="1" fontAlgn="auto" latinLnBrk="0" hangingPunct="1">
              <a:lnSpc>
                <a:spcPts val="12000"/>
              </a:lnSpc>
              <a:spcBef>
                <a:spcPts val="0"/>
              </a:spcBef>
              <a:spcAft>
                <a:spcPts val="0"/>
              </a:spcAft>
              <a:defRPr lang="en-US" sz="108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685905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fld id="{32AA346D-4DF7-4DAD-AB9B-77261F8E29B2}" type="datetime1">
              <a:rPr lang="en-US" smtClean="0"/>
              <a:t>5/6/21</a:t>
            </a:fld>
            <a:endParaRPr lang="en-US" dirty="0"/>
          </a:p>
        </p:txBody>
      </p:sp>
      <p:sp>
        <p:nvSpPr>
          <p:cNvPr id="11"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1260000" y="1250950"/>
            <a:ext cx="1865376" cy="1865376"/>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24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1260000" y="7652666"/>
            <a:ext cx="21866400" cy="3213100"/>
          </a:xfrm>
          <a:prstGeom prst="rect">
            <a:avLst/>
          </a:prstGeom>
        </p:spPr>
        <p:txBody>
          <a:bodyPr anchor="b">
            <a:noAutofit/>
          </a:bodyPr>
          <a:lstStyle>
            <a:lvl1pPr marL="0" algn="l" defTabSz="1828800" rtl="0" eaLnBrk="1" fontAlgn="auto" latinLnBrk="0" hangingPunct="1">
              <a:lnSpc>
                <a:spcPts val="12000"/>
              </a:lnSpc>
              <a:spcBef>
                <a:spcPts val="0"/>
              </a:spcBef>
              <a:spcAft>
                <a:spcPts val="0"/>
              </a:spcAft>
              <a:defRPr lang="en-US" sz="108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227494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4032" y="3177"/>
          <a:ext cx="4032" cy="3176"/>
        </p:xfrm>
        <a:graphic>
          <a:graphicData uri="http://schemas.openxmlformats.org/presentationml/2006/ole">
            <mc:AlternateContent xmlns:mc="http://schemas.openxmlformats.org/markup-compatibility/2006">
              <mc:Choice xmlns:v="urn:schemas-microsoft-com:vml" Requires="v">
                <p:oleObj spid="_x0000_s1744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4032" y="3177"/>
                        <a:ext cx="4032" cy="3176"/>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5600"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sp>
        <p:nvSpPr>
          <p:cNvPr id="67" name="ArrowPanelGray"/>
          <p:cNvSpPr/>
          <p:nvPr userDrawn="1"/>
        </p:nvSpPr>
        <p:spPr bwMode="white">
          <a:xfrm>
            <a:off x="5" y="0"/>
            <a:ext cx="12870640" cy="13716000"/>
          </a:xfrm>
          <a:custGeom>
            <a:avLst/>
            <a:gdLst>
              <a:gd name="connsiteX0" fmla="*/ 0 w 5068653"/>
              <a:gd name="connsiteY0" fmla="*/ 0 h 6858000"/>
              <a:gd name="connsiteX1" fmla="*/ 4245274 w 5068653"/>
              <a:gd name="connsiteY1" fmla="*/ 0 h 6858000"/>
              <a:gd name="connsiteX2" fmla="*/ 5068653 w 5068653"/>
              <a:gd name="connsiteY2" fmla="*/ 3429000 h 6858000"/>
              <a:gd name="connsiteX3" fmla="*/ 4245274 w 5068653"/>
              <a:gd name="connsiteY3" fmla="*/ 6858000 h 6858000"/>
              <a:gd name="connsiteX4" fmla="*/ 0 w 506865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8653" h="6858000">
                <a:moveTo>
                  <a:pt x="0" y="0"/>
                </a:moveTo>
                <a:lnTo>
                  <a:pt x="4245274" y="0"/>
                </a:lnTo>
                <a:lnTo>
                  <a:pt x="5068653" y="3429000"/>
                </a:lnTo>
                <a:lnTo>
                  <a:pt x="4245274" y="6858000"/>
                </a:lnTo>
                <a:lnTo>
                  <a:pt x="0" y="685800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2116120" rtl="0" eaLnBrk="1" fontAlgn="auto" latinLnBrk="0" hangingPunct="1">
              <a:lnSpc>
                <a:spcPct val="90000"/>
              </a:lnSpc>
              <a:spcBef>
                <a:spcPts val="0"/>
              </a:spcBef>
              <a:spcAft>
                <a:spcPts val="200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15" name="Page"/>
          <p:cNvSpPr txBox="1"/>
          <p:nvPr userDrawn="1"/>
        </p:nvSpPr>
        <p:spPr>
          <a:xfrm>
            <a:off x="21966653" y="12810073"/>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8" name="Date Placeholder 7"/>
          <p:cNvSpPr>
            <a:spLocks noGrp="1"/>
          </p:cNvSpPr>
          <p:nvPr>
            <p:ph type="dt" sz="half" idx="16"/>
          </p:nvPr>
        </p:nvSpPr>
        <p:spPr>
          <a:xfrm>
            <a:off x="20037833" y="12810073"/>
            <a:ext cx="1928824" cy="307777"/>
          </a:xfrm>
          <a:prstGeom prst="rect">
            <a:avLst/>
          </a:prstGeom>
        </p:spPr>
        <p:txBody>
          <a:bodyPr/>
          <a:lstStyle>
            <a:lvl1pPr>
              <a:defRPr>
                <a:solidFill>
                  <a:schemeClr val="bg1"/>
                </a:solidFill>
                <a:latin typeface="+mn-lt"/>
                <a:ea typeface="+mn-ea"/>
                <a:cs typeface="+mn-cs"/>
                <a:sym typeface="+mn-lt"/>
              </a:defRPr>
            </a:lvl1pPr>
          </a:lstStyle>
          <a:p>
            <a:pPr defTabSz="2116120" hangingPunct="1"/>
            <a:fld id="{E4116A2B-9DED-4A1B-B327-DEEEBF9FD1C7}" type="datetime1">
              <a:rPr lang="en-US" b="0" kern="1200" cap="none" smtClean="0">
                <a:solidFill>
                  <a:prstClr val="white"/>
                </a:solidFill>
                <a:effectLst/>
              </a:rPr>
              <a:t>5/6/21</a:t>
            </a:fld>
            <a:endParaRPr lang="en-US" b="0" kern="1200" cap="none" dirty="0">
              <a:solidFill>
                <a:prstClr val="white"/>
              </a:solidFill>
              <a:effectLst/>
            </a:endParaRPr>
          </a:p>
        </p:txBody>
      </p:sp>
      <p:sp>
        <p:nvSpPr>
          <p:cNvPr id="18"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aramond"/>
                <a:ea typeface="+mn-ea"/>
                <a:cs typeface="+mn-cs"/>
                <a:sym typeface="+mn-lt"/>
              </a:rPr>
              <a:t>Copyright © 2020 by Boston Consulting Group. All rights reserved.</a:t>
            </a:r>
          </a:p>
        </p:txBody>
      </p:sp>
      <p:sp>
        <p:nvSpPr>
          <p:cNvPr id="16" name="Title 2"/>
          <p:cNvSpPr>
            <a:spLocks noGrp="1"/>
          </p:cNvSpPr>
          <p:nvPr>
            <p:ph type="title" hasCustomPrompt="1"/>
          </p:nvPr>
        </p:nvSpPr>
        <p:spPr>
          <a:xfrm>
            <a:off x="1260001" y="1245607"/>
            <a:ext cx="9402771" cy="775597"/>
          </a:xfrm>
          <a:prstGeom prst="rect">
            <a:avLst/>
          </a:prstGeom>
        </p:spPr>
        <p:txBody>
          <a:bodyPr wrap="square">
            <a:spAutoFit/>
          </a:bodyPr>
          <a:lstStyle>
            <a:lvl1pPr>
              <a:defRPr sz="5600">
                <a:solidFill>
                  <a:schemeClr val="tx2"/>
                </a:solidFill>
                <a:latin typeface="+mj-lt"/>
                <a:ea typeface="+mj-ea"/>
                <a:cs typeface="+mj-cs"/>
                <a:sym typeface="+mj-lt"/>
              </a:defRPr>
            </a:lvl1pPr>
          </a:lstStyle>
          <a:p>
            <a:r>
              <a:rPr lang="en-US" dirty="0"/>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432199" y="7183024"/>
            <a:ext cx="3466728" cy="6765925"/>
          </a:xfrm>
          <a:custGeom>
            <a:avLst/>
            <a:gdLst>
              <a:gd name="connsiteX0" fmla="*/ 919740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69699 h 3382962"/>
              <a:gd name="connsiteX5" fmla="*/ 106457 w 1365250"/>
              <a:gd name="connsiteY5" fmla="*/ 3371264 h 3382962"/>
              <a:gd name="connsiteX6" fmla="*/ 0 w 1365250"/>
              <a:gd name="connsiteY6" fmla="*/ 0 h 3382962"/>
              <a:gd name="connsiteX7" fmla="*/ 904774 w 1365250"/>
              <a:gd name="connsiteY7" fmla="*/ 0 h 3382962"/>
              <a:gd name="connsiteX8" fmla="*/ 0 w 1365250"/>
              <a:gd name="connsiteY8" fmla="*/ 271432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740" y="0"/>
                </a:moveTo>
                <a:lnTo>
                  <a:pt x="1365250" y="0"/>
                </a:lnTo>
                <a:lnTo>
                  <a:pt x="1365250" y="3382962"/>
                </a:lnTo>
                <a:lnTo>
                  <a:pt x="0" y="3382962"/>
                </a:lnTo>
                <a:lnTo>
                  <a:pt x="0" y="3369699"/>
                </a:lnTo>
                <a:lnTo>
                  <a:pt x="106457" y="3371264"/>
                </a:lnTo>
                <a:close/>
                <a:moveTo>
                  <a:pt x="0" y="0"/>
                </a:moveTo>
                <a:lnTo>
                  <a:pt x="904774" y="0"/>
                </a:lnTo>
                <a:lnTo>
                  <a:pt x="0" y="271432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8512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23352400"/>
              </p:ext>
            </p:extLst>
          </p:nvPr>
        </p:nvGraphicFramePr>
        <p:xfrm>
          <a:off x="3177" y="3177"/>
          <a:ext cx="3174" cy="3174"/>
        </p:xfrm>
        <a:graphic>
          <a:graphicData uri="http://schemas.openxmlformats.org/presentationml/2006/ole">
            <mc:AlternateContent xmlns:mc="http://schemas.openxmlformats.org/markup-compatibility/2006">
              <mc:Choice xmlns:v="urn:schemas-microsoft-com:vml" Requires="v">
                <p:oleObj spid="_x0000_s96292"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3177" y="3177"/>
                        <a:ext cx="3174" cy="3174"/>
                      </a:xfrm>
                      <a:prstGeom prst="rect">
                        <a:avLst/>
                      </a:prstGeom>
                    </p:spPr>
                  </p:pic>
                </p:oleObj>
              </mc:Fallback>
            </mc:AlternateContent>
          </a:graphicData>
        </a:graphic>
      </p:graphicFrame>
      <p:sp>
        <p:nvSpPr>
          <p:cNvPr id="6" name="TextBox 5"/>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fld id="{6ED3F6B7-2D2F-4FF5-9A8A-2038281150A9}" type="datetime1">
              <a:rPr lang="en-US" smtClean="0"/>
              <a:t>5/6/21</a:t>
            </a:fld>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13594923" y="202887"/>
            <a:ext cx="1538514" cy="20039642"/>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24384000" cy="11734670"/>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182880" tIns="91440" rIns="182880" bIns="91440" numCol="1" anchor="t" anchorCtr="0" compatLnSpc="1">
            <a:prstTxWarp prst="textNoShape">
              <a:avLst/>
            </a:prstTxWarp>
            <a:noAutofit/>
          </a:bodyPr>
          <a:lstStyle/>
          <a:p>
            <a:endParaRPr lang="en-US" sz="8400" dirty="0">
              <a:latin typeface="+mn-lt"/>
              <a:sym typeface="Trebuchet MS" panose="020B0603020202020204" pitchFamily="34" charset="0"/>
            </a:endParaRPr>
          </a:p>
        </p:txBody>
      </p:sp>
    </p:spTree>
    <p:extLst>
      <p:ext uri="{BB962C8B-B14F-4D97-AF65-F5344CB8AC3E}">
        <p14:creationId xmlns:p14="http://schemas.microsoft.com/office/powerpoint/2010/main" val="24502632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22335744" y="12808800"/>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fld id="{F803A949-E68B-4292-8596-559482C4BFC8}" type="datetime1">
              <a:rPr lang="en-US" smtClean="0"/>
              <a:t>5/6/21</a:t>
            </a:fld>
            <a:endParaRPr lang="en-US" dirty="0"/>
          </a:p>
        </p:txBody>
      </p:sp>
      <p:sp>
        <p:nvSpPr>
          <p:cNvPr id="11"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mn-lt"/>
                <a:sym typeface="Trebuchet MS" panose="020B0603020202020204" pitchFamily="34" charset="0"/>
              </a:rPr>
              <a:t>Copyright © 2020 by Boston Consulting Group. All rights reserved.</a:t>
            </a:r>
            <a:endParaRPr lang="en-US" sz="14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1260000" y="1245601"/>
            <a:ext cx="21866400" cy="664798"/>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864336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8176624" cy="13716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2000"/>
              </a:spcAft>
            </a:pPr>
            <a:endParaRPr lang="en-US" sz="24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8176624" cy="13716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2000"/>
              </a:spcAft>
            </a:pPr>
            <a:endParaRPr lang="en-US" sz="2400" dirty="0">
              <a:solidFill>
                <a:prstClr val="white"/>
              </a:solidFill>
              <a:latin typeface="+mn-lt"/>
              <a:sym typeface="Trebuchet MS" panose="020B0603020202020204" pitchFamily="34" charset="0"/>
            </a:endParaRPr>
          </a:p>
        </p:txBody>
      </p:sp>
      <p:sp>
        <p:nvSpPr>
          <p:cNvPr id="20" name="TextBox 19"/>
          <p:cNvSpPr txBox="1"/>
          <p:nvPr userDrawn="1"/>
        </p:nvSpPr>
        <p:spPr>
          <a:xfrm>
            <a:off x="1260000" y="5217102"/>
            <a:ext cx="5638800" cy="3401059"/>
          </a:xfrm>
          <a:prstGeom prst="rect">
            <a:avLst/>
          </a:prstGeom>
          <a:noFill/>
        </p:spPr>
        <p:txBody>
          <a:bodyPr wrap="square" lIns="0" tIns="0" rIns="0" bIns="0" rtlCol="0" anchor="ctr">
            <a:spAutoFit/>
          </a:bodyPr>
          <a:lstStyle/>
          <a:p>
            <a:pPr marL="0" indent="0">
              <a:lnSpc>
                <a:spcPct val="106000"/>
              </a:lnSpc>
              <a:spcAft>
                <a:spcPts val="1400"/>
              </a:spcAft>
              <a:buFontTx/>
              <a:buNone/>
            </a:pPr>
            <a:r>
              <a:rPr lang="en-US" sz="108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19354801" y="12810072"/>
            <a:ext cx="2964102" cy="307776"/>
          </a:xfrm>
        </p:spPr>
        <p:txBody>
          <a:bodyPr/>
          <a:lstStyle>
            <a:lvl1pPr>
              <a:defRPr>
                <a:solidFill>
                  <a:schemeClr val="bg1"/>
                </a:solidFill>
                <a:latin typeface="+mn-lt"/>
                <a:sym typeface="Trebuchet MS" panose="020B0603020202020204" pitchFamily="34" charset="0"/>
              </a:defRPr>
            </a:lvl1pPr>
          </a:lstStyle>
          <a:p>
            <a:fld id="{F7E5578D-0C64-45B4-96F4-52BEB830CBAF}" type="datetime1">
              <a:rPr lang="en-US" smtClean="0"/>
              <a:t>5/6/21</a:t>
            </a:fld>
            <a:endParaRPr lang="en-US" dirty="0"/>
          </a:p>
        </p:txBody>
      </p:sp>
      <p:sp>
        <p:nvSpPr>
          <p:cNvPr id="24"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mn-lt"/>
                <a:sym typeface="Trebuchet MS" panose="020B0603020202020204" pitchFamily="34" charset="0"/>
              </a:rPr>
              <a:t>Copyright © 2020 by Boston Consulting Group. All rights reserved.</a:t>
            </a:r>
            <a:endParaRPr lang="en-US" sz="1400" dirty="0">
              <a:solidFill>
                <a:schemeClr val="bg1"/>
              </a:solidFill>
              <a:latin typeface="+mn-lt"/>
              <a:sym typeface="Trebuchet MS" panose="020B0603020202020204" pitchFamily="34" charset="0"/>
            </a:endParaRPr>
          </a:p>
        </p:txBody>
      </p:sp>
      <p:sp>
        <p:nvSpPr>
          <p:cNvPr id="19" name="TextBox 18"/>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217276" y="7173496"/>
            <a:ext cx="2730500" cy="6765924"/>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51736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19354801" y="12810072"/>
            <a:ext cx="2964102" cy="307776"/>
          </a:xfrm>
        </p:spPr>
        <p:txBody>
          <a:bodyPr/>
          <a:lstStyle>
            <a:lvl1pPr>
              <a:defRPr>
                <a:solidFill>
                  <a:schemeClr val="bg1"/>
                </a:solidFill>
                <a:latin typeface="+mn-lt"/>
                <a:sym typeface="Trebuchet MS" panose="020B0603020202020204" pitchFamily="34" charset="0"/>
              </a:defRPr>
            </a:lvl1pPr>
          </a:lstStyle>
          <a:p>
            <a:fld id="{46B8CCB8-756A-4672-8EEC-E0AE20DB023B}" type="datetime1">
              <a:rPr lang="en-US" smtClean="0"/>
              <a:t>5/6/21</a:t>
            </a:fld>
            <a:endParaRPr lang="en-US" dirty="0"/>
          </a:p>
        </p:txBody>
      </p:sp>
      <p:sp>
        <p:nvSpPr>
          <p:cNvPr id="9"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mn-lt"/>
                <a:sym typeface="Trebuchet MS" panose="020B0603020202020204" pitchFamily="34" charset="0"/>
              </a:rPr>
              <a:t>Copyright © 2020 by Boston Consulting Group. All rights reserved.</a:t>
            </a:r>
            <a:endParaRPr lang="en-US" sz="1400" dirty="0">
              <a:solidFill>
                <a:schemeClr val="bg1"/>
              </a:solidFill>
              <a:latin typeface="+mn-lt"/>
              <a:sym typeface="Trebuchet MS" panose="020B0603020202020204" pitchFamily="34" charset="0"/>
            </a:endParaRPr>
          </a:p>
        </p:txBody>
      </p:sp>
      <p:sp>
        <p:nvSpPr>
          <p:cNvPr id="11" name="TextBox 10"/>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422070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fld id="{44422F74-89E0-4609-B09B-4E632E8C3B15}" type="datetime1">
              <a:rPr lang="en-US" smtClean="0"/>
              <a:t>5/6/21</a:t>
            </a:fld>
            <a:endParaRPr lang="en-US" dirty="0"/>
          </a:p>
        </p:txBody>
      </p:sp>
      <p:sp>
        <p:nvSpPr>
          <p:cNvPr id="5"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33458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10043652" y="3328513"/>
            <a:ext cx="12418144" cy="6647974"/>
          </a:xfrm>
          <a:prstGeom prst="rect">
            <a:avLst/>
          </a:prstGeom>
        </p:spPr>
        <p:txBody>
          <a:bodyPr wrap="square" lIns="0" tIns="0" rIns="0" bIns="0" anchor="ctr">
            <a:spAutoFit/>
          </a:bodyPr>
          <a:lstStyle/>
          <a:p>
            <a:pPr indent="0">
              <a:lnSpc>
                <a:spcPct val="100000"/>
              </a:lnSpc>
            </a:pPr>
            <a:r>
              <a:rPr lang="en-US" sz="1800" b="0" dirty="0">
                <a:latin typeface="+mn-lt"/>
                <a:sym typeface="Trebuchet MS" panose="020B0603020202020204" pitchFamily="34" charset="0"/>
              </a:rPr>
              <a:t>The services and materials provided by Boston Consulting Group (BCG) are subject to BCG's Standard Terms </a:t>
            </a:r>
            <a:br>
              <a:rPr lang="en-US" sz="1800" b="0" dirty="0">
                <a:latin typeface="+mn-lt"/>
                <a:sym typeface="Trebuchet MS" panose="020B0603020202020204" pitchFamily="34" charset="0"/>
              </a:rPr>
            </a:br>
            <a:r>
              <a:rPr lang="en-US" sz="18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1800" b="0" dirty="0">
                <a:latin typeface="+mn-lt"/>
                <a:sym typeface="Trebuchet MS" panose="020B0603020202020204" pitchFamily="34" charset="0"/>
              </a:rPr>
            </a:br>
            <a:r>
              <a:rPr lang="en-US" sz="1800" b="0" dirty="0">
                <a:latin typeface="+mn-lt"/>
                <a:sym typeface="Trebuchet MS" panose="020B0603020202020204" pitchFamily="34" charset="0"/>
              </a:rPr>
              <a:t>to update these materials after the date hereof, notwithstanding that such information may become outdated </a:t>
            </a:r>
            <a:br>
              <a:rPr lang="en-US" sz="1800" b="0" dirty="0">
                <a:latin typeface="+mn-lt"/>
                <a:sym typeface="Trebuchet MS" panose="020B0603020202020204" pitchFamily="34" charset="0"/>
              </a:rPr>
            </a:br>
            <a:r>
              <a:rPr lang="en-US" sz="1800" b="0" dirty="0">
                <a:latin typeface="+mn-lt"/>
                <a:sym typeface="Trebuchet MS" panose="020B0603020202020204" pitchFamily="34" charset="0"/>
              </a:rPr>
              <a:t>or inaccurate.</a:t>
            </a:r>
          </a:p>
          <a:p>
            <a:pPr indent="0">
              <a:lnSpc>
                <a:spcPct val="100000"/>
              </a:lnSpc>
            </a:pPr>
            <a:r>
              <a:rPr lang="en-US" sz="1800" b="0" dirty="0">
                <a:latin typeface="+mn-lt"/>
                <a:sym typeface="Trebuchet MS" panose="020B0603020202020204" pitchFamily="34" charset="0"/>
              </a:rPr>
              <a:t> </a:t>
            </a:r>
          </a:p>
          <a:p>
            <a:pPr indent="0">
              <a:lnSpc>
                <a:spcPct val="100000"/>
              </a:lnSpc>
            </a:pPr>
            <a:r>
              <a:rPr lang="en-US" sz="18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1800" b="0" dirty="0">
                <a:latin typeface="+mn-lt"/>
                <a:sym typeface="Trebuchet MS" panose="020B0603020202020204" pitchFamily="34" charset="0"/>
              </a:rPr>
            </a:br>
            <a:r>
              <a:rPr lang="en-US" sz="18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1800" b="0" dirty="0">
              <a:latin typeface="+mn-lt"/>
              <a:sym typeface="Trebuchet MS" panose="020B0603020202020204" pitchFamily="34" charset="0"/>
            </a:endParaRPr>
          </a:p>
          <a:p>
            <a:pPr marL="0" marR="0" indent="0" algn="l" defTabSz="1828800" rtl="0" eaLnBrk="1" fontAlgn="auto" latinLnBrk="0" hangingPunct="1">
              <a:lnSpc>
                <a:spcPct val="100000"/>
              </a:lnSpc>
              <a:spcBef>
                <a:spcPts val="0"/>
              </a:spcBef>
              <a:spcAft>
                <a:spcPts val="0"/>
              </a:spcAft>
              <a:buClrTx/>
              <a:buSzTx/>
              <a:buFontTx/>
              <a:buNone/>
              <a:tabLst/>
              <a:defRPr/>
            </a:pPr>
            <a:r>
              <a:rPr lang="en-US" sz="1800" b="0" dirty="0">
                <a:latin typeface="+mn-lt"/>
                <a:sym typeface="Trebuchet MS" panose="020B0603020202020204" pitchFamily="34" charset="0"/>
              </a:rPr>
              <a:t>BCG does not provide fairness opinions or valuations of market transactions, and these materials should not be relied </a:t>
            </a:r>
            <a:br>
              <a:rPr lang="en-US" sz="1800" b="0" dirty="0">
                <a:latin typeface="+mn-lt"/>
                <a:sym typeface="Trebuchet MS" panose="020B0603020202020204" pitchFamily="34" charset="0"/>
              </a:rPr>
            </a:br>
            <a:r>
              <a:rPr lang="en-US" sz="18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1800" b="0" dirty="0">
                <a:latin typeface="+mn-lt"/>
                <a:sym typeface="Trebuchet MS" panose="020B0603020202020204" pitchFamily="34" charset="0"/>
              </a:rPr>
            </a:br>
            <a:r>
              <a:rPr lang="en-US" sz="18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1278089" y="5946153"/>
            <a:ext cx="6399058" cy="1412694"/>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102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8735796" y="3260371"/>
            <a:ext cx="0" cy="6784258"/>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fld id="{6C32CE53-5D0F-4152-BC07-391946B942CD}" type="datetime1">
              <a:rPr lang="en-US" smtClean="0"/>
              <a:t>5/6/21</a:t>
            </a:fld>
            <a:endParaRPr lang="en-US" dirty="0"/>
          </a:p>
        </p:txBody>
      </p:sp>
      <p:sp>
        <p:nvSpPr>
          <p:cNvPr id="10"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597852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00467954"/>
              </p:ext>
            </p:extLst>
          </p:nvPr>
        </p:nvGraphicFramePr>
        <p:xfrm>
          <a:off x="3177" y="3177"/>
          <a:ext cx="3174" cy="3174"/>
        </p:xfrm>
        <a:graphic>
          <a:graphicData uri="http://schemas.openxmlformats.org/presentationml/2006/ole">
            <mc:AlternateContent xmlns:mc="http://schemas.openxmlformats.org/markup-compatibility/2006">
              <mc:Choice xmlns:v="urn:schemas-microsoft-com:vml" Requires="v">
                <p:oleObj spid="_x0000_s97316"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3177" y="3177"/>
                        <a:ext cx="3174" cy="3174"/>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24384000" cy="13716000"/>
          </a:xfrm>
          <a:prstGeom prst="rect">
            <a:avLst/>
          </a:prstGeom>
        </p:spPr>
      </p:pic>
      <p:sp>
        <p:nvSpPr>
          <p:cNvPr id="8" name="Rectangle 7"/>
          <p:cNvSpPr/>
          <p:nvPr userDrawn="1"/>
        </p:nvSpPr>
        <p:spPr bwMode="black">
          <a:xfrm>
            <a:off x="1261872" y="1252400"/>
            <a:ext cx="16250400" cy="110592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4000" dirty="0">
              <a:solidFill>
                <a:prstClr val="white"/>
              </a:solidFill>
              <a:latin typeface="+mn-lt"/>
              <a:sym typeface="Trebuchet MS" panose="020B0603020202020204" pitchFamily="34" charset="0"/>
            </a:endParaRPr>
          </a:p>
        </p:txBody>
      </p:sp>
      <p:sp>
        <p:nvSpPr>
          <p:cNvPr id="15" name="TextBox 14"/>
          <p:cNvSpPr txBox="1"/>
          <p:nvPr/>
        </p:nvSpPr>
        <p:spPr bwMode="white">
          <a:xfrm>
            <a:off x="1849959" y="11430356"/>
            <a:ext cx="1681602" cy="340220"/>
          </a:xfrm>
          <a:prstGeom prst="rect">
            <a:avLst/>
          </a:prstGeom>
          <a:noFill/>
        </p:spPr>
        <p:txBody>
          <a:bodyPr wrap="none" lIns="0" tIns="0" rIns="0" bIns="0" rtlCol="0" anchor="b">
            <a:noAutofit/>
          </a:bodyPr>
          <a:lstStyle/>
          <a:p>
            <a:pPr>
              <a:lnSpc>
                <a:spcPct val="90000"/>
              </a:lnSpc>
              <a:spcAft>
                <a:spcPts val="1200"/>
              </a:spcAft>
            </a:pPr>
            <a:r>
              <a:rPr lang="en-US" sz="24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5353715" y="5939026"/>
            <a:ext cx="8066714" cy="1685948"/>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noAutofit/>
          </a:bodyPr>
          <a:lstStyle/>
          <a:p>
            <a:endParaRPr lang="en-US" sz="8400"/>
          </a:p>
        </p:txBody>
      </p:sp>
    </p:spTree>
    <p:extLst>
      <p:ext uri="{BB962C8B-B14F-4D97-AF65-F5344CB8AC3E}">
        <p14:creationId xmlns:p14="http://schemas.microsoft.com/office/powerpoint/2010/main" val="14690901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1200" y="-1"/>
            <a:ext cx="24387600" cy="13716002"/>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400"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2000"/>
                </a:spcAft>
              </a:pPr>
              <a:endParaRPr lang="en-US" sz="2400" dirty="0">
                <a:solidFill>
                  <a:schemeClr val="bg1"/>
                </a:solidFill>
                <a:latin typeface="+mn-lt"/>
              </a:endParaRPr>
            </a:p>
          </p:txBody>
        </p:sp>
        <p:sp>
          <p:nvSpPr>
            <p:cNvPr id="153" name="Footnote example"/>
            <p:cNvSpPr txBox="1"/>
            <p:nvPr/>
          </p:nvSpPr>
          <p:spPr>
            <a:xfrm>
              <a:off x="630000" y="6144442"/>
              <a:ext cx="9030914" cy="415499"/>
            </a:xfrm>
            <a:prstGeom prst="rect">
              <a:avLst/>
            </a:prstGeom>
            <a:noFill/>
          </p:spPr>
          <p:txBody>
            <a:bodyPr wrap="square" lIns="0" tIns="0" rIns="0" bIns="0" rtlCol="0" anchor="b">
              <a:spAutoFit/>
            </a:bodyPr>
            <a:lstStyle/>
            <a:p>
              <a:pPr marL="0" marR="0" lvl="0" indent="0" algn="l" defTabSz="18288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18288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18288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fld id="{1F5ED802-4957-4BFA-A7AE-D1D2E0B9F2B4}" type="datetime1">
              <a:rPr lang="en-US" smtClean="0"/>
              <a:t>5/6/21</a:t>
            </a:fld>
            <a:endParaRPr lang="en-US" dirty="0"/>
          </a:p>
        </p:txBody>
      </p:sp>
      <p:sp>
        <p:nvSpPr>
          <p:cNvPr id="56"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897059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3177" y="3177"/>
          <a:ext cx="3174" cy="3174"/>
        </p:xfrm>
        <a:graphic>
          <a:graphicData uri="http://schemas.openxmlformats.org/presentationml/2006/ole">
            <mc:AlternateContent xmlns:mc="http://schemas.openxmlformats.org/markup-compatibility/2006">
              <mc:Choice xmlns:v="urn:schemas-microsoft-com:vml" Requires="v">
                <p:oleObj spid="_x0000_s9834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3177" y="3177"/>
                        <a:ext cx="3174" cy="3174"/>
                      </a:xfrm>
                      <a:prstGeom prst="rect">
                        <a:avLst/>
                      </a:prstGeom>
                    </p:spPr>
                  </p:pic>
                </p:oleObj>
              </mc:Fallback>
            </mc:AlternateContent>
          </a:graphicData>
        </a:graphic>
      </p:graphicFrame>
      <p:sp>
        <p:nvSpPr>
          <p:cNvPr id="7" name="TextBox 6"/>
          <p:cNvSpPr txBox="1"/>
          <p:nvPr userDrawn="1"/>
        </p:nvSpPr>
        <p:spPr bwMode="white">
          <a:xfrm>
            <a:off x="22335744" y="12808800"/>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14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2776291" y="9382374"/>
            <a:ext cx="1858674" cy="1991748"/>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4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5018964" y="9382374"/>
            <a:ext cx="3140304" cy="2936352"/>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360000" rIns="365760" bIns="365760" numCol="1" spcCol="0" rtlCol="0" fromWordArt="0" anchor="t" anchorCtr="0" forceAA="0" compatLnSpc="1">
            <a:prstTxWarp prst="textNoShape">
              <a:avLst/>
            </a:prstTxWarp>
            <a:noAutofit/>
          </a:bodyPr>
          <a:lstStyle/>
          <a:p>
            <a:pPr>
              <a:lnSpc>
                <a:spcPct val="95000"/>
              </a:lnSpc>
            </a:pPr>
            <a:endParaRPr lang="en-US" sz="2400" dirty="0">
              <a:solidFill>
                <a:srgbClr val="FFFFFF"/>
              </a:solidFill>
              <a:latin typeface="Trebuchet MS" panose="020B0603020202020204" pitchFamily="34" charset="0"/>
            </a:endParaRPr>
          </a:p>
        </p:txBody>
      </p:sp>
      <p:sp>
        <p:nvSpPr>
          <p:cNvPr id="2" name="TextBox 1"/>
          <p:cNvSpPr txBox="1"/>
          <p:nvPr userDrawn="1"/>
        </p:nvSpPr>
        <p:spPr>
          <a:xfrm>
            <a:off x="1260000" y="1814398"/>
            <a:ext cx="6897600" cy="2440935"/>
          </a:xfrm>
          <a:prstGeom prst="rect">
            <a:avLst/>
          </a:prstGeom>
          <a:noFill/>
          <a:ln>
            <a:solidFill>
              <a:schemeClr val="bg1"/>
            </a:solidFill>
          </a:ln>
        </p:spPr>
        <p:txBody>
          <a:bodyPr wrap="square" lIns="1224000" tIns="936000" rIns="0" bIns="0" rtlCol="0" anchor="t">
            <a:spAutoFit/>
          </a:bodyPr>
          <a:lstStyle/>
          <a:p>
            <a:pPr>
              <a:lnSpc>
                <a:spcPct val="90000"/>
              </a:lnSpc>
              <a:spcAft>
                <a:spcPts val="1200"/>
              </a:spcAft>
            </a:pPr>
            <a:endParaRPr lang="en-US" sz="10800" dirty="0">
              <a:solidFill>
                <a:schemeClr val="bg1"/>
              </a:solidFill>
            </a:endParaRPr>
          </a:p>
        </p:txBody>
      </p:sp>
      <p:sp>
        <p:nvSpPr>
          <p:cNvPr id="10" name="TextBox 1"/>
          <p:cNvSpPr txBox="1"/>
          <p:nvPr userDrawn="1"/>
        </p:nvSpPr>
        <p:spPr>
          <a:xfrm>
            <a:off x="2414025" y="2230833"/>
            <a:ext cx="4588114" cy="1671227"/>
          </a:xfrm>
          <a:prstGeom prst="rect">
            <a:avLst/>
          </a:prstGeom>
          <a:noFill/>
        </p:spPr>
        <p:txBody>
          <a:bodyPr wrap="none" rtlCol="0">
            <a:spAutoFit/>
          </a:bodyPr>
          <a:lstStyle/>
          <a:p>
            <a:pPr algn="ctr" fontAlgn="auto">
              <a:lnSpc>
                <a:spcPct val="95000"/>
              </a:lnSpc>
              <a:spcBef>
                <a:spcPts val="0"/>
              </a:spcBef>
              <a:spcAft>
                <a:spcPts val="0"/>
              </a:spcAft>
            </a:pPr>
            <a:r>
              <a:rPr lang="en-US" sz="10800" dirty="0">
                <a:solidFill>
                  <a:schemeClr val="bg1"/>
                </a:solidFill>
                <a:latin typeface="+mj-lt"/>
              </a:rPr>
              <a:t>Agenda</a:t>
            </a:r>
          </a:p>
        </p:txBody>
      </p:sp>
    </p:spTree>
    <p:extLst>
      <p:ext uri="{BB962C8B-B14F-4D97-AF65-F5344CB8AC3E}">
        <p14:creationId xmlns:p14="http://schemas.microsoft.com/office/powerpoint/2010/main" val="4106150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54115427"/>
              </p:ext>
            </p:extLst>
          </p:nvPr>
        </p:nvGraphicFramePr>
        <p:xfrm>
          <a:off x="3177" y="3177"/>
          <a:ext cx="3174" cy="3174"/>
        </p:xfrm>
        <a:graphic>
          <a:graphicData uri="http://schemas.openxmlformats.org/presentationml/2006/ole">
            <mc:AlternateContent xmlns:mc="http://schemas.openxmlformats.org/markup-compatibility/2006">
              <mc:Choice xmlns:v="urn:schemas-microsoft-com:vml" Requires="v">
                <p:oleObj spid="_x0000_s9936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3177" y="3177"/>
                        <a:ext cx="3174" cy="3174"/>
                      </a:xfrm>
                      <a:prstGeom prst="rect">
                        <a:avLst/>
                      </a:prstGeom>
                    </p:spPr>
                  </p:pic>
                </p:oleObj>
              </mc:Fallback>
            </mc:AlternateContent>
          </a:graphicData>
        </a:graphic>
      </p:graphicFrame>
      <p:sp>
        <p:nvSpPr>
          <p:cNvPr id="7" name="TextBox 6"/>
          <p:cNvSpPr txBox="1"/>
          <p:nvPr userDrawn="1"/>
        </p:nvSpPr>
        <p:spPr bwMode="white">
          <a:xfrm>
            <a:off x="22335744" y="12808800"/>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14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2569486" y="2856262"/>
            <a:ext cx="1895344" cy="189534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24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2570400" y="5335200"/>
            <a:ext cx="19238400" cy="64008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4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9677478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18468"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5600"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sp>
        <p:nvSpPr>
          <p:cNvPr id="67" name="ArrowPanelGray"/>
          <p:cNvSpPr/>
          <p:nvPr userDrawn="1"/>
        </p:nvSpPr>
        <p:spPr bwMode="white">
          <a:xfrm>
            <a:off x="5" y="0"/>
            <a:ext cx="12870640" cy="13716000"/>
          </a:xfrm>
          <a:custGeom>
            <a:avLst/>
            <a:gdLst>
              <a:gd name="connsiteX0" fmla="*/ 0 w 5068653"/>
              <a:gd name="connsiteY0" fmla="*/ 0 h 6858000"/>
              <a:gd name="connsiteX1" fmla="*/ 4245274 w 5068653"/>
              <a:gd name="connsiteY1" fmla="*/ 0 h 6858000"/>
              <a:gd name="connsiteX2" fmla="*/ 5068653 w 5068653"/>
              <a:gd name="connsiteY2" fmla="*/ 3429000 h 6858000"/>
              <a:gd name="connsiteX3" fmla="*/ 4245274 w 5068653"/>
              <a:gd name="connsiteY3" fmla="*/ 6858000 h 6858000"/>
              <a:gd name="connsiteX4" fmla="*/ 0 w 506865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8653" h="6858000">
                <a:moveTo>
                  <a:pt x="0" y="0"/>
                </a:moveTo>
                <a:lnTo>
                  <a:pt x="4245274" y="0"/>
                </a:lnTo>
                <a:lnTo>
                  <a:pt x="5068653" y="3429000"/>
                </a:lnTo>
                <a:lnTo>
                  <a:pt x="4245274"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2116120" rtl="0" eaLnBrk="1" fontAlgn="auto" latinLnBrk="0" hangingPunct="1">
              <a:lnSpc>
                <a:spcPct val="90000"/>
              </a:lnSpc>
              <a:spcBef>
                <a:spcPts val="0"/>
              </a:spcBef>
              <a:spcAft>
                <a:spcPts val="200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16" name="Title 2"/>
          <p:cNvSpPr>
            <a:spLocks noGrp="1"/>
          </p:cNvSpPr>
          <p:nvPr>
            <p:ph type="title" hasCustomPrompt="1"/>
          </p:nvPr>
        </p:nvSpPr>
        <p:spPr>
          <a:xfrm>
            <a:off x="1260001" y="1245607"/>
            <a:ext cx="9402771" cy="775597"/>
          </a:xfrm>
          <a:prstGeom prst="rect">
            <a:avLst/>
          </a:prstGeom>
        </p:spPr>
        <p:txBody>
          <a:bodyPr wrap="square">
            <a:spAutoFit/>
          </a:bodyPr>
          <a:lstStyle>
            <a:lvl1pPr>
              <a:defRPr sz="5600">
                <a:solidFill>
                  <a:srgbClr val="FFFFFF"/>
                </a:solidFill>
                <a:latin typeface="+mj-lt"/>
                <a:ea typeface="+mj-ea"/>
                <a:cs typeface="+mj-cs"/>
                <a:sym typeface="+mj-lt"/>
              </a:defRPr>
            </a:lvl1pPr>
          </a:lstStyle>
          <a:p>
            <a:r>
              <a:rPr lang="en-US" dirty="0"/>
              <a:t>Click to add title</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8002352" y="6811343"/>
            <a:ext cx="6842464" cy="6923491"/>
          </a:xfrm>
          <a:custGeom>
            <a:avLst/>
            <a:gdLst>
              <a:gd name="connsiteX0" fmla="*/ 2197214 w 2694666"/>
              <a:gd name="connsiteY0" fmla="*/ 0 h 3461745"/>
              <a:gd name="connsiteX1" fmla="*/ 2694666 w 2694666"/>
              <a:gd name="connsiteY1" fmla="*/ 0 h 3461745"/>
              <a:gd name="connsiteX2" fmla="*/ 2694666 w 2694666"/>
              <a:gd name="connsiteY2" fmla="*/ 3461745 h 3461745"/>
              <a:gd name="connsiteX3" fmla="*/ 1617820 w 2694666"/>
              <a:gd name="connsiteY3" fmla="*/ 3461745 h 3461745"/>
              <a:gd name="connsiteX4" fmla="*/ 0 w 2694666"/>
              <a:gd name="connsiteY4" fmla="*/ 0 h 3461745"/>
              <a:gd name="connsiteX5" fmla="*/ 1857210 w 2694666"/>
              <a:gd name="connsiteY5" fmla="*/ 0 h 3461745"/>
              <a:gd name="connsiteX6" fmla="*/ 1151336 w 2694666"/>
              <a:gd name="connsiteY6" fmla="*/ 3461745 h 3461745"/>
              <a:gd name="connsiteX7" fmla="*/ 0 w 2694666"/>
              <a:gd name="connsiteY7"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61745">
                <a:moveTo>
                  <a:pt x="2197214" y="0"/>
                </a:moveTo>
                <a:lnTo>
                  <a:pt x="2694666" y="0"/>
                </a:lnTo>
                <a:lnTo>
                  <a:pt x="2694666" y="3461745"/>
                </a:lnTo>
                <a:lnTo>
                  <a:pt x="1617820" y="3461745"/>
                </a:lnTo>
                <a:close/>
                <a:moveTo>
                  <a:pt x="0" y="0"/>
                </a:moveTo>
                <a:lnTo>
                  <a:pt x="1857210" y="0"/>
                </a:lnTo>
                <a:lnTo>
                  <a:pt x="1151336" y="3461745"/>
                </a:lnTo>
                <a:lnTo>
                  <a:pt x="0" y="3461745"/>
                </a:lnTo>
                <a:close/>
              </a:path>
            </a:pathLst>
          </a:custGeom>
        </p:spPr>
      </p:pic>
      <p:sp>
        <p:nvSpPr>
          <p:cNvPr id="11" name="Copyright" hidden="1"/>
          <p:cNvSpPr txBox="1"/>
          <p:nvPr userDrawn="1"/>
        </p:nvSpPr>
        <p:spPr>
          <a:xfrm rot="16200000">
            <a:off x="18899103" y="7844997"/>
            <a:ext cx="10267949" cy="193899"/>
          </a:xfrm>
          <a:prstGeom prst="rect">
            <a:avLst/>
          </a:prstGeom>
        </p:spPr>
        <p:txBody>
          <a:bodyPr wrap="square" lIns="0" tIns="0" rIns="0" bIns="0" rtlCol="0" anchor="t">
            <a:spAutoFit/>
          </a:bodyPr>
          <a:lstStyle/>
          <a:p>
            <a:pPr marL="0" marR="0" lvl="0" indent="0" algn="l" defTabSz="1828778"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lumMod val="50000"/>
                  </a:prstClr>
                </a:solidFill>
                <a:effectLst/>
                <a:uLnTx/>
                <a:uFillTx/>
                <a:latin typeface="Garamond"/>
                <a:ea typeface="+mn-ea"/>
                <a:cs typeface="+mn-cs"/>
                <a:sym typeface="+mn-lt"/>
              </a:rPr>
              <a:t>Copyright © 2020 by Boston Consulting Group. All rights reserved.</a:t>
            </a:r>
          </a:p>
        </p:txBody>
      </p:sp>
      <p:sp>
        <p:nvSpPr>
          <p:cNvPr id="12" name="Page"/>
          <p:cNvSpPr txBox="1"/>
          <p:nvPr userDrawn="1"/>
        </p:nvSpPr>
        <p:spPr>
          <a:xfrm>
            <a:off x="21966653" y="12810073"/>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lumMod val="50000"/>
                  </a:prstClr>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solidFill>
                <a:prstClr val="white">
                  <a:lumMod val="50000"/>
                </a:prstClr>
              </a:solidFill>
              <a:effectLst/>
              <a:uLnTx/>
              <a:uFillTx/>
              <a:latin typeface="Garamond"/>
              <a:ea typeface="+mn-ea"/>
              <a:cs typeface="+mn-cs"/>
              <a:sym typeface="+mn-lt"/>
            </a:endParaRPr>
          </a:p>
        </p:txBody>
      </p:sp>
      <p:sp>
        <p:nvSpPr>
          <p:cNvPr id="13" name="Date Placeholder 2"/>
          <p:cNvSpPr>
            <a:spLocks noGrp="1"/>
          </p:cNvSpPr>
          <p:nvPr>
            <p:ph type="dt" sz="half" idx="12"/>
          </p:nvPr>
        </p:nvSpPr>
        <p:spPr>
          <a:xfrm>
            <a:off x="20037833" y="12810073"/>
            <a:ext cx="1928824" cy="307777"/>
          </a:xfrm>
          <a:prstGeom prst="rect">
            <a:avLst/>
          </a:prstGeom>
        </p:spPr>
        <p:txBody>
          <a:bodyPr/>
          <a:lstStyle>
            <a:lvl1pPr>
              <a:defRPr>
                <a:solidFill>
                  <a:schemeClr val="bg1">
                    <a:lumMod val="50000"/>
                  </a:schemeClr>
                </a:solidFill>
                <a:latin typeface="+mn-lt"/>
                <a:ea typeface="+mn-ea"/>
                <a:cs typeface="+mn-cs"/>
                <a:sym typeface="+mn-lt"/>
              </a:defRPr>
            </a:lvl1pPr>
          </a:lstStyle>
          <a:p>
            <a:pPr defTabSz="2116120" hangingPunct="1"/>
            <a:fld id="{3686F229-5CFF-45EA-9B31-97743F92794D}" type="datetime1">
              <a:rPr lang="en-US" b="0" kern="1200" cap="none" smtClean="0">
                <a:solidFill>
                  <a:prstClr val="white">
                    <a:lumMod val="50000"/>
                  </a:prstClr>
                </a:solidFill>
                <a:effectLst/>
              </a:rPr>
              <a:t>5/6/21</a:t>
            </a:fld>
            <a:endParaRPr lang="en-US" b="0" kern="1200" cap="none" dirty="0">
              <a:solidFill>
                <a:prstClr val="white">
                  <a:lumMod val="50000"/>
                </a:prstClr>
              </a:solidFill>
              <a:effectLst/>
            </a:endParaRPr>
          </a:p>
        </p:txBody>
      </p:sp>
    </p:spTree>
    <p:extLst>
      <p:ext uri="{BB962C8B-B14F-4D97-AF65-F5344CB8AC3E}">
        <p14:creationId xmlns:p14="http://schemas.microsoft.com/office/powerpoint/2010/main" val="41866773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3177" y="3177"/>
          <a:ext cx="3174" cy="3174"/>
        </p:xfrm>
        <a:graphic>
          <a:graphicData uri="http://schemas.openxmlformats.org/presentationml/2006/ole">
            <mc:AlternateContent xmlns:mc="http://schemas.openxmlformats.org/markup-compatibility/2006">
              <mc:Choice xmlns:v="urn:schemas-microsoft-com:vml" Requires="v">
                <p:oleObj spid="_x0000_s10038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3177" y="3177"/>
                        <a:ext cx="3174" cy="3174"/>
                      </a:xfrm>
                      <a:prstGeom prst="rect">
                        <a:avLst/>
                      </a:prstGeom>
                    </p:spPr>
                  </p:pic>
                </p:oleObj>
              </mc:Fallback>
            </mc:AlternateContent>
          </a:graphicData>
        </a:graphic>
      </p:graphicFrame>
      <p:sp>
        <p:nvSpPr>
          <p:cNvPr id="7" name="TextBox 6"/>
          <p:cNvSpPr txBox="1"/>
          <p:nvPr userDrawn="1"/>
        </p:nvSpPr>
        <p:spPr bwMode="white">
          <a:xfrm>
            <a:off x="22335744" y="12808800"/>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14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1260000" y="1245600"/>
            <a:ext cx="14379996" cy="941796"/>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6800" dirty="0">
                <a:solidFill>
                  <a:schemeClr val="bg1"/>
                </a:solidFill>
              </a:rPr>
              <a:t>Agenda</a:t>
            </a:r>
          </a:p>
        </p:txBody>
      </p:sp>
      <p:cxnSp>
        <p:nvCxnSpPr>
          <p:cNvPr id="13" name="Straight Connector 12"/>
          <p:cNvCxnSpPr/>
          <p:nvPr userDrawn="1"/>
        </p:nvCxnSpPr>
        <p:spPr bwMode="white">
          <a:xfrm>
            <a:off x="1237796" y="2412000"/>
            <a:ext cx="2315260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40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3177" y="3177"/>
          <a:ext cx="3174" cy="3174"/>
        </p:xfrm>
        <a:graphic>
          <a:graphicData uri="http://schemas.openxmlformats.org/presentationml/2006/ole">
            <mc:AlternateContent xmlns:mc="http://schemas.openxmlformats.org/markup-compatibility/2006">
              <mc:Choice xmlns:v="urn:schemas-microsoft-com:vml" Requires="v">
                <p:oleObj spid="_x0000_s10141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3177" y="3177"/>
                        <a:ext cx="3174" cy="3174"/>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342137" y="0"/>
            <a:ext cx="833902" cy="13716000"/>
          </a:xfrm>
          <a:prstGeom prst="rect">
            <a:avLst/>
          </a:prstGeom>
        </p:spPr>
      </p:pic>
      <p:sp>
        <p:nvSpPr>
          <p:cNvPr id="13" name="Rectangle 12"/>
          <p:cNvSpPr/>
          <p:nvPr userDrawn="1"/>
        </p:nvSpPr>
        <p:spPr bwMode="white">
          <a:xfrm>
            <a:off x="8161527" y="-2617"/>
            <a:ext cx="16222474" cy="137186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24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lumMod val="50000"/>
                  </a:schemeClr>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1260001" y="6415431"/>
            <a:ext cx="3094286" cy="886397"/>
          </a:xfrm>
          <a:prstGeom prst="rect">
            <a:avLst/>
          </a:prstGeom>
          <a:noFill/>
        </p:spPr>
        <p:txBody>
          <a:bodyPr wrap="square" lIns="0" tIns="0" rIns="0" bIns="0" rtlCol="0" anchor="t">
            <a:spAutoFit/>
          </a:bodyPr>
          <a:lstStyle/>
          <a:p>
            <a:pPr>
              <a:lnSpc>
                <a:spcPct val="90000"/>
              </a:lnSpc>
              <a:spcAft>
                <a:spcPts val="1200"/>
              </a:spcAft>
            </a:pPr>
            <a:r>
              <a:rPr lang="en-US" sz="6400" dirty="0">
                <a:solidFill>
                  <a:schemeClr val="bg1"/>
                </a:solidFill>
              </a:rPr>
              <a:t>Agenda</a:t>
            </a:r>
          </a:p>
        </p:txBody>
      </p:sp>
    </p:spTree>
    <p:extLst>
      <p:ext uri="{BB962C8B-B14F-4D97-AF65-F5344CB8AC3E}">
        <p14:creationId xmlns:p14="http://schemas.microsoft.com/office/powerpoint/2010/main" val="23091638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3177" y="3177"/>
          <a:ext cx="3174" cy="3174"/>
        </p:xfrm>
        <a:graphic>
          <a:graphicData uri="http://schemas.openxmlformats.org/presentationml/2006/ole">
            <mc:AlternateContent xmlns:mc="http://schemas.openxmlformats.org/markup-compatibility/2006">
              <mc:Choice xmlns:v="urn:schemas-microsoft-com:vml" Requires="v">
                <p:oleObj spid="_x0000_s10243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3177" y="3177"/>
                        <a:ext cx="3174" cy="3174"/>
                      </a:xfrm>
                      <a:prstGeom prst="rect">
                        <a:avLst/>
                      </a:prstGeom>
                    </p:spPr>
                  </p:pic>
                </p:oleObj>
              </mc:Fallback>
            </mc:AlternateContent>
          </a:graphicData>
        </a:graphic>
      </p:graphicFrame>
      <p:sp>
        <p:nvSpPr>
          <p:cNvPr id="5"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14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2776291" y="9382374"/>
            <a:ext cx="1858674" cy="1991748"/>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4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5018964" y="9382374"/>
            <a:ext cx="3140304" cy="2936352"/>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0" tIns="360000" rIns="365760" bIns="365760" numCol="1" spcCol="0" rtlCol="0" fromWordArt="0" anchor="t" anchorCtr="0" forceAA="0" compatLnSpc="1">
            <a:prstTxWarp prst="textNoShape">
              <a:avLst/>
            </a:prstTxWarp>
            <a:noAutofit/>
          </a:bodyPr>
          <a:lstStyle/>
          <a:p>
            <a:pPr>
              <a:lnSpc>
                <a:spcPct val="95000"/>
              </a:lnSpc>
            </a:pPr>
            <a:endParaRPr lang="en-US" sz="2400" dirty="0">
              <a:solidFill>
                <a:srgbClr val="FFFFFF"/>
              </a:solidFill>
              <a:latin typeface="Trebuchet MS" panose="020B0603020202020204" pitchFamily="34" charset="0"/>
            </a:endParaRPr>
          </a:p>
        </p:txBody>
      </p:sp>
      <p:sp>
        <p:nvSpPr>
          <p:cNvPr id="11" name="TextBox 10"/>
          <p:cNvSpPr txBox="1"/>
          <p:nvPr userDrawn="1"/>
        </p:nvSpPr>
        <p:spPr>
          <a:xfrm>
            <a:off x="1260000" y="1814396"/>
            <a:ext cx="6897600" cy="2440935"/>
          </a:xfrm>
          <a:prstGeom prst="rect">
            <a:avLst/>
          </a:prstGeom>
          <a:noFill/>
          <a:ln>
            <a:solidFill>
              <a:schemeClr val="accent4"/>
            </a:solidFill>
          </a:ln>
        </p:spPr>
        <p:txBody>
          <a:bodyPr wrap="square" lIns="1224000" tIns="936000" rIns="0" bIns="0" rtlCol="0" anchor="t">
            <a:spAutoFit/>
          </a:bodyPr>
          <a:lstStyle/>
          <a:p>
            <a:pPr>
              <a:lnSpc>
                <a:spcPct val="90000"/>
              </a:lnSpc>
              <a:spcAft>
                <a:spcPts val="1200"/>
              </a:spcAft>
            </a:pPr>
            <a:endParaRPr lang="en-US" sz="10800" dirty="0">
              <a:solidFill>
                <a:schemeClr val="accent4"/>
              </a:solidFill>
            </a:endParaRPr>
          </a:p>
        </p:txBody>
      </p:sp>
      <p:sp>
        <p:nvSpPr>
          <p:cNvPr id="9" name="TextBox 1"/>
          <p:cNvSpPr txBox="1"/>
          <p:nvPr userDrawn="1"/>
        </p:nvSpPr>
        <p:spPr>
          <a:xfrm>
            <a:off x="2414025" y="2230833"/>
            <a:ext cx="4588114" cy="1671227"/>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10800" dirty="0"/>
              <a:t>Agenda</a:t>
            </a:r>
          </a:p>
        </p:txBody>
      </p:sp>
    </p:spTree>
    <p:extLst>
      <p:ext uri="{BB962C8B-B14F-4D97-AF65-F5344CB8AC3E}">
        <p14:creationId xmlns:p14="http://schemas.microsoft.com/office/powerpoint/2010/main" val="38991874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87338144"/>
              </p:ext>
            </p:extLst>
          </p:nvPr>
        </p:nvGraphicFramePr>
        <p:xfrm>
          <a:off x="3177" y="3177"/>
          <a:ext cx="3174" cy="3174"/>
        </p:xfrm>
        <a:graphic>
          <a:graphicData uri="http://schemas.openxmlformats.org/presentationml/2006/ole">
            <mc:AlternateContent xmlns:mc="http://schemas.openxmlformats.org/markup-compatibility/2006">
              <mc:Choice xmlns:v="urn:schemas-microsoft-com:vml" Requires="v">
                <p:oleObj spid="_x0000_s10346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3177" y="3177"/>
                        <a:ext cx="3174" cy="3174"/>
                      </a:xfrm>
                      <a:prstGeom prst="rect">
                        <a:avLst/>
                      </a:prstGeom>
                    </p:spPr>
                  </p:pic>
                </p:oleObj>
              </mc:Fallback>
            </mc:AlternateContent>
          </a:graphicData>
        </a:graphic>
      </p:graphicFrame>
      <p:sp>
        <p:nvSpPr>
          <p:cNvPr id="5"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14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2569486" y="2856262"/>
            <a:ext cx="1895344" cy="189534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24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2570400" y="5335200"/>
            <a:ext cx="19238400" cy="64008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4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15220488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3177" y="3177"/>
          <a:ext cx="3174" cy="3174"/>
        </p:xfrm>
        <a:graphic>
          <a:graphicData uri="http://schemas.openxmlformats.org/presentationml/2006/ole">
            <mc:AlternateContent xmlns:mc="http://schemas.openxmlformats.org/markup-compatibility/2006">
              <mc:Choice xmlns:v="urn:schemas-microsoft-com:vml" Requires="v">
                <p:oleObj spid="_x0000_s10448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3177" y="3177"/>
                        <a:ext cx="3174" cy="3174"/>
                      </a:xfrm>
                      <a:prstGeom prst="rect">
                        <a:avLst/>
                      </a:prstGeom>
                    </p:spPr>
                  </p:pic>
                </p:oleObj>
              </mc:Fallback>
            </mc:AlternateContent>
          </a:graphicData>
        </a:graphic>
      </p:graphicFrame>
      <p:sp>
        <p:nvSpPr>
          <p:cNvPr id="5"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14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1260000" y="1245600"/>
            <a:ext cx="14379996" cy="941796"/>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6800" dirty="0">
                <a:solidFill>
                  <a:schemeClr val="accent4"/>
                </a:solidFill>
              </a:rPr>
              <a:t>Agenda</a:t>
            </a:r>
          </a:p>
        </p:txBody>
      </p:sp>
      <p:cxnSp>
        <p:nvCxnSpPr>
          <p:cNvPr id="9" name="Straight Connector 8"/>
          <p:cNvCxnSpPr/>
          <p:nvPr userDrawn="1"/>
        </p:nvCxnSpPr>
        <p:spPr bwMode="white">
          <a:xfrm>
            <a:off x="1237796" y="2412000"/>
            <a:ext cx="23152608"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4047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3177" y="3177"/>
          <a:ext cx="3174" cy="3174"/>
        </p:xfrm>
        <a:graphic>
          <a:graphicData uri="http://schemas.openxmlformats.org/presentationml/2006/ole">
            <mc:AlternateContent xmlns:mc="http://schemas.openxmlformats.org/markup-compatibility/2006">
              <mc:Choice xmlns:v="urn:schemas-microsoft-com:vml" Requires="v">
                <p:oleObj spid="_x0000_s10550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3177" y="3177"/>
                        <a:ext cx="3174" cy="3174"/>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342137" y="0"/>
            <a:ext cx="833902" cy="13716000"/>
          </a:xfrm>
          <a:prstGeom prst="rect">
            <a:avLst/>
          </a:prstGeom>
        </p:spPr>
      </p:pic>
      <p:sp>
        <p:nvSpPr>
          <p:cNvPr id="26" name="Rectangle 25"/>
          <p:cNvSpPr/>
          <p:nvPr userDrawn="1"/>
        </p:nvSpPr>
        <p:spPr bwMode="ltGray">
          <a:xfrm>
            <a:off x="8161527" y="-2617"/>
            <a:ext cx="16222474" cy="137186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24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lumMod val="50000"/>
                  </a:schemeClr>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1260001" y="6524291"/>
            <a:ext cx="2322094" cy="664797"/>
          </a:xfrm>
          <a:prstGeom prst="rect">
            <a:avLst/>
          </a:prstGeom>
          <a:noFill/>
        </p:spPr>
        <p:txBody>
          <a:bodyPr wrap="square" lIns="0" tIns="0" rIns="0" bIns="0" rtlCol="0" anchor="t">
            <a:spAutoFit/>
          </a:bodyPr>
          <a:lstStyle/>
          <a:p>
            <a:pPr>
              <a:lnSpc>
                <a:spcPct val="90000"/>
              </a:lnSpc>
              <a:spcAft>
                <a:spcPts val="1200"/>
              </a:spcAft>
            </a:pPr>
            <a:r>
              <a:rPr lang="en-US" sz="4800" dirty="0">
                <a:solidFill>
                  <a:schemeClr val="bg1"/>
                </a:solidFill>
              </a:rPr>
              <a:t>Agenda</a:t>
            </a:r>
          </a:p>
        </p:txBody>
      </p:sp>
    </p:spTree>
    <p:extLst>
      <p:ext uri="{BB962C8B-B14F-4D97-AF65-F5344CB8AC3E}">
        <p14:creationId xmlns:p14="http://schemas.microsoft.com/office/powerpoint/2010/main" val="2552597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3177" y="3177"/>
          <a:ext cx="3174" cy="3174"/>
        </p:xfrm>
        <a:graphic>
          <a:graphicData uri="http://schemas.openxmlformats.org/presentationml/2006/ole">
            <mc:AlternateContent xmlns:mc="http://schemas.openxmlformats.org/markup-compatibility/2006">
              <mc:Choice xmlns:v="urn:schemas-microsoft-com:vml" Requires="v">
                <p:oleObj spid="_x0000_s10653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3177" y="3177"/>
                        <a:ext cx="3174" cy="3174"/>
                      </a:xfrm>
                      <a:prstGeom prst="rect">
                        <a:avLst/>
                      </a:prstGeom>
                    </p:spPr>
                  </p:pic>
                </p:oleObj>
              </mc:Fallback>
            </mc:AlternateContent>
          </a:graphicData>
        </a:graphic>
      </p:graphicFrame>
      <p:sp>
        <p:nvSpPr>
          <p:cNvPr id="13" name="Freeform 12"/>
          <p:cNvSpPr/>
          <p:nvPr/>
        </p:nvSpPr>
        <p:spPr bwMode="ltGray">
          <a:xfrm>
            <a:off x="0" y="0"/>
            <a:ext cx="8176624" cy="13716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2000"/>
              </a:spcAft>
            </a:pPr>
            <a:endParaRPr lang="en-US" sz="24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8176624" cy="13716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2000"/>
              </a:spcAft>
            </a:pPr>
            <a:endParaRPr lang="en-US" sz="24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1260000" y="5217102"/>
            <a:ext cx="5638800" cy="3401059"/>
          </a:xfrm>
          <a:prstGeom prst="rect">
            <a:avLst/>
          </a:prstGeom>
          <a:noFill/>
        </p:spPr>
        <p:txBody>
          <a:bodyPr wrap="square" lIns="0" tIns="0" rIns="0" bIns="0" rtlCol="0" anchor="ctr">
            <a:spAutoFit/>
          </a:bodyPr>
          <a:lstStyle/>
          <a:p>
            <a:pPr marL="0" indent="0">
              <a:lnSpc>
                <a:spcPct val="106000"/>
              </a:lnSpc>
              <a:spcAft>
                <a:spcPts val="1400"/>
              </a:spcAft>
              <a:buFontTx/>
              <a:buNone/>
            </a:pPr>
            <a:r>
              <a:rPr lang="en-US" sz="108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14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6217276" y="7173496"/>
            <a:ext cx="2730500" cy="6765924"/>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63576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19492" name="think-cell Slide" r:id="rId5" imgW="286" imgH="286" progId="TCLayout.ActiveDocument.1">
                  <p:embed/>
                </p:oleObj>
              </mc:Choice>
              <mc:Fallback>
                <p:oleObj name="think-cell Slide" r:id="rId5" imgW="286" imgH="286" progId="TCLayout.ActiveDocument.1">
                  <p:embed/>
                  <p:pic>
                    <p:nvPicPr>
                      <p:cNvPr id="5" name="Object 4" hidden="1"/>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5600"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sp>
        <p:nvSpPr>
          <p:cNvPr id="68" name="ArrowPanelGray"/>
          <p:cNvSpPr/>
          <p:nvPr userDrawn="1"/>
        </p:nvSpPr>
        <p:spPr>
          <a:xfrm flipH="1" flipV="1">
            <a:off x="-8" y="0"/>
            <a:ext cx="16721323" cy="13716000"/>
          </a:xfrm>
          <a:custGeom>
            <a:avLst/>
            <a:gdLst>
              <a:gd name="connsiteX0" fmla="*/ 6585110 w 6585110"/>
              <a:gd name="connsiteY0" fmla="*/ 6858000 h 6858000"/>
              <a:gd name="connsiteX1" fmla="*/ 5068653 w 6585110"/>
              <a:gd name="connsiteY1" fmla="*/ 6858000 h 6858000"/>
              <a:gd name="connsiteX2" fmla="*/ 4839565 w 6585110"/>
              <a:gd name="connsiteY2" fmla="*/ 6858000 h 6858000"/>
              <a:gd name="connsiteX3" fmla="*/ 823379 w 6585110"/>
              <a:gd name="connsiteY3" fmla="*/ 6858000 h 6858000"/>
              <a:gd name="connsiteX4" fmla="*/ 0 w 6585110"/>
              <a:gd name="connsiteY4" fmla="*/ 3429000 h 6858000"/>
              <a:gd name="connsiteX5" fmla="*/ 823379 w 6585110"/>
              <a:gd name="connsiteY5" fmla="*/ 0 h 6858000"/>
              <a:gd name="connsiteX6" fmla="*/ 4839565 w 6585110"/>
              <a:gd name="connsiteY6" fmla="*/ 0 h 6858000"/>
              <a:gd name="connsiteX7" fmla="*/ 5068653 w 6585110"/>
              <a:gd name="connsiteY7" fmla="*/ 0 h 6858000"/>
              <a:gd name="connsiteX8" fmla="*/ 6585110 w 6585110"/>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85110" h="6858000">
                <a:moveTo>
                  <a:pt x="6585110" y="6858000"/>
                </a:moveTo>
                <a:lnTo>
                  <a:pt x="5068653" y="6858000"/>
                </a:lnTo>
                <a:lnTo>
                  <a:pt x="4839565" y="6858000"/>
                </a:lnTo>
                <a:lnTo>
                  <a:pt x="823379" y="6858000"/>
                </a:lnTo>
                <a:lnTo>
                  <a:pt x="0" y="3429000"/>
                </a:lnTo>
                <a:lnTo>
                  <a:pt x="823379" y="0"/>
                </a:lnTo>
                <a:lnTo>
                  <a:pt x="4839565" y="0"/>
                </a:lnTo>
                <a:lnTo>
                  <a:pt x="5068653" y="0"/>
                </a:lnTo>
                <a:lnTo>
                  <a:pt x="658511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2116120" rtl="0" eaLnBrk="1" fontAlgn="auto" latinLnBrk="0" hangingPunct="1">
              <a:lnSpc>
                <a:spcPct val="90000"/>
              </a:lnSpc>
              <a:spcBef>
                <a:spcPts val="0"/>
              </a:spcBef>
              <a:spcAft>
                <a:spcPts val="200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15" name="Page"/>
          <p:cNvSpPr txBox="1"/>
          <p:nvPr userDrawn="1"/>
        </p:nvSpPr>
        <p:spPr>
          <a:xfrm>
            <a:off x="21966653" y="12810073"/>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13" name="Date Placeholder 4"/>
          <p:cNvSpPr>
            <a:spLocks noGrp="1"/>
          </p:cNvSpPr>
          <p:nvPr>
            <p:ph type="dt" sz="half" idx="10"/>
          </p:nvPr>
        </p:nvSpPr>
        <p:spPr>
          <a:xfrm>
            <a:off x="20037833" y="12810073"/>
            <a:ext cx="1928824" cy="307777"/>
          </a:xfrm>
          <a:prstGeom prst="rect">
            <a:avLst/>
          </a:prstGeom>
        </p:spPr>
        <p:txBody>
          <a:bodyPr/>
          <a:lstStyle>
            <a:lvl1pPr>
              <a:defRPr>
                <a:solidFill>
                  <a:schemeClr val="bg1"/>
                </a:solidFill>
                <a:latin typeface="+mn-lt"/>
                <a:ea typeface="+mn-ea"/>
                <a:cs typeface="+mn-cs"/>
                <a:sym typeface="+mn-lt"/>
              </a:defRPr>
            </a:lvl1pPr>
          </a:lstStyle>
          <a:p>
            <a:pPr defTabSz="2116120" hangingPunct="1"/>
            <a:fld id="{11244E21-B843-46E9-B2C1-B628FD5248B9}" type="datetime1">
              <a:rPr lang="en-US" b="0" kern="1200" cap="none" smtClean="0">
                <a:solidFill>
                  <a:prstClr val="white"/>
                </a:solidFill>
                <a:effectLst/>
              </a:rPr>
              <a:t>5/6/21</a:t>
            </a:fld>
            <a:endParaRPr lang="en-US" b="0" kern="1200" cap="none" dirty="0">
              <a:solidFill>
                <a:prstClr val="white"/>
              </a:solidFill>
              <a:effectLst/>
            </a:endParaRPr>
          </a:p>
        </p:txBody>
      </p:sp>
      <p:sp>
        <p:nvSpPr>
          <p:cNvPr id="9"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aramond"/>
                <a:ea typeface="+mn-ea"/>
                <a:cs typeface="+mn-cs"/>
                <a:sym typeface="+mn-lt"/>
              </a:rPr>
              <a:t>Copyright © 2020 by Boston Consulting Group. All rights reserved.</a:t>
            </a:r>
          </a:p>
        </p:txBody>
      </p:sp>
      <p:sp>
        <p:nvSpPr>
          <p:cNvPr id="11" name="Title 3"/>
          <p:cNvSpPr>
            <a:spLocks noGrp="1"/>
          </p:cNvSpPr>
          <p:nvPr>
            <p:ph type="title" hasCustomPrompt="1"/>
          </p:nvPr>
        </p:nvSpPr>
        <p:spPr>
          <a:xfrm>
            <a:off x="1260001" y="1245600"/>
            <a:ext cx="12459208" cy="777600"/>
          </a:xfrm>
        </p:spPr>
        <p:txBody>
          <a:bodyPr/>
          <a:lstStyle>
            <a:lvl1pPr>
              <a:defRPr sz="5600">
                <a:solidFill>
                  <a:schemeClr val="tx2"/>
                </a:solidFill>
                <a:latin typeface="+mj-lt"/>
                <a:ea typeface="+mj-ea"/>
                <a:cs typeface="+mj-cs"/>
                <a:sym typeface="+mj-lt"/>
              </a:defRPr>
            </a:lvl1pPr>
          </a:lstStyle>
          <a:p>
            <a:r>
              <a:rPr lang="en-US" dirty="0"/>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4285911" y="7183024"/>
            <a:ext cx="3466728" cy="6765925"/>
          </a:xfrm>
          <a:custGeom>
            <a:avLst/>
            <a:gdLst>
              <a:gd name="connsiteX0" fmla="*/ 919740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69699 h 3382962"/>
              <a:gd name="connsiteX5" fmla="*/ 106457 w 1365250"/>
              <a:gd name="connsiteY5" fmla="*/ 3371264 h 3382962"/>
              <a:gd name="connsiteX6" fmla="*/ 0 w 1365250"/>
              <a:gd name="connsiteY6" fmla="*/ 0 h 3382962"/>
              <a:gd name="connsiteX7" fmla="*/ 904774 w 1365250"/>
              <a:gd name="connsiteY7" fmla="*/ 0 h 3382962"/>
              <a:gd name="connsiteX8" fmla="*/ 0 w 1365250"/>
              <a:gd name="connsiteY8" fmla="*/ 271432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740" y="0"/>
                </a:moveTo>
                <a:lnTo>
                  <a:pt x="1365250" y="0"/>
                </a:lnTo>
                <a:lnTo>
                  <a:pt x="1365250" y="3382962"/>
                </a:lnTo>
                <a:lnTo>
                  <a:pt x="0" y="3382962"/>
                </a:lnTo>
                <a:lnTo>
                  <a:pt x="0" y="3369699"/>
                </a:lnTo>
                <a:lnTo>
                  <a:pt x="106457" y="3371264"/>
                </a:lnTo>
                <a:close/>
                <a:moveTo>
                  <a:pt x="0" y="0"/>
                </a:moveTo>
                <a:lnTo>
                  <a:pt x="904774" y="0"/>
                </a:lnTo>
                <a:lnTo>
                  <a:pt x="0" y="271432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36710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4032" y="3177"/>
          <a:ext cx="4032" cy="3176"/>
        </p:xfrm>
        <a:graphic>
          <a:graphicData uri="http://schemas.openxmlformats.org/presentationml/2006/ole">
            <mc:AlternateContent xmlns:mc="http://schemas.openxmlformats.org/markup-compatibility/2006">
              <mc:Choice xmlns:v="urn:schemas-microsoft-com:vml" Requires="v">
                <p:oleObj spid="_x0000_s2051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4032" y="3177"/>
                        <a:ext cx="4032" cy="3176"/>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5600"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sp>
        <p:nvSpPr>
          <p:cNvPr id="68" name="ArrowPanelGray"/>
          <p:cNvSpPr/>
          <p:nvPr userDrawn="1"/>
        </p:nvSpPr>
        <p:spPr>
          <a:xfrm flipH="1" flipV="1">
            <a:off x="-8" y="0"/>
            <a:ext cx="16721323" cy="13716000"/>
          </a:xfrm>
          <a:custGeom>
            <a:avLst/>
            <a:gdLst>
              <a:gd name="connsiteX0" fmla="*/ 6585110 w 6585110"/>
              <a:gd name="connsiteY0" fmla="*/ 6858000 h 6858000"/>
              <a:gd name="connsiteX1" fmla="*/ 5068653 w 6585110"/>
              <a:gd name="connsiteY1" fmla="*/ 6858000 h 6858000"/>
              <a:gd name="connsiteX2" fmla="*/ 4839565 w 6585110"/>
              <a:gd name="connsiteY2" fmla="*/ 6858000 h 6858000"/>
              <a:gd name="connsiteX3" fmla="*/ 823379 w 6585110"/>
              <a:gd name="connsiteY3" fmla="*/ 6858000 h 6858000"/>
              <a:gd name="connsiteX4" fmla="*/ 0 w 6585110"/>
              <a:gd name="connsiteY4" fmla="*/ 3429000 h 6858000"/>
              <a:gd name="connsiteX5" fmla="*/ 823379 w 6585110"/>
              <a:gd name="connsiteY5" fmla="*/ 0 h 6858000"/>
              <a:gd name="connsiteX6" fmla="*/ 4839565 w 6585110"/>
              <a:gd name="connsiteY6" fmla="*/ 0 h 6858000"/>
              <a:gd name="connsiteX7" fmla="*/ 5068653 w 6585110"/>
              <a:gd name="connsiteY7" fmla="*/ 0 h 6858000"/>
              <a:gd name="connsiteX8" fmla="*/ 6585110 w 6585110"/>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85110" h="6858000">
                <a:moveTo>
                  <a:pt x="6585110" y="6858000"/>
                </a:moveTo>
                <a:lnTo>
                  <a:pt x="5068653" y="6858000"/>
                </a:lnTo>
                <a:lnTo>
                  <a:pt x="4839565" y="6858000"/>
                </a:lnTo>
                <a:lnTo>
                  <a:pt x="823379" y="6858000"/>
                </a:lnTo>
                <a:lnTo>
                  <a:pt x="0" y="3429000"/>
                </a:lnTo>
                <a:lnTo>
                  <a:pt x="823379" y="0"/>
                </a:lnTo>
                <a:lnTo>
                  <a:pt x="4839565" y="0"/>
                </a:lnTo>
                <a:lnTo>
                  <a:pt x="5068653" y="0"/>
                </a:lnTo>
                <a:lnTo>
                  <a:pt x="6585110" y="0"/>
                </a:lnTo>
                <a:close/>
              </a:path>
            </a:pathLst>
          </a:custGeom>
          <a:gradFill>
            <a:gsLst>
              <a:gs pos="100000">
                <a:schemeClr val="tx2"/>
              </a:gs>
              <a:gs pos="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2116120" rtl="0" eaLnBrk="1" fontAlgn="auto" latinLnBrk="0" hangingPunct="1">
              <a:lnSpc>
                <a:spcPct val="90000"/>
              </a:lnSpc>
              <a:spcBef>
                <a:spcPts val="0"/>
              </a:spcBef>
              <a:spcAft>
                <a:spcPts val="200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11" name="Title 3"/>
          <p:cNvSpPr>
            <a:spLocks noGrp="1"/>
          </p:cNvSpPr>
          <p:nvPr>
            <p:ph type="title" hasCustomPrompt="1"/>
          </p:nvPr>
        </p:nvSpPr>
        <p:spPr>
          <a:xfrm>
            <a:off x="1260001" y="1245600"/>
            <a:ext cx="12459208" cy="777600"/>
          </a:xfrm>
        </p:spPr>
        <p:txBody>
          <a:bodyPr/>
          <a:lstStyle>
            <a:lvl1pPr>
              <a:defRPr sz="5600">
                <a:solidFill>
                  <a:srgbClr val="FFFFFF"/>
                </a:solidFill>
                <a:latin typeface="+mj-lt"/>
                <a:ea typeface="+mj-ea"/>
                <a:cs typeface="+mj-cs"/>
                <a:sym typeface="+mj-lt"/>
              </a:defRPr>
            </a:lvl1pPr>
          </a:lstStyle>
          <a:p>
            <a:r>
              <a:rPr lang="en-US" dirty="0"/>
              <a:t>Click to add title</a:t>
            </a:r>
          </a:p>
        </p:txBody>
      </p:sp>
      <p:pic>
        <p:nvPicPr>
          <p:cNvPr id="12" name="Picture 11"/>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1842357" y="6811343"/>
            <a:ext cx="6842464" cy="6923491"/>
          </a:xfrm>
          <a:custGeom>
            <a:avLst/>
            <a:gdLst>
              <a:gd name="connsiteX0" fmla="*/ 2197214 w 2694666"/>
              <a:gd name="connsiteY0" fmla="*/ 0 h 3461745"/>
              <a:gd name="connsiteX1" fmla="*/ 2694666 w 2694666"/>
              <a:gd name="connsiteY1" fmla="*/ 0 h 3461745"/>
              <a:gd name="connsiteX2" fmla="*/ 2694666 w 2694666"/>
              <a:gd name="connsiteY2" fmla="*/ 3461745 h 3461745"/>
              <a:gd name="connsiteX3" fmla="*/ 1617820 w 2694666"/>
              <a:gd name="connsiteY3" fmla="*/ 3461745 h 3461745"/>
              <a:gd name="connsiteX4" fmla="*/ 0 w 2694666"/>
              <a:gd name="connsiteY4" fmla="*/ 0 h 3461745"/>
              <a:gd name="connsiteX5" fmla="*/ 1857210 w 2694666"/>
              <a:gd name="connsiteY5" fmla="*/ 0 h 3461745"/>
              <a:gd name="connsiteX6" fmla="*/ 1151336 w 2694666"/>
              <a:gd name="connsiteY6" fmla="*/ 3461745 h 3461745"/>
              <a:gd name="connsiteX7" fmla="*/ 0 w 2694666"/>
              <a:gd name="connsiteY7"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61745">
                <a:moveTo>
                  <a:pt x="2197214" y="0"/>
                </a:moveTo>
                <a:lnTo>
                  <a:pt x="2694666" y="0"/>
                </a:lnTo>
                <a:lnTo>
                  <a:pt x="2694666" y="3461745"/>
                </a:lnTo>
                <a:lnTo>
                  <a:pt x="1617820" y="3461745"/>
                </a:lnTo>
                <a:close/>
                <a:moveTo>
                  <a:pt x="0" y="0"/>
                </a:moveTo>
                <a:lnTo>
                  <a:pt x="1857210" y="0"/>
                </a:lnTo>
                <a:lnTo>
                  <a:pt x="1151336" y="3461745"/>
                </a:lnTo>
                <a:lnTo>
                  <a:pt x="0" y="3461745"/>
                </a:lnTo>
                <a:close/>
              </a:path>
            </a:pathLst>
          </a:custGeom>
        </p:spPr>
      </p:pic>
      <p:sp>
        <p:nvSpPr>
          <p:cNvPr id="14" name="Copyright" hidden="1"/>
          <p:cNvSpPr txBox="1"/>
          <p:nvPr userDrawn="1"/>
        </p:nvSpPr>
        <p:spPr>
          <a:xfrm rot="16200000">
            <a:off x="18899103" y="7844997"/>
            <a:ext cx="10267949" cy="193899"/>
          </a:xfrm>
          <a:prstGeom prst="rect">
            <a:avLst/>
          </a:prstGeom>
        </p:spPr>
        <p:txBody>
          <a:bodyPr wrap="square" lIns="0" tIns="0" rIns="0" bIns="0" rtlCol="0" anchor="t">
            <a:spAutoFit/>
          </a:bodyPr>
          <a:lstStyle/>
          <a:p>
            <a:pPr marL="0" marR="0" lvl="0" indent="0" algn="l" defTabSz="1828778"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lumMod val="50000"/>
                  </a:prstClr>
                </a:solidFill>
                <a:effectLst/>
                <a:uLnTx/>
                <a:uFillTx/>
                <a:latin typeface="Garamond"/>
                <a:ea typeface="+mn-ea"/>
                <a:cs typeface="+mn-cs"/>
                <a:sym typeface="+mn-lt"/>
              </a:rPr>
              <a:t>Copyright © 2020 by Boston Consulting Group. All rights reserved.</a:t>
            </a:r>
          </a:p>
        </p:txBody>
      </p:sp>
      <p:sp>
        <p:nvSpPr>
          <p:cNvPr id="16" name="Page"/>
          <p:cNvSpPr txBox="1"/>
          <p:nvPr userDrawn="1"/>
        </p:nvSpPr>
        <p:spPr>
          <a:xfrm>
            <a:off x="21966653" y="12810073"/>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lumMod val="50000"/>
                  </a:prstClr>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solidFill>
                <a:prstClr val="white">
                  <a:lumMod val="50000"/>
                </a:prstClr>
              </a:solidFill>
              <a:effectLst/>
              <a:uLnTx/>
              <a:uFillTx/>
              <a:latin typeface="Garamond"/>
              <a:ea typeface="+mn-ea"/>
              <a:cs typeface="+mn-cs"/>
              <a:sym typeface="+mn-lt"/>
            </a:endParaRPr>
          </a:p>
        </p:txBody>
      </p:sp>
      <p:sp>
        <p:nvSpPr>
          <p:cNvPr id="17" name="Date Placeholder 2"/>
          <p:cNvSpPr>
            <a:spLocks noGrp="1"/>
          </p:cNvSpPr>
          <p:nvPr>
            <p:ph type="dt" sz="half" idx="12"/>
          </p:nvPr>
        </p:nvSpPr>
        <p:spPr>
          <a:xfrm>
            <a:off x="20037833" y="12810073"/>
            <a:ext cx="1928824" cy="307777"/>
          </a:xfrm>
          <a:prstGeom prst="rect">
            <a:avLst/>
          </a:prstGeom>
        </p:spPr>
        <p:txBody>
          <a:bodyPr/>
          <a:lstStyle>
            <a:lvl1pPr>
              <a:defRPr>
                <a:solidFill>
                  <a:schemeClr val="bg1">
                    <a:lumMod val="50000"/>
                  </a:schemeClr>
                </a:solidFill>
                <a:latin typeface="+mn-lt"/>
                <a:ea typeface="+mn-ea"/>
                <a:cs typeface="+mn-cs"/>
                <a:sym typeface="+mn-lt"/>
              </a:defRPr>
            </a:lvl1pPr>
          </a:lstStyle>
          <a:p>
            <a:pPr defTabSz="2116120" hangingPunct="1"/>
            <a:fld id="{7EFA2152-1B39-4AD9-BB31-84BAA029AF5B}" type="datetime1">
              <a:rPr lang="en-US" b="0" kern="1200" cap="none" smtClean="0">
                <a:solidFill>
                  <a:prstClr val="white">
                    <a:lumMod val="50000"/>
                  </a:prstClr>
                </a:solidFill>
                <a:effectLst/>
              </a:rPr>
              <a:t>5/6/21</a:t>
            </a:fld>
            <a:endParaRPr lang="en-US" b="0" kern="1200" cap="none" dirty="0">
              <a:solidFill>
                <a:prstClr val="white">
                  <a:lumMod val="50000"/>
                </a:prstClr>
              </a:solidFill>
              <a:effectLst/>
            </a:endParaRPr>
          </a:p>
        </p:txBody>
      </p:sp>
    </p:spTree>
    <p:extLst>
      <p:ext uri="{BB962C8B-B14F-4D97-AF65-F5344CB8AC3E}">
        <p14:creationId xmlns:p14="http://schemas.microsoft.com/office/powerpoint/2010/main" val="17937432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21540" name="think-cell Slide" r:id="rId5" imgW="286" imgH="286" progId="TCLayout.ActiveDocument.1">
                  <p:embed/>
                </p:oleObj>
              </mc:Choice>
              <mc:Fallback>
                <p:oleObj name="think-cell Slide" r:id="rId5" imgW="286" imgH="286" progId="TCLayout.ActiveDocument.1">
                  <p:embed/>
                  <p:pic>
                    <p:nvPicPr>
                      <p:cNvPr id="5" name="Object 4" hidden="1"/>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8800"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sp>
        <p:nvSpPr>
          <p:cNvPr id="3" name="Page"/>
          <p:cNvSpPr txBox="1"/>
          <p:nvPr/>
        </p:nvSpPr>
        <p:spPr>
          <a:xfrm>
            <a:off x="21966653" y="12810073"/>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4" name="Date Placeholder 3"/>
          <p:cNvSpPr>
            <a:spLocks noGrp="1"/>
          </p:cNvSpPr>
          <p:nvPr>
            <p:ph type="dt" sz="half" idx="10"/>
          </p:nvPr>
        </p:nvSpPr>
        <p:spPr>
          <a:xfrm>
            <a:off x="20037833" y="12810073"/>
            <a:ext cx="1928824" cy="307777"/>
          </a:xfrm>
          <a:prstGeom prst="rect">
            <a:avLst/>
          </a:prstGeom>
        </p:spPr>
        <p:txBody>
          <a:bodyPr/>
          <a:lstStyle>
            <a:lvl1pPr>
              <a:defRPr>
                <a:solidFill>
                  <a:schemeClr val="bg1"/>
                </a:solidFill>
                <a:latin typeface="+mn-lt"/>
                <a:ea typeface="+mn-ea"/>
                <a:cs typeface="+mn-cs"/>
                <a:sym typeface="+mn-lt"/>
              </a:defRPr>
            </a:lvl1pPr>
          </a:lstStyle>
          <a:p>
            <a:pPr defTabSz="2116120" hangingPunct="1"/>
            <a:fld id="{9D36DD8F-2897-42AE-81DE-4606E3BF6D01}" type="datetime1">
              <a:rPr lang="en-US" b="0" kern="1200" cap="none" smtClean="0">
                <a:solidFill>
                  <a:prstClr val="white"/>
                </a:solidFill>
                <a:effectLst/>
              </a:rPr>
              <a:t>5/6/21</a:t>
            </a:fld>
            <a:endParaRPr lang="en-US" b="0" kern="1200" cap="none" dirty="0">
              <a:solidFill>
                <a:prstClr val="white"/>
              </a:solidFill>
              <a:effectLst/>
            </a:endParaRPr>
          </a:p>
        </p:txBody>
      </p:sp>
      <p:sp>
        <p:nvSpPr>
          <p:cNvPr id="9"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aramond"/>
                <a:ea typeface="+mn-ea"/>
                <a:cs typeface="+mn-cs"/>
                <a:sym typeface="+mn-lt"/>
              </a:rPr>
              <a:t>Copyright © 2020 by Boston Consulting Group. All rights reserved.</a:t>
            </a:r>
          </a:p>
        </p:txBody>
      </p:sp>
      <p:sp>
        <p:nvSpPr>
          <p:cNvPr id="8" name="Title 1"/>
          <p:cNvSpPr>
            <a:spLocks noGrp="1"/>
          </p:cNvSpPr>
          <p:nvPr>
            <p:ph type="title" hasCustomPrompt="1"/>
          </p:nvPr>
        </p:nvSpPr>
        <p:spPr>
          <a:xfrm>
            <a:off x="1599736" y="7652671"/>
            <a:ext cx="21180496" cy="3213101"/>
          </a:xfrm>
        </p:spPr>
        <p:txBody>
          <a:bodyPr anchor="b">
            <a:noAutofit/>
          </a:bodyPr>
          <a:lstStyle>
            <a:lvl1pPr marL="0" algn="l" defTabSz="1828778" rtl="0" eaLnBrk="1" fontAlgn="auto" latinLnBrk="0" hangingPunct="1">
              <a:lnSpc>
                <a:spcPts val="12000"/>
              </a:lnSpc>
              <a:spcBef>
                <a:spcPts val="0"/>
              </a:spcBef>
              <a:spcAft>
                <a:spcPts val="0"/>
              </a:spcAft>
              <a:defRPr lang="en-US" sz="88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14799972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22564"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8800"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sp>
        <p:nvSpPr>
          <p:cNvPr id="3" name="Date Placeholder 2"/>
          <p:cNvSpPr>
            <a:spLocks noGrp="1"/>
          </p:cNvSpPr>
          <p:nvPr>
            <p:ph type="dt" sz="half" idx="10"/>
          </p:nvPr>
        </p:nvSpPr>
        <p:spPr>
          <a:xfrm>
            <a:off x="20037833" y="12810073"/>
            <a:ext cx="1928824" cy="307777"/>
          </a:xfrm>
          <a:prstGeom prst="rect">
            <a:avLst/>
          </a:prstGeom>
        </p:spPr>
        <p:txBody>
          <a:bodyPr/>
          <a:lstStyle>
            <a:lvl1pPr>
              <a:defRPr>
                <a:solidFill>
                  <a:schemeClr val="bg1">
                    <a:lumMod val="50000"/>
                  </a:schemeClr>
                </a:solidFill>
                <a:latin typeface="+mn-lt"/>
                <a:ea typeface="+mn-ea"/>
                <a:cs typeface="+mn-cs"/>
                <a:sym typeface="+mn-lt"/>
              </a:defRPr>
            </a:lvl1pPr>
          </a:lstStyle>
          <a:p>
            <a:pPr defTabSz="2116120" hangingPunct="1"/>
            <a:fld id="{E89F6CA9-643D-4146-814F-3670A1459A60}" type="datetime1">
              <a:rPr lang="en-US" b="0" kern="1200" cap="none" smtClean="0">
                <a:solidFill>
                  <a:prstClr val="white">
                    <a:lumMod val="50000"/>
                  </a:prstClr>
                </a:solidFill>
                <a:effectLst/>
              </a:rPr>
              <a:t>5/6/21</a:t>
            </a:fld>
            <a:endParaRPr lang="en-US" b="0" kern="1200" cap="none" dirty="0">
              <a:solidFill>
                <a:prstClr val="white">
                  <a:lumMod val="50000"/>
                </a:prstClr>
              </a:solidFill>
              <a:effectLst/>
            </a:endParaRPr>
          </a:p>
        </p:txBody>
      </p:sp>
      <p:sp>
        <p:nvSpPr>
          <p:cNvPr id="9"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lumMod val="50000"/>
                  </a:prstClr>
                </a:solidFill>
                <a:effectLst/>
                <a:uLnTx/>
                <a:uFillTx/>
                <a:latin typeface="Garamond"/>
                <a:ea typeface="+mn-ea"/>
                <a:cs typeface="+mn-cs"/>
                <a:sym typeface="+mn-lt"/>
              </a:rPr>
              <a:t>Copyright © 2020 by Boston Consulting Group. All rights reserved.</a:t>
            </a:r>
          </a:p>
        </p:txBody>
      </p:sp>
      <p:sp>
        <p:nvSpPr>
          <p:cNvPr id="7" name="Title 1"/>
          <p:cNvSpPr>
            <a:spLocks noGrp="1"/>
          </p:cNvSpPr>
          <p:nvPr>
            <p:ph type="title" hasCustomPrompt="1"/>
          </p:nvPr>
        </p:nvSpPr>
        <p:spPr>
          <a:xfrm>
            <a:off x="1599739" y="7652671"/>
            <a:ext cx="21182512" cy="3213101"/>
          </a:xfrm>
          <a:prstGeom prst="rect">
            <a:avLst/>
          </a:prstGeom>
        </p:spPr>
        <p:txBody>
          <a:bodyPr anchor="b">
            <a:noAutofit/>
          </a:bodyPr>
          <a:lstStyle>
            <a:lvl1pPr marL="0" algn="l" defTabSz="1828778" rtl="0" eaLnBrk="1" fontAlgn="auto" latinLnBrk="0" hangingPunct="1">
              <a:lnSpc>
                <a:spcPts val="12000"/>
              </a:lnSpc>
              <a:spcBef>
                <a:spcPts val="0"/>
              </a:spcBef>
              <a:spcAft>
                <a:spcPts val="0"/>
              </a:spcAft>
              <a:defRPr lang="en-US" sz="8800" kern="1200" baseline="0" dirty="0">
                <a:solidFill>
                  <a:schemeClr val="accent4"/>
                </a:solidFill>
                <a:latin typeface="+mj-lt"/>
                <a:ea typeface="+mj-ea"/>
                <a:cs typeface="+mj-cs"/>
                <a:sym typeface="+mj-lt"/>
              </a:defRPr>
            </a:lvl1pPr>
          </a:lstStyle>
          <a:p>
            <a:r>
              <a:rPr lang="en-US" dirty="0"/>
              <a:t>Click to add big statement text</a:t>
            </a:r>
          </a:p>
        </p:txBody>
      </p:sp>
      <p:sp>
        <p:nvSpPr>
          <p:cNvPr id="6" name="Square"/>
          <p:cNvSpPr>
            <a:spLocks/>
          </p:cNvSpPr>
          <p:nvPr userDrawn="1"/>
        </p:nvSpPr>
        <p:spPr bwMode="white">
          <a:xfrm>
            <a:off x="1599739" y="1250949"/>
            <a:ext cx="1828800" cy="18288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aramond"/>
              <a:ea typeface="+mn-ea"/>
              <a:cs typeface="+mn-cs"/>
              <a:sym typeface="+mn-lt"/>
            </a:endParaRPr>
          </a:p>
        </p:txBody>
      </p:sp>
    </p:spTree>
    <p:extLst>
      <p:ext uri="{BB962C8B-B14F-4D97-AF65-F5344CB8AC3E}">
        <p14:creationId xmlns:p14="http://schemas.microsoft.com/office/powerpoint/2010/main" val="3441486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4032" y="3177"/>
          <a:ext cx="4032" cy="3176"/>
        </p:xfrm>
        <a:graphic>
          <a:graphicData uri="http://schemas.openxmlformats.org/presentationml/2006/ole">
            <mc:AlternateContent xmlns:mc="http://schemas.openxmlformats.org/markup-compatibility/2006">
              <mc:Choice xmlns:v="urn:schemas-microsoft-com:vml" Requires="v">
                <p:oleObj spid="_x0000_s23588"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4032" y="3177"/>
                        <a:ext cx="4032" cy="3176"/>
                      </a:xfrm>
                      <a:prstGeom prst="rect">
                        <a:avLst/>
                      </a:prstGeom>
                    </p:spPr>
                  </p:pic>
                </p:oleObj>
              </mc:Fallback>
            </mc:AlternateContent>
          </a:graphicData>
        </a:graphic>
      </p:graphicFrame>
      <p:sp>
        <p:nvSpPr>
          <p:cNvPr id="6" name="Page"/>
          <p:cNvSpPr txBox="1"/>
          <p:nvPr userDrawn="1"/>
        </p:nvSpPr>
        <p:spPr>
          <a:xfrm>
            <a:off x="21966653" y="12810073"/>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dirty="0">
              <a:ln>
                <a:noFill/>
              </a:ln>
              <a:solidFill>
                <a:prstClr val="white"/>
              </a:solidFill>
              <a:effectLst/>
              <a:uLnTx/>
              <a:uFillTx/>
              <a:latin typeface="Garamond"/>
              <a:ea typeface="+mn-ea"/>
              <a:cs typeface="+mn-cs"/>
              <a:sym typeface="+mn-lt"/>
            </a:endParaRPr>
          </a:p>
        </p:txBody>
      </p:sp>
      <p:grpSp>
        <p:nvGrpSpPr>
          <p:cNvPr id="13" name="Bubble"/>
          <p:cNvGrpSpPr/>
          <p:nvPr userDrawn="1"/>
        </p:nvGrpSpPr>
        <p:grpSpPr>
          <a:xfrm>
            <a:off x="3" y="0"/>
            <a:ext cx="24379968" cy="11719771"/>
            <a:chOff x="1" y="0"/>
            <a:chExt cx="9601200" cy="5859885"/>
          </a:xfrm>
        </p:grpSpPr>
        <p:sp>
          <p:nvSpPr>
            <p:cNvPr id="14" name="Rectangle 13"/>
            <p:cNvSpPr/>
            <p:nvPr userDrawn="1"/>
          </p:nvSpPr>
          <p:spPr>
            <a:xfrm>
              <a:off x="1" y="0"/>
              <a:ext cx="9601200" cy="4989600"/>
            </a:xfrm>
            <a:prstGeom prst="rect">
              <a:avLst/>
            </a:pr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3125" b="0" i="0" u="none" strike="noStrike" kern="1200" cap="none" spc="0" normalizeH="0" baseline="0" noProof="0" dirty="0">
                <a:ln>
                  <a:noFill/>
                </a:ln>
                <a:solidFill>
                  <a:srgbClr val="000000"/>
                </a:solidFill>
                <a:effectLst/>
                <a:uLnTx/>
                <a:uFillTx/>
                <a:latin typeface="Garamond"/>
                <a:ea typeface="+mn-ea"/>
                <a:cs typeface="+mn-cs"/>
                <a:sym typeface="+mn-lt"/>
              </a:endParaRPr>
            </a:p>
          </p:txBody>
        </p:sp>
        <p:sp>
          <p:nvSpPr>
            <p:cNvPr id="15" name="Right Triangle 14"/>
            <p:cNvSpPr/>
            <p:nvPr userDrawn="1"/>
          </p:nvSpPr>
          <p:spPr>
            <a:xfrm rot="5400000">
              <a:off x="2109600" y="4820336"/>
              <a:ext cx="1039549" cy="1039549"/>
            </a:xfrm>
            <a:prstGeom prst="rtTriangle">
              <a:avLst/>
            </a:pr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3125" b="0" i="0" u="none" strike="noStrike" kern="1200" cap="none" spc="0" normalizeH="0" baseline="0" noProof="0" dirty="0">
                <a:ln>
                  <a:noFill/>
                </a:ln>
                <a:solidFill>
                  <a:srgbClr val="000000"/>
                </a:solidFill>
                <a:effectLst/>
                <a:uLnTx/>
                <a:uFillTx/>
                <a:latin typeface="Garamond"/>
                <a:ea typeface="+mn-ea"/>
                <a:cs typeface="+mn-cs"/>
                <a:sym typeface="+mn-lt"/>
              </a:endParaRPr>
            </a:p>
          </p:txBody>
        </p:sp>
      </p:gr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l="25898" r="3633" b="26071"/>
          <a:stretch/>
        </p:blipFill>
        <p:spPr>
          <a:xfrm rot="16200000" flipH="1">
            <a:off x="14296809" y="1020076"/>
            <a:ext cx="1125064" cy="19049320"/>
          </a:xfrm>
          <a:custGeom>
            <a:avLst/>
            <a:gdLst>
              <a:gd name="connsiteX0" fmla="*/ 0 w 562532"/>
              <a:gd name="connsiteY0" fmla="*/ 0 h 7501910"/>
              <a:gd name="connsiteX1" fmla="*/ 0 w 562532"/>
              <a:gd name="connsiteY1" fmla="*/ 7501910 h 7501910"/>
              <a:gd name="connsiteX2" fmla="*/ 562532 w 562532"/>
              <a:gd name="connsiteY2" fmla="*/ 7501910 h 7501910"/>
              <a:gd name="connsiteX3" fmla="*/ 562532 w 562532"/>
              <a:gd name="connsiteY3" fmla="*/ 0 h 7501910"/>
            </a:gdLst>
            <a:ahLst/>
            <a:cxnLst>
              <a:cxn ang="0">
                <a:pos x="connsiteX0" y="connsiteY0"/>
              </a:cxn>
              <a:cxn ang="0">
                <a:pos x="connsiteX1" y="connsiteY1"/>
              </a:cxn>
              <a:cxn ang="0">
                <a:pos x="connsiteX2" y="connsiteY2"/>
              </a:cxn>
              <a:cxn ang="0">
                <a:pos x="connsiteX3" y="connsiteY3"/>
              </a:cxn>
            </a:cxnLst>
            <a:rect l="l" t="t" r="r" b="b"/>
            <a:pathLst>
              <a:path w="562532" h="7501910">
                <a:moveTo>
                  <a:pt x="0" y="0"/>
                </a:moveTo>
                <a:lnTo>
                  <a:pt x="0" y="7501910"/>
                </a:lnTo>
                <a:lnTo>
                  <a:pt x="562532" y="7501910"/>
                </a:lnTo>
                <a:lnTo>
                  <a:pt x="562532" y="0"/>
                </a:lnTo>
                <a:close/>
              </a:path>
            </a:pathLst>
          </a:custGeom>
        </p:spPr>
      </p:pic>
    </p:spTree>
    <p:extLst>
      <p:ext uri="{BB962C8B-B14F-4D97-AF65-F5344CB8AC3E}">
        <p14:creationId xmlns:p14="http://schemas.microsoft.com/office/powerpoint/2010/main" val="378444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24612"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5600"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sp>
        <p:nvSpPr>
          <p:cNvPr id="5" name="Page"/>
          <p:cNvSpPr txBox="1"/>
          <p:nvPr userDrawn="1"/>
        </p:nvSpPr>
        <p:spPr bwMode="white">
          <a:xfrm>
            <a:off x="21966653" y="12808801"/>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2" name="Date Placeholder 1"/>
          <p:cNvSpPr>
            <a:spLocks noGrp="1"/>
          </p:cNvSpPr>
          <p:nvPr>
            <p:ph type="dt" sz="half" idx="14"/>
          </p:nvPr>
        </p:nvSpPr>
        <p:spPr bwMode="white">
          <a:xfrm>
            <a:off x="20037833" y="12810073"/>
            <a:ext cx="1928824" cy="307777"/>
          </a:xfrm>
          <a:prstGeom prst="rect">
            <a:avLst/>
          </a:prstGeom>
        </p:spPr>
        <p:txBody>
          <a:bodyPr/>
          <a:lstStyle>
            <a:lvl1pPr>
              <a:defRPr>
                <a:solidFill>
                  <a:schemeClr val="bg1"/>
                </a:solidFill>
                <a:latin typeface="+mn-lt"/>
                <a:ea typeface="+mn-ea"/>
                <a:cs typeface="+mn-cs"/>
                <a:sym typeface="+mn-lt"/>
              </a:defRPr>
            </a:lvl1pPr>
          </a:lstStyle>
          <a:p>
            <a:pPr defTabSz="2116120" hangingPunct="1"/>
            <a:fld id="{5852F29B-1B42-47DA-952B-CF5CD9EB883E}" type="datetime1">
              <a:rPr lang="en-US" b="0" kern="1200" cap="none" smtClean="0">
                <a:solidFill>
                  <a:prstClr val="white"/>
                </a:solidFill>
                <a:effectLst/>
              </a:rPr>
              <a:t>5/6/21</a:t>
            </a:fld>
            <a:endParaRPr lang="en-US" b="0" kern="1200" cap="none" dirty="0">
              <a:solidFill>
                <a:prstClr val="white"/>
              </a:solidFill>
              <a:effectLst/>
            </a:endParaRPr>
          </a:p>
        </p:txBody>
      </p:sp>
      <p:sp>
        <p:nvSpPr>
          <p:cNvPr id="11"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aramond"/>
                <a:ea typeface="+mn-ea"/>
                <a:cs typeface="+mn-cs"/>
                <a:sym typeface="+mn-lt"/>
              </a:rPr>
              <a:t>Copyright © 2020 by Boston Consulting Group. All rights reserved.</a:t>
            </a:r>
          </a:p>
        </p:txBody>
      </p:sp>
      <p:sp>
        <p:nvSpPr>
          <p:cNvPr id="4" name="Title 3"/>
          <p:cNvSpPr>
            <a:spLocks noGrp="1"/>
          </p:cNvSpPr>
          <p:nvPr>
            <p:ph type="title" hasCustomPrompt="1"/>
          </p:nvPr>
        </p:nvSpPr>
        <p:spPr>
          <a:xfrm>
            <a:off x="1260002" y="1245600"/>
            <a:ext cx="21866701" cy="777600"/>
          </a:xfrm>
        </p:spPr>
        <p:txBody>
          <a:bodyPr/>
          <a:lstStyle>
            <a:lvl1pPr>
              <a:defRPr sz="5600">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567169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4032" y="3177"/>
          <a:ext cx="4032" cy="3176"/>
        </p:xfrm>
        <a:graphic>
          <a:graphicData uri="http://schemas.openxmlformats.org/presentationml/2006/ole">
            <mc:AlternateContent xmlns:mc="http://schemas.openxmlformats.org/markup-compatibility/2006">
              <mc:Choice xmlns:v="urn:schemas-microsoft-com:vml" Requires="v">
                <p:oleObj spid="_x0000_s25636"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4032" y="3177"/>
                        <a:ext cx="4032" cy="3176"/>
                      </a:xfrm>
                      <a:prstGeom prst="rect">
                        <a:avLst/>
                      </a:prstGeom>
                    </p:spPr>
                  </p:pic>
                </p:oleObj>
              </mc:Fallback>
            </mc:AlternateContent>
          </a:graphicData>
        </a:graphic>
      </p:graphicFrame>
      <p:sp>
        <p:nvSpPr>
          <p:cNvPr id="5" name="Date Placeholder 4"/>
          <p:cNvSpPr>
            <a:spLocks noGrp="1"/>
          </p:cNvSpPr>
          <p:nvPr>
            <p:ph type="dt" sz="half" idx="12"/>
          </p:nvPr>
        </p:nvSpPr>
        <p:spPr>
          <a:xfrm>
            <a:off x="20037833" y="12810073"/>
            <a:ext cx="1928824" cy="307777"/>
          </a:xfrm>
          <a:prstGeom prst="rect">
            <a:avLst/>
          </a:prstGeom>
        </p:spPr>
        <p:txBody>
          <a:bodyPr/>
          <a:lstStyle>
            <a:lvl1pPr>
              <a:defRPr>
                <a:solidFill>
                  <a:schemeClr val="bg1">
                    <a:lumMod val="50000"/>
                  </a:schemeClr>
                </a:solidFill>
                <a:latin typeface="+mn-lt"/>
                <a:ea typeface="+mn-ea"/>
                <a:cs typeface="+mn-cs"/>
                <a:sym typeface="+mn-lt"/>
              </a:defRPr>
            </a:lvl1pPr>
          </a:lstStyle>
          <a:p>
            <a:pPr defTabSz="2116120" hangingPunct="1"/>
            <a:fld id="{D181EF64-20B9-46C5-8BC7-5867CB8E6FD4}" type="datetime1">
              <a:rPr lang="en-US" b="0" kern="1200" cap="none" smtClean="0">
                <a:solidFill>
                  <a:prstClr val="white">
                    <a:lumMod val="50000"/>
                  </a:prstClr>
                </a:solidFill>
                <a:effectLst/>
              </a:rPr>
              <a:t>5/6/21</a:t>
            </a:fld>
            <a:endParaRPr lang="en-US" b="0" kern="1200" cap="none" dirty="0">
              <a:solidFill>
                <a:prstClr val="white">
                  <a:lumMod val="50000"/>
                </a:prstClr>
              </a:solidFill>
              <a:effectLst/>
            </a:endParaRPr>
          </a:p>
        </p:txBody>
      </p:sp>
      <p:sp>
        <p:nvSpPr>
          <p:cNvPr id="7"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lumMod val="50000"/>
                  </a:prstClr>
                </a:solidFill>
                <a:effectLst/>
                <a:uLnTx/>
                <a:uFillTx/>
                <a:latin typeface="Garamond"/>
                <a:ea typeface="+mn-ea"/>
                <a:cs typeface="+mn-cs"/>
                <a:sym typeface="+mn-lt"/>
              </a:rPr>
              <a:t>Copyright © 2020 by Boston Consulting Group. All rights reserved.</a:t>
            </a:r>
          </a:p>
        </p:txBody>
      </p:sp>
    </p:spTree>
    <p:extLst>
      <p:ext uri="{BB962C8B-B14F-4D97-AF65-F5344CB8AC3E}">
        <p14:creationId xmlns:p14="http://schemas.microsoft.com/office/powerpoint/2010/main" val="21557455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x">
  <p:cSld name="Slide with photo">
    <p:spTree>
      <p:nvGrpSpPr>
        <p:cNvPr id="1" name=""/>
        <p:cNvGrpSpPr/>
        <p:nvPr/>
      </p:nvGrpSpPr>
      <p:grpSpPr>
        <a:xfrm>
          <a:off x="0" y="0"/>
          <a:ext cx="0" cy="0"/>
          <a:chOff x="0" y="0"/>
          <a:chExt cx="0" cy="0"/>
        </a:xfrm>
      </p:grpSpPr>
      <p:sp>
        <p:nvSpPr>
          <p:cNvPr id="33" name="Picture Placeholder 3"/>
          <p:cNvSpPr>
            <a:spLocks noGrp="1"/>
          </p:cNvSpPr>
          <p:nvPr>
            <p:ph type="pic" sz="quarter" idx="21"/>
          </p:nvPr>
        </p:nvSpPr>
        <p:spPr>
          <a:xfrm>
            <a:off x="5314458" y="3906439"/>
            <a:ext cx="2447928" cy="2447928"/>
          </a:xfrm>
          <a:prstGeom prst="rect">
            <a:avLst/>
          </a:prstGeom>
        </p:spPr>
        <p:txBody>
          <a:bodyPr lIns="91439" tIns="45719" rIns="91439" bIns="45719"/>
          <a:lstStyle/>
          <a:p>
            <a:endParaRPr/>
          </a:p>
        </p:txBody>
      </p:sp>
      <p:sp>
        <p:nvSpPr>
          <p:cNvPr id="34" name="Picture Placeholder 3"/>
          <p:cNvSpPr>
            <a:spLocks noGrp="1"/>
          </p:cNvSpPr>
          <p:nvPr>
            <p:ph type="pic" sz="quarter" idx="22"/>
          </p:nvPr>
        </p:nvSpPr>
        <p:spPr>
          <a:xfrm>
            <a:off x="8265993" y="3906439"/>
            <a:ext cx="2447928" cy="2447928"/>
          </a:xfrm>
          <a:prstGeom prst="rect">
            <a:avLst/>
          </a:prstGeom>
        </p:spPr>
        <p:txBody>
          <a:bodyPr lIns="91439" tIns="45719" rIns="91439" bIns="45719"/>
          <a:lstStyle/>
          <a:p>
            <a:endParaRPr/>
          </a:p>
        </p:txBody>
      </p:sp>
      <p:sp>
        <p:nvSpPr>
          <p:cNvPr id="35" name="Picture Placeholder 3"/>
          <p:cNvSpPr>
            <a:spLocks noGrp="1"/>
          </p:cNvSpPr>
          <p:nvPr>
            <p:ph type="pic" sz="quarter" idx="23"/>
          </p:nvPr>
        </p:nvSpPr>
        <p:spPr>
          <a:xfrm>
            <a:off x="11183887" y="3906439"/>
            <a:ext cx="2447928" cy="2447928"/>
          </a:xfrm>
          <a:prstGeom prst="rect">
            <a:avLst/>
          </a:prstGeom>
        </p:spPr>
        <p:txBody>
          <a:bodyPr lIns="91439" tIns="45719" rIns="91439" bIns="45719"/>
          <a:lstStyle/>
          <a:p>
            <a:endParaRPr/>
          </a:p>
        </p:txBody>
      </p:sp>
      <p:sp>
        <p:nvSpPr>
          <p:cNvPr id="36" name="Picture Placeholder 3"/>
          <p:cNvSpPr>
            <a:spLocks noGrp="1"/>
          </p:cNvSpPr>
          <p:nvPr>
            <p:ph type="pic" sz="quarter" idx="24"/>
          </p:nvPr>
        </p:nvSpPr>
        <p:spPr>
          <a:xfrm>
            <a:off x="14135422" y="3906439"/>
            <a:ext cx="2447928" cy="2447928"/>
          </a:xfrm>
          <a:prstGeom prst="rect">
            <a:avLst/>
          </a:prstGeom>
        </p:spPr>
        <p:txBody>
          <a:bodyPr lIns="91439" tIns="45719" rIns="91439" bIns="45719"/>
          <a:lstStyle/>
          <a:p>
            <a:endParaRPr/>
          </a:p>
        </p:txBody>
      </p:sp>
      <p:sp>
        <p:nvSpPr>
          <p:cNvPr id="37" name="Picture Placeholder 3"/>
          <p:cNvSpPr>
            <a:spLocks noGrp="1"/>
          </p:cNvSpPr>
          <p:nvPr>
            <p:ph type="pic" sz="quarter" idx="25"/>
          </p:nvPr>
        </p:nvSpPr>
        <p:spPr>
          <a:xfrm>
            <a:off x="17086958" y="3906439"/>
            <a:ext cx="2447928" cy="2447928"/>
          </a:xfrm>
          <a:prstGeom prst="rect">
            <a:avLst/>
          </a:prstGeom>
        </p:spPr>
        <p:txBody>
          <a:bodyPr lIns="91439" tIns="45719" rIns="91439" bIns="45719"/>
          <a:lstStyle/>
          <a:p>
            <a:endParaRPr/>
          </a:p>
        </p:txBody>
      </p:sp>
      <p:sp>
        <p:nvSpPr>
          <p:cNvPr id="38" name="Picture Placeholder 3"/>
          <p:cNvSpPr>
            <a:spLocks noGrp="1"/>
          </p:cNvSpPr>
          <p:nvPr>
            <p:ph type="pic" sz="quarter" idx="26"/>
          </p:nvPr>
        </p:nvSpPr>
        <p:spPr>
          <a:xfrm>
            <a:off x="5314458" y="6858000"/>
            <a:ext cx="2447928" cy="2447925"/>
          </a:xfrm>
          <a:prstGeom prst="rect">
            <a:avLst/>
          </a:prstGeom>
        </p:spPr>
        <p:txBody>
          <a:bodyPr lIns="91439" tIns="45719" rIns="91439" bIns="45719"/>
          <a:lstStyle/>
          <a:p>
            <a:endParaRPr/>
          </a:p>
        </p:txBody>
      </p:sp>
      <p:sp>
        <p:nvSpPr>
          <p:cNvPr id="39" name="Picture Placeholder 3"/>
          <p:cNvSpPr>
            <a:spLocks noGrp="1"/>
          </p:cNvSpPr>
          <p:nvPr>
            <p:ph type="pic" sz="quarter" idx="27"/>
          </p:nvPr>
        </p:nvSpPr>
        <p:spPr>
          <a:xfrm>
            <a:off x="8265993" y="6858000"/>
            <a:ext cx="2447928" cy="2447925"/>
          </a:xfrm>
          <a:prstGeom prst="rect">
            <a:avLst/>
          </a:prstGeom>
        </p:spPr>
        <p:txBody>
          <a:bodyPr lIns="91439" tIns="45719" rIns="91439" bIns="45719"/>
          <a:lstStyle/>
          <a:p>
            <a:endParaRPr/>
          </a:p>
        </p:txBody>
      </p:sp>
      <p:sp>
        <p:nvSpPr>
          <p:cNvPr id="40" name="Picture Placeholder 3"/>
          <p:cNvSpPr>
            <a:spLocks noGrp="1"/>
          </p:cNvSpPr>
          <p:nvPr>
            <p:ph type="pic" sz="quarter" idx="28"/>
          </p:nvPr>
        </p:nvSpPr>
        <p:spPr>
          <a:xfrm>
            <a:off x="11183887" y="6858000"/>
            <a:ext cx="2447928" cy="2447925"/>
          </a:xfrm>
          <a:prstGeom prst="rect">
            <a:avLst/>
          </a:prstGeom>
        </p:spPr>
        <p:txBody>
          <a:bodyPr lIns="91439" tIns="45719" rIns="91439" bIns="45719"/>
          <a:lstStyle/>
          <a:p>
            <a:endParaRPr/>
          </a:p>
        </p:txBody>
      </p:sp>
      <p:sp>
        <p:nvSpPr>
          <p:cNvPr id="41" name="Picture Placeholder 3"/>
          <p:cNvSpPr>
            <a:spLocks noGrp="1"/>
          </p:cNvSpPr>
          <p:nvPr>
            <p:ph type="pic" sz="quarter" idx="29"/>
          </p:nvPr>
        </p:nvSpPr>
        <p:spPr>
          <a:xfrm>
            <a:off x="14135422" y="6858000"/>
            <a:ext cx="2447928" cy="2447925"/>
          </a:xfrm>
          <a:prstGeom prst="rect">
            <a:avLst/>
          </a:prstGeom>
        </p:spPr>
        <p:txBody>
          <a:bodyPr lIns="91439" tIns="45719" rIns="91439" bIns="45719"/>
          <a:lstStyle/>
          <a:p>
            <a:endParaRPr/>
          </a:p>
        </p:txBody>
      </p:sp>
      <p:sp>
        <p:nvSpPr>
          <p:cNvPr id="42" name="Picture Placeholder 3"/>
          <p:cNvSpPr>
            <a:spLocks noGrp="1"/>
          </p:cNvSpPr>
          <p:nvPr>
            <p:ph type="pic" sz="quarter" idx="30"/>
          </p:nvPr>
        </p:nvSpPr>
        <p:spPr>
          <a:xfrm>
            <a:off x="17086958" y="6858000"/>
            <a:ext cx="2447928" cy="2447925"/>
          </a:xfrm>
          <a:prstGeom prst="rect">
            <a:avLst/>
          </a:prstGeom>
        </p:spPr>
        <p:txBody>
          <a:bodyPr lIns="91439" tIns="45719" rIns="91439" bIns="45719"/>
          <a:lstStyle/>
          <a:p>
            <a:endParaRPr/>
          </a:p>
        </p:txBody>
      </p:sp>
      <p:sp>
        <p:nvSpPr>
          <p:cNvPr id="43" name="TextBox 1"/>
          <p:cNvSpPr txBox="1"/>
          <p:nvPr/>
        </p:nvSpPr>
        <p:spPr>
          <a:xfrm>
            <a:off x="701873" y="13062582"/>
            <a:ext cx="3824031" cy="29463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spAutoFit/>
          </a:bodyPr>
          <a:lstStyle>
            <a:lvl1pPr algn="l">
              <a:defRPr sz="1400" b="0" i="1" cap="none">
                <a:solidFill>
                  <a:srgbClr val="A7A7A7"/>
                </a:solidFill>
              </a:defRPr>
            </a:lvl1pPr>
          </a:lstStyle>
          <a:p>
            <a:pPr>
              <a:defRPr>
                <a:effectLst/>
              </a:defRPr>
            </a:pPr>
            <a:r>
              <a:rPr dirty="0"/>
              <a:t>Q3 2020 Budget Performance Review</a:t>
            </a:r>
          </a:p>
        </p:txBody>
      </p:sp>
      <p:pic>
        <p:nvPicPr>
          <p:cNvPr id="44" name="LSGv.jpeg" descr="LSGv.jpeg"/>
          <p:cNvPicPr>
            <a:picLocks noChangeAspect="1"/>
          </p:cNvPicPr>
          <p:nvPr/>
        </p:nvPicPr>
        <p:blipFill>
          <a:blip r:embed="rId2"/>
          <a:stretch>
            <a:fillRect/>
          </a:stretch>
        </p:blipFill>
        <p:spPr>
          <a:xfrm>
            <a:off x="470904" y="580375"/>
            <a:ext cx="1237417" cy="1237417"/>
          </a:xfrm>
          <a:prstGeom prst="rect">
            <a:avLst/>
          </a:prstGeom>
          <a:ln w="12700">
            <a:miter lim="400000"/>
          </a:ln>
        </p:spPr>
      </p:pic>
      <p:sp>
        <p:nvSpPr>
          <p:cNvPr id="46" name="Линия"/>
          <p:cNvSpPr/>
          <p:nvPr/>
        </p:nvSpPr>
        <p:spPr>
          <a:xfrm>
            <a:off x="2120714" y="1682912"/>
            <a:ext cx="18023428" cy="134880"/>
          </a:xfrm>
          <a:prstGeom prst="line">
            <a:avLst/>
          </a:prstGeom>
          <a:ln w="25400">
            <a:solidFill>
              <a:schemeClr val="accent3"/>
            </a:solidFill>
          </a:ln>
          <a:effectLst>
            <a:outerShdw blurRad="101600" dist="25400" dir="5400000" rotWithShape="0">
              <a:srgbClr val="000000">
                <a:alpha val="75000"/>
              </a:srgbClr>
            </a:outerShdw>
          </a:effectLst>
        </p:spPr>
        <p:txBody>
          <a:bodyPr lIns="45718" tIns="45718" rIns="45718" bIns="45718"/>
          <a:lstStyle/>
          <a:p>
            <a:pPr algn="l">
              <a:defRPr sz="2000" b="0" cap="none">
                <a:solidFill>
                  <a:srgbClr val="252D30"/>
                </a:solidFill>
                <a:effectLst/>
                <a:latin typeface="+mn-lt"/>
                <a:ea typeface="+mn-ea"/>
                <a:cs typeface="+mn-cs"/>
                <a:sym typeface="Helvetica Neue"/>
              </a:defRPr>
            </a:pPr>
            <a:endParaRPr/>
          </a:p>
        </p:txBody>
      </p:sp>
      <p:sp>
        <p:nvSpPr>
          <p:cNvPr id="47" name="TextBox 1"/>
          <p:cNvSpPr txBox="1"/>
          <p:nvPr/>
        </p:nvSpPr>
        <p:spPr>
          <a:xfrm>
            <a:off x="5746038" y="13062582"/>
            <a:ext cx="12891924" cy="29463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spAutoFit/>
          </a:bodyPr>
          <a:lstStyle>
            <a:lvl1pPr>
              <a:defRPr sz="1400" b="0" i="1" cap="none">
                <a:solidFill>
                  <a:srgbClr val="A7A7A7"/>
                </a:solidFill>
              </a:defRPr>
            </a:lvl1pPr>
          </a:lstStyle>
          <a:p>
            <a:pPr>
              <a:defRPr>
                <a:effectLst/>
              </a:defRPr>
            </a:pPr>
            <a:r>
              <a:rPr lang="en-GB" dirty="0"/>
              <a:t>Projections are based on Budget planning figures and trends from the previous year. Accuracy of the figures improve as year-to-date data becomes available</a:t>
            </a:r>
            <a:r>
              <a:rPr dirty="0"/>
              <a:t>.</a:t>
            </a:r>
          </a:p>
        </p:txBody>
      </p:sp>
      <p:sp>
        <p:nvSpPr>
          <p:cNvPr id="26" name="Slide Number">
            <a:extLst>
              <a:ext uri="{FF2B5EF4-FFF2-40B4-BE49-F238E27FC236}">
                <a16:creationId xmlns:a16="http://schemas.microsoft.com/office/drawing/2014/main" id="{13926A65-4BE5-4BFB-BC65-AE7C01C0F3DB}"/>
              </a:ext>
            </a:extLst>
          </p:cNvPr>
          <p:cNvSpPr txBox="1">
            <a:spLocks/>
          </p:cNvSpPr>
          <p:nvPr userDrawn="1"/>
        </p:nvSpPr>
        <p:spPr>
          <a:xfrm>
            <a:off x="22707051" y="12833215"/>
            <a:ext cx="727715" cy="53860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8100" tIns="38100" rIns="38100" bIns="3810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535353"/>
                </a:solidFill>
                <a:effectLst>
                  <a:outerShdw blurRad="12700" dist="12700" dir="18900000" rotWithShape="0">
                    <a:srgbClr val="000000">
                      <a:alpha val="50000"/>
                    </a:srgbClr>
                  </a:outerShdw>
                </a:effectLst>
                <a:uFillTx/>
                <a:latin typeface="Trebuchet MS"/>
                <a:ea typeface="Trebuchet MS"/>
                <a:cs typeface="Trebuchet MS"/>
                <a:sym typeface="Trebuchet MS"/>
              </a:defRPr>
            </a:lvl1pPr>
            <a:lvl2pPr marL="0" marR="0" indent="0" algn="ctr" defTabSz="825500" rtl="0" fontAlgn="auto" latinLnBrk="0" hangingPunct="0">
              <a:lnSpc>
                <a:spcPct val="100000"/>
              </a:lnSpc>
              <a:spcBef>
                <a:spcPts val="0"/>
              </a:spcBef>
              <a:spcAft>
                <a:spcPts val="0"/>
              </a:spcAft>
              <a:buClrTx/>
              <a:buSzTx/>
              <a:buFontTx/>
              <a:buNone/>
              <a:tabLst/>
              <a:defRPr kumimoji="0" sz="4200" b="1" i="0" u="none" strike="noStrike" cap="small" spc="0" normalizeH="0" baseline="0">
                <a:ln>
                  <a:noFill/>
                </a:ln>
                <a:solidFill>
                  <a:schemeClr val="accent3"/>
                </a:solidFill>
                <a:effectLst>
                  <a:outerShdw blurRad="12700" dist="12700" dir="18900000" rotWithShape="0">
                    <a:srgbClr val="000000">
                      <a:alpha val="40000"/>
                    </a:srgbClr>
                  </a:outerShdw>
                </a:effectLst>
                <a:uFillTx/>
                <a:latin typeface="Trebuchet MS"/>
                <a:ea typeface="Trebuchet MS"/>
                <a:cs typeface="Trebuchet MS"/>
                <a:sym typeface="Trebuchet MS"/>
              </a:defRPr>
            </a:lvl2pPr>
            <a:lvl3pPr marL="0" marR="0" indent="0" algn="ctr" defTabSz="825500" rtl="0" fontAlgn="auto" latinLnBrk="0" hangingPunct="0">
              <a:lnSpc>
                <a:spcPct val="100000"/>
              </a:lnSpc>
              <a:spcBef>
                <a:spcPts val="0"/>
              </a:spcBef>
              <a:spcAft>
                <a:spcPts val="0"/>
              </a:spcAft>
              <a:buClrTx/>
              <a:buSzTx/>
              <a:buFontTx/>
              <a:buNone/>
              <a:tabLst/>
              <a:defRPr kumimoji="0" sz="4200" b="1" i="0" u="none" strike="noStrike" cap="small" spc="0" normalizeH="0" baseline="0">
                <a:ln>
                  <a:noFill/>
                </a:ln>
                <a:solidFill>
                  <a:schemeClr val="accent3"/>
                </a:solidFill>
                <a:effectLst>
                  <a:outerShdw blurRad="12700" dist="12700" dir="18900000" rotWithShape="0">
                    <a:srgbClr val="000000">
                      <a:alpha val="40000"/>
                    </a:srgbClr>
                  </a:outerShdw>
                </a:effectLst>
                <a:uFillTx/>
                <a:latin typeface="Trebuchet MS"/>
                <a:ea typeface="Trebuchet MS"/>
                <a:cs typeface="Trebuchet MS"/>
                <a:sym typeface="Trebuchet MS"/>
              </a:defRPr>
            </a:lvl3pPr>
            <a:lvl4pPr marL="0" marR="0" indent="0" algn="ctr" defTabSz="825500" rtl="0" fontAlgn="auto" latinLnBrk="0" hangingPunct="0">
              <a:lnSpc>
                <a:spcPct val="100000"/>
              </a:lnSpc>
              <a:spcBef>
                <a:spcPts val="0"/>
              </a:spcBef>
              <a:spcAft>
                <a:spcPts val="0"/>
              </a:spcAft>
              <a:buClrTx/>
              <a:buSzTx/>
              <a:buFontTx/>
              <a:buNone/>
              <a:tabLst/>
              <a:defRPr kumimoji="0" sz="4200" b="1" i="0" u="none" strike="noStrike" cap="small" spc="0" normalizeH="0" baseline="0">
                <a:ln>
                  <a:noFill/>
                </a:ln>
                <a:solidFill>
                  <a:schemeClr val="accent3"/>
                </a:solidFill>
                <a:effectLst>
                  <a:outerShdw blurRad="12700" dist="12700" dir="18900000" rotWithShape="0">
                    <a:srgbClr val="000000">
                      <a:alpha val="40000"/>
                    </a:srgbClr>
                  </a:outerShdw>
                </a:effectLst>
                <a:uFillTx/>
                <a:latin typeface="Trebuchet MS"/>
                <a:ea typeface="Trebuchet MS"/>
                <a:cs typeface="Trebuchet MS"/>
                <a:sym typeface="Trebuchet MS"/>
              </a:defRPr>
            </a:lvl4pPr>
            <a:lvl5pPr marL="0" marR="0" indent="0" algn="ctr" defTabSz="825500" rtl="0" fontAlgn="auto" latinLnBrk="0" hangingPunct="0">
              <a:lnSpc>
                <a:spcPct val="100000"/>
              </a:lnSpc>
              <a:spcBef>
                <a:spcPts val="0"/>
              </a:spcBef>
              <a:spcAft>
                <a:spcPts val="0"/>
              </a:spcAft>
              <a:buClrTx/>
              <a:buSzTx/>
              <a:buFontTx/>
              <a:buNone/>
              <a:tabLst/>
              <a:defRPr kumimoji="0" sz="4200" b="1" i="0" u="none" strike="noStrike" cap="small" spc="0" normalizeH="0" baseline="0">
                <a:ln>
                  <a:noFill/>
                </a:ln>
                <a:solidFill>
                  <a:schemeClr val="accent3"/>
                </a:solidFill>
                <a:effectLst>
                  <a:outerShdw blurRad="12700" dist="12700" dir="18900000" rotWithShape="0">
                    <a:srgbClr val="000000">
                      <a:alpha val="40000"/>
                    </a:srgbClr>
                  </a:outerShdw>
                </a:effectLst>
                <a:uFillTx/>
                <a:latin typeface="Trebuchet MS"/>
                <a:ea typeface="Trebuchet MS"/>
                <a:cs typeface="Trebuchet MS"/>
                <a:sym typeface="Trebuchet MS"/>
              </a:defRPr>
            </a:lvl5pPr>
            <a:lvl6pPr marL="0" marR="0" indent="0" algn="ctr" defTabSz="825500" rtl="0" fontAlgn="auto" latinLnBrk="0" hangingPunct="0">
              <a:lnSpc>
                <a:spcPct val="100000"/>
              </a:lnSpc>
              <a:spcBef>
                <a:spcPts val="0"/>
              </a:spcBef>
              <a:spcAft>
                <a:spcPts val="0"/>
              </a:spcAft>
              <a:buClrTx/>
              <a:buSzTx/>
              <a:buFontTx/>
              <a:buNone/>
              <a:tabLst/>
              <a:defRPr kumimoji="0" sz="4200" b="1" i="0" u="none" strike="noStrike" cap="small" spc="0" normalizeH="0" baseline="0">
                <a:ln>
                  <a:noFill/>
                </a:ln>
                <a:solidFill>
                  <a:schemeClr val="accent3"/>
                </a:solidFill>
                <a:effectLst>
                  <a:outerShdw blurRad="12700" dist="12700" dir="18900000" rotWithShape="0">
                    <a:srgbClr val="000000">
                      <a:alpha val="40000"/>
                    </a:srgbClr>
                  </a:outerShdw>
                </a:effectLst>
                <a:uFillTx/>
                <a:latin typeface="Trebuchet MS"/>
                <a:ea typeface="Trebuchet MS"/>
                <a:cs typeface="Trebuchet MS"/>
                <a:sym typeface="Trebuchet MS"/>
              </a:defRPr>
            </a:lvl6pPr>
            <a:lvl7pPr marL="0" marR="0" indent="0" algn="ctr" defTabSz="825500" rtl="0" fontAlgn="auto" latinLnBrk="0" hangingPunct="0">
              <a:lnSpc>
                <a:spcPct val="100000"/>
              </a:lnSpc>
              <a:spcBef>
                <a:spcPts val="0"/>
              </a:spcBef>
              <a:spcAft>
                <a:spcPts val="0"/>
              </a:spcAft>
              <a:buClrTx/>
              <a:buSzTx/>
              <a:buFontTx/>
              <a:buNone/>
              <a:tabLst/>
              <a:defRPr kumimoji="0" sz="4200" b="1" i="0" u="none" strike="noStrike" cap="small" spc="0" normalizeH="0" baseline="0">
                <a:ln>
                  <a:noFill/>
                </a:ln>
                <a:solidFill>
                  <a:schemeClr val="accent3"/>
                </a:solidFill>
                <a:effectLst>
                  <a:outerShdw blurRad="12700" dist="12700" dir="18900000" rotWithShape="0">
                    <a:srgbClr val="000000">
                      <a:alpha val="40000"/>
                    </a:srgbClr>
                  </a:outerShdw>
                </a:effectLst>
                <a:uFillTx/>
                <a:latin typeface="Trebuchet MS"/>
                <a:ea typeface="Trebuchet MS"/>
                <a:cs typeface="Trebuchet MS"/>
                <a:sym typeface="Trebuchet MS"/>
              </a:defRPr>
            </a:lvl7pPr>
            <a:lvl8pPr marL="0" marR="0" indent="0" algn="ctr" defTabSz="825500" rtl="0" fontAlgn="auto" latinLnBrk="0" hangingPunct="0">
              <a:lnSpc>
                <a:spcPct val="100000"/>
              </a:lnSpc>
              <a:spcBef>
                <a:spcPts val="0"/>
              </a:spcBef>
              <a:spcAft>
                <a:spcPts val="0"/>
              </a:spcAft>
              <a:buClrTx/>
              <a:buSzTx/>
              <a:buFontTx/>
              <a:buNone/>
              <a:tabLst/>
              <a:defRPr kumimoji="0" sz="4200" b="1" i="0" u="none" strike="noStrike" cap="small" spc="0" normalizeH="0" baseline="0">
                <a:ln>
                  <a:noFill/>
                </a:ln>
                <a:solidFill>
                  <a:schemeClr val="accent3"/>
                </a:solidFill>
                <a:effectLst>
                  <a:outerShdw blurRad="12700" dist="12700" dir="18900000" rotWithShape="0">
                    <a:srgbClr val="000000">
                      <a:alpha val="40000"/>
                    </a:srgbClr>
                  </a:outerShdw>
                </a:effectLst>
                <a:uFillTx/>
                <a:latin typeface="Trebuchet MS"/>
                <a:ea typeface="Trebuchet MS"/>
                <a:cs typeface="Trebuchet MS"/>
                <a:sym typeface="Trebuchet MS"/>
              </a:defRPr>
            </a:lvl8pPr>
            <a:lvl9pPr marL="0" marR="0" indent="0" algn="ctr" defTabSz="825500" rtl="0" fontAlgn="auto" latinLnBrk="0" hangingPunct="0">
              <a:lnSpc>
                <a:spcPct val="100000"/>
              </a:lnSpc>
              <a:spcBef>
                <a:spcPts val="0"/>
              </a:spcBef>
              <a:spcAft>
                <a:spcPts val="0"/>
              </a:spcAft>
              <a:buClrTx/>
              <a:buSzTx/>
              <a:buFontTx/>
              <a:buNone/>
              <a:tabLst/>
              <a:defRPr kumimoji="0" sz="4200" b="1" i="0" u="none" strike="noStrike" cap="small" spc="0" normalizeH="0" baseline="0">
                <a:ln>
                  <a:noFill/>
                </a:ln>
                <a:solidFill>
                  <a:schemeClr val="accent3"/>
                </a:solidFill>
                <a:effectLst>
                  <a:outerShdw blurRad="12700" dist="12700" dir="18900000" rotWithShape="0">
                    <a:srgbClr val="000000">
                      <a:alpha val="40000"/>
                    </a:srgbClr>
                  </a:outerShdw>
                </a:effectLst>
                <a:uFillTx/>
                <a:latin typeface="Trebuchet MS"/>
                <a:ea typeface="Trebuchet MS"/>
                <a:cs typeface="Trebuchet MS"/>
                <a:sym typeface="Trebuchet MS"/>
              </a:defRPr>
            </a:lvl9pPr>
          </a:lstStyle>
          <a:p>
            <a:pPr>
              <a:defRPr>
                <a:effectLst/>
              </a:defRPr>
            </a:pPr>
            <a:fld id="{86CB4B4D-7CA3-9044-876B-883B54F8677D}" type="slidenum">
              <a:rPr lang="en-US" smtClean="0">
                <a:effectLst/>
              </a:rPr>
              <a:pPr>
                <a:defRPr>
                  <a:effectLst/>
                </a:defRPr>
              </a:pPr>
              <a:t>‹#›</a:t>
            </a:fld>
            <a:endParaRPr lang="en-US" dirty="0">
              <a:effectLst/>
            </a:endParaRPr>
          </a:p>
        </p:txBody>
      </p:sp>
      <p:pic>
        <p:nvPicPr>
          <p:cNvPr id="18" name="Picture 17">
            <a:extLst>
              <a:ext uri="{FF2B5EF4-FFF2-40B4-BE49-F238E27FC236}">
                <a16:creationId xmlns:a16="http://schemas.microsoft.com/office/drawing/2014/main" id="{EB205F37-4F87-4EFB-A5FC-750109A826C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44142" y="580375"/>
            <a:ext cx="3768954" cy="1457525"/>
          </a:xfrm>
          <a:prstGeom prst="rect">
            <a:avLst/>
          </a:prstGeom>
        </p:spPr>
      </p:pic>
    </p:spTree>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26660"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4235" y="4235"/>
                        <a:ext cx="4235" cy="4235"/>
                      </a:xfrm>
                      <a:prstGeom prst="rect">
                        <a:avLst/>
                      </a:prstGeom>
                    </p:spPr>
                  </p:pic>
                </p:oleObj>
              </mc:Fallback>
            </mc:AlternateContent>
          </a:graphicData>
        </a:graphic>
      </p:graphicFrame>
      <p:sp>
        <p:nvSpPr>
          <p:cNvPr id="7" name="Page"/>
          <p:cNvSpPr txBox="1"/>
          <p:nvPr userDrawn="1"/>
        </p:nvSpPr>
        <p:spPr bwMode="white">
          <a:xfrm>
            <a:off x="21966653" y="12808801"/>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2" name="Date Placeholder 1"/>
          <p:cNvSpPr>
            <a:spLocks noGrp="1"/>
          </p:cNvSpPr>
          <p:nvPr>
            <p:ph type="dt" sz="half" idx="12"/>
          </p:nvPr>
        </p:nvSpPr>
        <p:spPr>
          <a:xfrm>
            <a:off x="20037833" y="12810073"/>
            <a:ext cx="1928824" cy="307777"/>
          </a:xfrm>
          <a:prstGeom prst="rect">
            <a:avLst/>
          </a:prstGeom>
        </p:spPr>
        <p:txBody>
          <a:bodyPr/>
          <a:lstStyle>
            <a:lvl1pPr>
              <a:defRPr>
                <a:solidFill>
                  <a:schemeClr val="bg1"/>
                </a:solidFill>
                <a:latin typeface="+mn-lt"/>
                <a:ea typeface="+mn-ea"/>
                <a:cs typeface="+mn-cs"/>
                <a:sym typeface="+mn-lt"/>
              </a:defRPr>
            </a:lvl1pPr>
          </a:lstStyle>
          <a:p>
            <a:pPr defTabSz="2116120" hangingPunct="1"/>
            <a:fld id="{224B6A49-E8AE-4EAA-AB2D-9CCC2E0ECCAF}" type="datetime1">
              <a:rPr lang="en-US" b="0" kern="1200" cap="none" smtClean="0">
                <a:solidFill>
                  <a:prstClr val="white"/>
                </a:solidFill>
                <a:effectLst/>
              </a:rPr>
              <a:t>5/6/21</a:t>
            </a:fld>
            <a:endParaRPr lang="en-US" b="0" kern="1200" cap="none" dirty="0">
              <a:solidFill>
                <a:prstClr val="white"/>
              </a:solidFill>
              <a:effectLst/>
            </a:endParaRPr>
          </a:p>
        </p:txBody>
      </p:sp>
      <p:sp>
        <p:nvSpPr>
          <p:cNvPr id="9"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aramond"/>
                <a:ea typeface="+mn-ea"/>
                <a:cs typeface="+mn-cs"/>
                <a:sym typeface="+mn-lt"/>
              </a:rPr>
              <a:t>Copyright © 2020 by Boston Consulting Group. All rights reserved.</a:t>
            </a:r>
          </a:p>
        </p:txBody>
      </p:sp>
    </p:spTree>
    <p:extLst>
      <p:ext uri="{BB962C8B-B14F-4D97-AF65-F5344CB8AC3E}">
        <p14:creationId xmlns:p14="http://schemas.microsoft.com/office/powerpoint/2010/main" val="17298688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2768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4235" y="4235"/>
                        <a:ext cx="4235" cy="4235"/>
                      </a:xfrm>
                      <a:prstGeom prst="rect">
                        <a:avLst/>
                      </a:prstGeom>
                    </p:spPr>
                  </p:pic>
                </p:oleObj>
              </mc:Fallback>
            </mc:AlternateContent>
          </a:graphicData>
        </a:graphic>
      </p:graphicFrame>
      <p:sp>
        <p:nvSpPr>
          <p:cNvPr id="2" name="Date Placeholder 1"/>
          <p:cNvSpPr>
            <a:spLocks noGrp="1"/>
          </p:cNvSpPr>
          <p:nvPr>
            <p:ph type="dt" sz="half" idx="10"/>
          </p:nvPr>
        </p:nvSpPr>
        <p:spPr>
          <a:xfrm>
            <a:off x="20037833" y="12810073"/>
            <a:ext cx="1928824" cy="307777"/>
          </a:xfrm>
          <a:prstGeom prst="rect">
            <a:avLst/>
          </a:prstGeom>
        </p:spPr>
        <p:txBody>
          <a:bodyPr/>
          <a:lstStyle>
            <a:lvl1pPr>
              <a:defRPr>
                <a:solidFill>
                  <a:schemeClr val="bg1">
                    <a:lumMod val="50000"/>
                  </a:schemeClr>
                </a:solidFill>
                <a:latin typeface="+mn-lt"/>
                <a:ea typeface="+mn-ea"/>
                <a:cs typeface="+mn-cs"/>
                <a:sym typeface="+mn-lt"/>
              </a:defRPr>
            </a:lvl1pPr>
          </a:lstStyle>
          <a:p>
            <a:pPr defTabSz="2116120" hangingPunct="1"/>
            <a:fld id="{0CB6C594-C661-4668-8E1C-146116AA1E47}" type="datetime1">
              <a:rPr lang="en-US" b="0" kern="1200" cap="none" smtClean="0">
                <a:solidFill>
                  <a:prstClr val="white">
                    <a:lumMod val="50000"/>
                  </a:prstClr>
                </a:solidFill>
                <a:effectLst/>
              </a:rPr>
              <a:t>5/6/21</a:t>
            </a:fld>
            <a:endParaRPr lang="en-US" b="0" kern="1200" cap="none" dirty="0">
              <a:solidFill>
                <a:prstClr val="white">
                  <a:lumMod val="50000"/>
                </a:prstClr>
              </a:solidFill>
              <a:effectLst/>
            </a:endParaRPr>
          </a:p>
        </p:txBody>
      </p:sp>
      <p:sp>
        <p:nvSpPr>
          <p:cNvPr id="10"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lumMod val="50000"/>
                  </a:prstClr>
                </a:solidFill>
                <a:effectLst/>
                <a:uLnTx/>
                <a:uFillTx/>
                <a:latin typeface="Garamond"/>
                <a:ea typeface="+mn-ea"/>
                <a:cs typeface="+mn-cs"/>
                <a:sym typeface="+mn-lt"/>
              </a:rPr>
              <a:t>Copyright © 2020 by Boston Consulting Group. All rights reserved.</a:t>
            </a:r>
          </a:p>
        </p:txBody>
      </p:sp>
    </p:spTree>
    <p:extLst>
      <p:ext uri="{BB962C8B-B14F-4D97-AF65-F5344CB8AC3E}">
        <p14:creationId xmlns:p14="http://schemas.microsoft.com/office/powerpoint/2010/main" val="859816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28708"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4235" y="4235"/>
                        <a:ext cx="4235" cy="4235"/>
                      </a:xfrm>
                      <a:prstGeom prst="rect">
                        <a:avLst/>
                      </a:prstGeom>
                    </p:spPr>
                  </p:pic>
                </p:oleObj>
              </mc:Fallback>
            </mc:AlternateContent>
          </a:graphicData>
        </a:graphic>
      </p:graphicFrame>
      <p:pic>
        <p:nvPicPr>
          <p:cNvPr id="6" name="Picture 2" descr="21st Century Lagos — Health &amp; Environment - Biodun Awosusi - Medium"/>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736840" y="2402840"/>
            <a:ext cx="8910320" cy="89103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7990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Layout guide">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4032" y="3177"/>
          <a:ext cx="4032" cy="3176"/>
        </p:xfrm>
        <a:graphic>
          <a:graphicData uri="http://schemas.openxmlformats.org/presentationml/2006/ole">
            <mc:AlternateContent xmlns:mc="http://schemas.openxmlformats.org/markup-compatibility/2006">
              <mc:Choice xmlns:v="urn:schemas-microsoft-com:vml" Requires="v">
                <p:oleObj spid="_x0000_s29732"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4032" y="3177"/>
                        <a:ext cx="4032" cy="3176"/>
                      </a:xfrm>
                      <a:prstGeom prst="rect">
                        <a:avLst/>
                      </a:prstGeom>
                    </p:spPr>
                  </p:pic>
                </p:oleObj>
              </mc:Fallback>
            </mc:AlternateContent>
          </a:graphicData>
        </a:graphic>
      </p:graphicFrame>
      <p:sp>
        <p:nvSpPr>
          <p:cNvPr id="57" name="Date Placeholder 1"/>
          <p:cNvSpPr>
            <a:spLocks noGrp="1"/>
          </p:cNvSpPr>
          <p:nvPr userDrawn="1">
            <p:ph type="dt" sz="half" idx="10"/>
          </p:nvPr>
        </p:nvSpPr>
        <p:spPr>
          <a:xfrm>
            <a:off x="20037833" y="12810073"/>
            <a:ext cx="1928824" cy="307777"/>
          </a:xfrm>
          <a:prstGeom prst="rect">
            <a:avLst/>
          </a:prstGeom>
        </p:spPr>
        <p:txBody>
          <a:bodyPr/>
          <a:lstStyle>
            <a:lvl1pPr>
              <a:defRPr>
                <a:solidFill>
                  <a:schemeClr val="bg1">
                    <a:lumMod val="50000"/>
                  </a:schemeClr>
                </a:solidFill>
                <a:latin typeface="+mn-lt"/>
                <a:ea typeface="+mn-ea"/>
                <a:cs typeface="+mn-cs"/>
                <a:sym typeface="+mn-lt"/>
              </a:defRPr>
            </a:lvl1pPr>
          </a:lstStyle>
          <a:p>
            <a:pPr defTabSz="2116120" hangingPunct="1"/>
            <a:fld id="{FD95B004-2664-4A95-B501-03F4D0334B35}" type="datetime1">
              <a:rPr lang="en-US" b="0" kern="1200" cap="none" smtClean="0">
                <a:solidFill>
                  <a:prstClr val="white">
                    <a:lumMod val="50000"/>
                  </a:prstClr>
                </a:solidFill>
                <a:effectLst/>
              </a:rPr>
              <a:t>5/6/21</a:t>
            </a:fld>
            <a:endParaRPr lang="en-US" b="0" kern="1200" cap="none" dirty="0">
              <a:solidFill>
                <a:prstClr val="white">
                  <a:lumMod val="50000"/>
                </a:prstClr>
              </a:solidFill>
              <a:effectLst/>
            </a:endParaRPr>
          </a:p>
        </p:txBody>
      </p:sp>
      <p:sp>
        <p:nvSpPr>
          <p:cNvPr id="56"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lumMod val="50000"/>
                  </a:prstClr>
                </a:solidFill>
                <a:effectLst/>
                <a:uLnTx/>
                <a:uFillTx/>
                <a:latin typeface="Garamond"/>
                <a:ea typeface="+mn-ea"/>
                <a:cs typeface="+mn-cs"/>
                <a:sym typeface="+mn-lt"/>
              </a:rPr>
              <a:t>Copyright © 2020 by Boston Consulting Group. All rights reserved.</a:t>
            </a:r>
          </a:p>
        </p:txBody>
      </p:sp>
      <p:grpSp>
        <p:nvGrpSpPr>
          <p:cNvPr id="53" name="Group 52"/>
          <p:cNvGrpSpPr/>
          <p:nvPr userDrawn="1"/>
        </p:nvGrpSpPr>
        <p:grpSpPr>
          <a:xfrm>
            <a:off x="3" y="1"/>
            <a:ext cx="24384000" cy="13716003"/>
            <a:chOff x="1" y="0"/>
            <a:chExt cx="9144000" cy="5143501"/>
          </a:xfrm>
        </p:grpSpPr>
        <p:sp>
          <p:nvSpPr>
            <p:cNvPr id="54" name="Slide edges"/>
            <p:cNvSpPr>
              <a:spLocks noChangeAspect="1"/>
            </p:cNvSpPr>
            <p:nvPr/>
          </p:nvSpPr>
          <p:spPr bwMode="auto">
            <a:xfrm>
              <a:off x="758" y="1"/>
              <a:ext cx="9142488"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lumMod val="100000"/>
              </a:schemeClr>
            </a:solidFill>
            <a:ln>
              <a:noFill/>
            </a:ln>
          </p:spPr>
          <p:txBody>
            <a:bodyPr vert="horz" wrap="square" lIns="68580" tIns="34290" rIns="68580" bIns="34290" numCol="1" anchor="t" anchorCtr="0" compatLnSpc="1">
              <a:prstTxWarp prst="textNoShape">
                <a:avLst/>
              </a:prstTxWarp>
            </a:bodyPr>
            <a:lstStyle/>
            <a:p>
              <a:pPr marL="0" marR="0" lvl="0" indent="0" algn="l" defTabSz="1828823"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55" name="Freeform 54"/>
            <p:cNvSpPr/>
            <p:nvPr/>
          </p:nvSpPr>
          <p:spPr>
            <a:xfrm>
              <a:off x="1" y="0"/>
              <a:ext cx="9144000" cy="5143500"/>
            </a:xfrm>
            <a:custGeom>
              <a:avLst/>
              <a:gdLst>
                <a:gd name="connsiteX0" fmla="*/ 599902 w 9144000"/>
                <a:gd name="connsiteY0" fmla="*/ 467100 h 5143500"/>
                <a:gd name="connsiteX1" fmla="*/ 599902 w 9144000"/>
                <a:gd name="connsiteY1" fmla="*/ 467315 h 5143500"/>
                <a:gd name="connsiteX2" fmla="*/ 472499 w 9144000"/>
                <a:gd name="connsiteY2" fmla="*/ 467315 h 5143500"/>
                <a:gd name="connsiteX3" fmla="*/ 472499 w 9144000"/>
                <a:gd name="connsiteY3" fmla="*/ 4428330 h 5143500"/>
                <a:gd name="connsiteX4" fmla="*/ 599902 w 9144000"/>
                <a:gd name="connsiteY4" fmla="*/ 4428330 h 5143500"/>
                <a:gd name="connsiteX5" fmla="*/ 599902 w 9144000"/>
                <a:gd name="connsiteY5" fmla="*/ 4436324 h 5143500"/>
                <a:gd name="connsiteX6" fmla="*/ 8544099 w 9144000"/>
                <a:gd name="connsiteY6" fmla="*/ 4436324 h 5143500"/>
                <a:gd name="connsiteX7" fmla="*/ 8544099 w 9144000"/>
                <a:gd name="connsiteY7" fmla="*/ 4428330 h 5143500"/>
                <a:gd name="connsiteX8" fmla="*/ 8672321 w 9144000"/>
                <a:gd name="connsiteY8" fmla="*/ 4428330 h 5143500"/>
                <a:gd name="connsiteX9" fmla="*/ 8672321 w 9144000"/>
                <a:gd name="connsiteY9" fmla="*/ 467315 h 5143500"/>
                <a:gd name="connsiteX10" fmla="*/ 8544099 w 9144000"/>
                <a:gd name="connsiteY10" fmla="*/ 467315 h 5143500"/>
                <a:gd name="connsiteX11" fmla="*/ 8544099 w 9144000"/>
                <a:gd name="connsiteY11" fmla="*/ 467100 h 5143500"/>
                <a:gd name="connsiteX12" fmla="*/ 0 w 9144000"/>
                <a:gd name="connsiteY12" fmla="*/ 0 h 5143500"/>
                <a:gd name="connsiteX13" fmla="*/ 599902 w 9144000"/>
                <a:gd name="connsiteY13" fmla="*/ 0 h 5143500"/>
                <a:gd name="connsiteX14" fmla="*/ 8544099 w 9144000"/>
                <a:gd name="connsiteY14" fmla="*/ 0 h 5143500"/>
                <a:gd name="connsiteX15" fmla="*/ 9144000 w 9144000"/>
                <a:gd name="connsiteY15" fmla="*/ 0 h 5143500"/>
                <a:gd name="connsiteX16" fmla="*/ 9144000 w 9144000"/>
                <a:gd name="connsiteY16" fmla="*/ 467100 h 5143500"/>
                <a:gd name="connsiteX17" fmla="*/ 9144000 w 9144000"/>
                <a:gd name="connsiteY17" fmla="*/ 4436324 h 5143500"/>
                <a:gd name="connsiteX18" fmla="*/ 9144000 w 9144000"/>
                <a:gd name="connsiteY18" fmla="*/ 4617000 h 5143500"/>
                <a:gd name="connsiteX19" fmla="*/ 9144000 w 9144000"/>
                <a:gd name="connsiteY19" fmla="*/ 5143500 h 5143500"/>
                <a:gd name="connsiteX20" fmla="*/ 8544099 w 9144000"/>
                <a:gd name="connsiteY20" fmla="*/ 5143500 h 5143500"/>
                <a:gd name="connsiteX21" fmla="*/ 599902 w 9144000"/>
                <a:gd name="connsiteY21" fmla="*/ 5143500 h 5143500"/>
                <a:gd name="connsiteX22" fmla="*/ 0 w 9144000"/>
                <a:gd name="connsiteY22" fmla="*/ 5143500 h 5143500"/>
                <a:gd name="connsiteX23" fmla="*/ 0 w 9144000"/>
                <a:gd name="connsiteY23" fmla="*/ 4617000 h 5143500"/>
                <a:gd name="connsiteX24" fmla="*/ 0 w 9144000"/>
                <a:gd name="connsiteY24" fmla="*/ 4436324 h 5143500"/>
                <a:gd name="connsiteX25" fmla="*/ 0 w 9144000"/>
                <a:gd name="connsiteY25" fmla="*/ 4671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144000" h="5143500">
                  <a:moveTo>
                    <a:pt x="599902" y="467100"/>
                  </a:moveTo>
                  <a:lnTo>
                    <a:pt x="599902" y="467315"/>
                  </a:lnTo>
                  <a:lnTo>
                    <a:pt x="472499" y="467315"/>
                  </a:lnTo>
                  <a:lnTo>
                    <a:pt x="472499" y="4428330"/>
                  </a:lnTo>
                  <a:lnTo>
                    <a:pt x="599902" y="4428330"/>
                  </a:lnTo>
                  <a:lnTo>
                    <a:pt x="599902" y="4436324"/>
                  </a:lnTo>
                  <a:lnTo>
                    <a:pt x="8544099" y="4436324"/>
                  </a:lnTo>
                  <a:lnTo>
                    <a:pt x="8544099" y="4428330"/>
                  </a:lnTo>
                  <a:lnTo>
                    <a:pt x="8672321" y="4428330"/>
                  </a:lnTo>
                  <a:lnTo>
                    <a:pt x="8672321" y="467315"/>
                  </a:lnTo>
                  <a:lnTo>
                    <a:pt x="8544099" y="467315"/>
                  </a:lnTo>
                  <a:lnTo>
                    <a:pt x="8544099" y="467100"/>
                  </a:lnTo>
                  <a:close/>
                  <a:moveTo>
                    <a:pt x="0" y="0"/>
                  </a:moveTo>
                  <a:lnTo>
                    <a:pt x="599902" y="0"/>
                  </a:lnTo>
                  <a:lnTo>
                    <a:pt x="8544099" y="0"/>
                  </a:lnTo>
                  <a:lnTo>
                    <a:pt x="9144000" y="0"/>
                  </a:lnTo>
                  <a:lnTo>
                    <a:pt x="9144000" y="467100"/>
                  </a:lnTo>
                  <a:lnTo>
                    <a:pt x="9144000" y="4436324"/>
                  </a:lnTo>
                  <a:lnTo>
                    <a:pt x="9144000" y="4617000"/>
                  </a:lnTo>
                  <a:lnTo>
                    <a:pt x="9144000" y="5143500"/>
                  </a:lnTo>
                  <a:lnTo>
                    <a:pt x="8544099" y="5143500"/>
                  </a:lnTo>
                  <a:lnTo>
                    <a:pt x="599902" y="5143500"/>
                  </a:lnTo>
                  <a:lnTo>
                    <a:pt x="0" y="5143500"/>
                  </a:lnTo>
                  <a:lnTo>
                    <a:pt x="0" y="4617000"/>
                  </a:lnTo>
                  <a:lnTo>
                    <a:pt x="0" y="4436324"/>
                  </a:lnTo>
                  <a:lnTo>
                    <a:pt x="0" y="467100"/>
                  </a:lnTo>
                  <a:close/>
                </a:path>
              </a:pathLst>
            </a:custGeom>
            <a:solidFill>
              <a:srgbClr val="FFEFEF">
                <a:alpha val="40000"/>
              </a:srgbClr>
            </a:solidFill>
            <a:ln>
              <a:noFill/>
            </a:ln>
          </p:spPr>
          <p:txBody>
            <a:bodyPr vert="horz" wrap="square" lIns="68580" tIns="34290" rIns="68580" bIns="34290" numCol="1" anchor="t" anchorCtr="0" compatLnSpc="1">
              <a:prstTxWarp prst="textNoShape">
                <a:avLst/>
              </a:prstTxWarp>
              <a:noAutofit/>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58" name="Footnote measure"/>
            <p:cNvSpPr>
              <a:spLocks noChangeAspect="1" noChangeArrowheads="1"/>
            </p:cNvSpPr>
            <p:nvPr/>
          </p:nvSpPr>
          <p:spPr bwMode="auto">
            <a:xfrm>
              <a:off x="472691" y="4428331"/>
              <a:ext cx="8199631" cy="471642"/>
            </a:xfrm>
            <a:prstGeom prst="rect">
              <a:avLst/>
            </a:prstGeom>
            <a:solidFill>
              <a:srgbClr val="EEA346">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59" name="Line 20"/>
            <p:cNvSpPr>
              <a:spLocks noChangeShapeType="1"/>
            </p:cNvSpPr>
            <p:nvPr/>
          </p:nvSpPr>
          <p:spPr bwMode="auto">
            <a:xfrm>
              <a:off x="1657" y="4428330"/>
              <a:ext cx="91415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60" name="Line 19"/>
            <p:cNvSpPr>
              <a:spLocks noChangeShapeType="1"/>
            </p:cNvSpPr>
            <p:nvPr/>
          </p:nvSpPr>
          <p:spPr bwMode="auto">
            <a:xfrm>
              <a:off x="1657" y="4248281"/>
              <a:ext cx="91415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61" name="Line 18"/>
            <p:cNvSpPr>
              <a:spLocks noChangeShapeType="1"/>
            </p:cNvSpPr>
            <p:nvPr/>
          </p:nvSpPr>
          <p:spPr bwMode="auto">
            <a:xfrm>
              <a:off x="1657" y="3888189"/>
              <a:ext cx="91415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62" name="Line 17"/>
            <p:cNvSpPr>
              <a:spLocks noChangeShapeType="1"/>
            </p:cNvSpPr>
            <p:nvPr/>
          </p:nvSpPr>
          <p:spPr bwMode="auto">
            <a:xfrm>
              <a:off x="1657" y="3708143"/>
              <a:ext cx="91415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63" name="Line 16"/>
            <p:cNvSpPr>
              <a:spLocks noChangeShapeType="1"/>
            </p:cNvSpPr>
            <p:nvPr/>
          </p:nvSpPr>
          <p:spPr bwMode="auto">
            <a:xfrm>
              <a:off x="1657" y="3528097"/>
              <a:ext cx="91415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64" name="Line 15"/>
            <p:cNvSpPr>
              <a:spLocks noChangeShapeType="1"/>
            </p:cNvSpPr>
            <p:nvPr/>
          </p:nvSpPr>
          <p:spPr bwMode="auto">
            <a:xfrm>
              <a:off x="1657" y="3348051"/>
              <a:ext cx="91415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65" name="Line 14"/>
            <p:cNvSpPr>
              <a:spLocks noChangeShapeType="1"/>
            </p:cNvSpPr>
            <p:nvPr/>
          </p:nvSpPr>
          <p:spPr bwMode="auto">
            <a:xfrm>
              <a:off x="1657" y="3168005"/>
              <a:ext cx="91415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66" name="Line 13"/>
            <p:cNvSpPr>
              <a:spLocks noChangeShapeType="1"/>
            </p:cNvSpPr>
            <p:nvPr/>
          </p:nvSpPr>
          <p:spPr bwMode="auto">
            <a:xfrm>
              <a:off x="1657" y="2987959"/>
              <a:ext cx="91415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67" name="Line 12"/>
            <p:cNvSpPr>
              <a:spLocks noChangeShapeType="1"/>
            </p:cNvSpPr>
            <p:nvPr/>
          </p:nvSpPr>
          <p:spPr bwMode="auto">
            <a:xfrm>
              <a:off x="1657" y="2807913"/>
              <a:ext cx="91415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68" name="Line 11"/>
            <p:cNvSpPr>
              <a:spLocks noChangeShapeType="1"/>
            </p:cNvSpPr>
            <p:nvPr/>
          </p:nvSpPr>
          <p:spPr bwMode="auto">
            <a:xfrm>
              <a:off x="1657" y="2627867"/>
              <a:ext cx="91415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69" name="Line 10"/>
            <p:cNvSpPr>
              <a:spLocks noChangeShapeType="1"/>
            </p:cNvSpPr>
            <p:nvPr/>
          </p:nvSpPr>
          <p:spPr bwMode="auto">
            <a:xfrm>
              <a:off x="1657" y="2447821"/>
              <a:ext cx="91415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70" name="Line 9"/>
            <p:cNvSpPr>
              <a:spLocks noChangeShapeType="1"/>
            </p:cNvSpPr>
            <p:nvPr/>
          </p:nvSpPr>
          <p:spPr bwMode="auto">
            <a:xfrm>
              <a:off x="1657" y="2267775"/>
              <a:ext cx="91415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71" name="Line 8"/>
            <p:cNvSpPr>
              <a:spLocks noChangeShapeType="1"/>
            </p:cNvSpPr>
            <p:nvPr/>
          </p:nvSpPr>
          <p:spPr bwMode="auto">
            <a:xfrm>
              <a:off x="1657" y="2087729"/>
              <a:ext cx="91415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72" name="Line 7"/>
            <p:cNvSpPr>
              <a:spLocks noChangeShapeType="1"/>
            </p:cNvSpPr>
            <p:nvPr/>
          </p:nvSpPr>
          <p:spPr bwMode="auto">
            <a:xfrm>
              <a:off x="1657" y="1907683"/>
              <a:ext cx="91415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73" name="Line 6"/>
            <p:cNvSpPr>
              <a:spLocks noChangeShapeType="1"/>
            </p:cNvSpPr>
            <p:nvPr/>
          </p:nvSpPr>
          <p:spPr bwMode="auto">
            <a:xfrm>
              <a:off x="1657" y="1727637"/>
              <a:ext cx="91415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74" name="Line 5"/>
            <p:cNvSpPr>
              <a:spLocks noChangeShapeType="1"/>
            </p:cNvSpPr>
            <p:nvPr/>
          </p:nvSpPr>
          <p:spPr bwMode="auto">
            <a:xfrm>
              <a:off x="1657" y="1187499"/>
              <a:ext cx="91415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75" name="Line 4"/>
            <p:cNvSpPr>
              <a:spLocks noChangeShapeType="1"/>
            </p:cNvSpPr>
            <p:nvPr/>
          </p:nvSpPr>
          <p:spPr bwMode="auto">
            <a:xfrm>
              <a:off x="1657" y="1007453"/>
              <a:ext cx="91415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76" name="Line 3"/>
            <p:cNvSpPr>
              <a:spLocks noChangeShapeType="1"/>
            </p:cNvSpPr>
            <p:nvPr/>
          </p:nvSpPr>
          <p:spPr bwMode="auto">
            <a:xfrm>
              <a:off x="1657" y="827407"/>
              <a:ext cx="91415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77" name="Line 2"/>
            <p:cNvSpPr>
              <a:spLocks noChangeShapeType="1"/>
            </p:cNvSpPr>
            <p:nvPr/>
          </p:nvSpPr>
          <p:spPr bwMode="auto">
            <a:xfrm>
              <a:off x="1657" y="647361"/>
              <a:ext cx="91415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78" name="Line 1"/>
            <p:cNvSpPr>
              <a:spLocks noChangeShapeType="1"/>
            </p:cNvSpPr>
            <p:nvPr/>
          </p:nvSpPr>
          <p:spPr bwMode="auto">
            <a:xfrm>
              <a:off x="757" y="467315"/>
              <a:ext cx="91424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79" name="Footnote example"/>
            <p:cNvSpPr txBox="1">
              <a:spLocks noChangeAspect="1"/>
            </p:cNvSpPr>
            <p:nvPr userDrawn="1"/>
          </p:nvSpPr>
          <p:spPr>
            <a:xfrm>
              <a:off x="472500" y="4587628"/>
              <a:ext cx="7117020" cy="332327"/>
            </a:xfrm>
            <a:prstGeom prst="rect">
              <a:avLst/>
            </a:prstGeom>
            <a:noFill/>
          </p:spPr>
          <p:txBody>
            <a:bodyPr wrap="square" lIns="0" tIns="0" rIns="0" bIns="0" rtlCol="0" anchor="b">
              <a:spAutoFit/>
            </a:bodyPr>
            <a:lstStyle/>
            <a:p>
              <a:pPr marL="0" marR="0" lvl="0" indent="0" algn="l" defTabSz="2116120" rtl="0" eaLnBrk="1" fontAlgn="auto" latinLnBrk="0" hangingPunct="1">
                <a:lnSpc>
                  <a:spcPct val="90000"/>
                </a:lnSpc>
                <a:spcBef>
                  <a:spcPts val="0"/>
                </a:spcBef>
                <a:spcAft>
                  <a:spcPts val="0"/>
                </a:spcAft>
                <a:buClrTx/>
                <a:buSzTx/>
                <a:buFontTx/>
                <a:buNone/>
                <a:tabLst/>
                <a:defRPr/>
              </a:pPr>
              <a:r>
                <a:rPr kumimoji="0" lang="en-US" sz="2133" b="0" i="0" u="none" strike="noStrike" kern="1200" cap="none" spc="0" normalizeH="0" baseline="0" noProof="0" dirty="0">
                  <a:ln>
                    <a:noFill/>
                  </a:ln>
                  <a:solidFill>
                    <a:prstClr val="white">
                      <a:lumMod val="65000"/>
                    </a:prstClr>
                  </a:solidFill>
                  <a:effectLst/>
                  <a:uLnTx/>
                  <a:uFillTx/>
                  <a:latin typeface="Garamond"/>
                  <a:ea typeface="+mn-ea"/>
                  <a:cs typeface="+mn-cs"/>
                  <a:sym typeface="Trebuchet MS" panose="020B0603020202020204" pitchFamily="34" charset="0"/>
                </a:rPr>
                <a:t>1. xxxx  2. xxxx  3. xxxx </a:t>
              </a:r>
            </a:p>
            <a:p>
              <a:pPr marL="0" marR="0" lvl="0" indent="0" algn="l" defTabSz="2116120" rtl="0" eaLnBrk="1" fontAlgn="auto" latinLnBrk="0" hangingPunct="1">
                <a:lnSpc>
                  <a:spcPct val="90000"/>
                </a:lnSpc>
                <a:spcBef>
                  <a:spcPts val="0"/>
                </a:spcBef>
                <a:spcAft>
                  <a:spcPts val="0"/>
                </a:spcAft>
                <a:buClrTx/>
                <a:buSzTx/>
                <a:buFontTx/>
                <a:buNone/>
                <a:tabLst/>
                <a:defRPr/>
              </a:pPr>
              <a:r>
                <a:rPr kumimoji="0" lang="en-US" sz="2133" b="0" i="0" u="none" strike="noStrike" kern="1200" cap="none" spc="0" normalizeH="0" baseline="0" noProof="0" dirty="0">
                  <a:ln>
                    <a:noFill/>
                  </a:ln>
                  <a:solidFill>
                    <a:prstClr val="white">
                      <a:lumMod val="65000"/>
                    </a:prstClr>
                  </a:solidFill>
                  <a:effectLst/>
                  <a:uLnTx/>
                  <a:uFillTx/>
                  <a:latin typeface="Garamond"/>
                  <a:ea typeface="+mn-ea"/>
                  <a:cs typeface="+mn-cs"/>
                  <a:sym typeface="Trebuchet MS" panose="020B0603020202020204" pitchFamily="34" charset="0"/>
                </a:rPr>
                <a:t>Note: List footnotes in numerical order. Footnote numbers are not bracketed. Use 8pt font. Do not put a period at the end of the note or the source</a:t>
              </a:r>
            </a:p>
            <a:p>
              <a:pPr marL="0" marR="0" lvl="0" indent="0" algn="l" defTabSz="2116120" rtl="0" eaLnBrk="1" fontAlgn="auto" latinLnBrk="0" hangingPunct="1">
                <a:lnSpc>
                  <a:spcPct val="90000"/>
                </a:lnSpc>
                <a:spcBef>
                  <a:spcPts val="0"/>
                </a:spcBef>
                <a:spcAft>
                  <a:spcPts val="0"/>
                </a:spcAft>
                <a:buClrTx/>
                <a:buSzTx/>
                <a:buFontTx/>
                <a:buNone/>
                <a:tabLst/>
                <a:defRPr/>
              </a:pPr>
              <a:r>
                <a:rPr kumimoji="0" lang="en-US" sz="2133" b="0" i="0" u="none" strike="noStrike" kern="1200" cap="none" spc="0" normalizeH="0" baseline="0" noProof="0" dirty="0">
                  <a:ln>
                    <a:noFill/>
                  </a:ln>
                  <a:solidFill>
                    <a:prstClr val="white">
                      <a:lumMod val="65000"/>
                    </a:prstClr>
                  </a:solidFill>
                  <a:effectLst/>
                  <a:uLnTx/>
                  <a:uFillTx/>
                  <a:latin typeface="Garamond"/>
                  <a:ea typeface="+mn-ea"/>
                  <a:cs typeface="+mn-cs"/>
                  <a:sym typeface="Trebuchet MS" panose="020B0603020202020204" pitchFamily="34" charset="0"/>
                </a:rPr>
                <a:t>Source: Include a source for every chart that you use. Separate sources with a semicolon; BCG-related sources go at the end</a:t>
              </a:r>
            </a:p>
          </p:txBody>
        </p:sp>
        <p:sp>
          <p:nvSpPr>
            <p:cNvPr id="80" name="Whitespace measure"/>
            <p:cNvSpPr>
              <a:spLocks noChangeAspect="1" noChangeArrowheads="1"/>
            </p:cNvSpPr>
            <p:nvPr/>
          </p:nvSpPr>
          <p:spPr bwMode="auto">
            <a:xfrm>
              <a:off x="472500" y="1015448"/>
              <a:ext cx="8199822" cy="353783"/>
            </a:xfrm>
            <a:prstGeom prst="rect">
              <a:avLst/>
            </a:prstGeom>
            <a:solidFill>
              <a:srgbClr val="EEA346">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grpSp>
          <p:nvGrpSpPr>
            <p:cNvPr id="81" name="Group 80"/>
            <p:cNvGrpSpPr/>
            <p:nvPr/>
          </p:nvGrpSpPr>
          <p:grpSpPr>
            <a:xfrm>
              <a:off x="472500" y="1369230"/>
              <a:ext cx="8200013" cy="3059100"/>
              <a:chOff x="472500" y="1369230"/>
              <a:chExt cx="8200013" cy="3059100"/>
            </a:xfrm>
          </p:grpSpPr>
          <p:grpSp>
            <p:nvGrpSpPr>
              <p:cNvPr id="97" name="Five column measure"/>
              <p:cNvGrpSpPr/>
              <p:nvPr/>
            </p:nvGrpSpPr>
            <p:grpSpPr>
              <a:xfrm>
                <a:off x="472500" y="4291440"/>
                <a:ext cx="8200013" cy="50006"/>
                <a:chOff x="630600" y="5977078"/>
                <a:chExt cx="8341588" cy="66674"/>
              </a:xfrm>
            </p:grpSpPr>
            <p:sp>
              <p:nvSpPr>
                <p:cNvPr id="99" name="Column 5"/>
                <p:cNvSpPr>
                  <a:spLocks/>
                </p:cNvSpPr>
                <p:nvPr/>
              </p:nvSpPr>
              <p:spPr bwMode="auto">
                <a:xfrm>
                  <a:off x="7488988" y="5977078"/>
                  <a:ext cx="1483200" cy="66674"/>
                </a:xfrm>
                <a:custGeom>
                  <a:avLst/>
                  <a:gdLst>
                    <a:gd name="T0" fmla="*/ 0 w 1104"/>
                    <a:gd name="T1" fmla="*/ 0 h 42"/>
                    <a:gd name="T2" fmla="*/ 0 w 1104"/>
                    <a:gd name="T3" fmla="*/ 42 h 42"/>
                    <a:gd name="T4" fmla="*/ 1104 w 1104"/>
                    <a:gd name="T5" fmla="*/ 42 h 42"/>
                    <a:gd name="T6" fmla="*/ 1104 w 1104"/>
                    <a:gd name="T7" fmla="*/ 0 h 42"/>
                    <a:gd name="T8" fmla="*/ 0 w 1104"/>
                    <a:gd name="T9" fmla="*/ 0 h 42"/>
                    <a:gd name="T10" fmla="*/ 0 w 1104"/>
                    <a:gd name="T11" fmla="*/ 0 h 42"/>
                  </a:gdLst>
                  <a:ahLst/>
                  <a:cxnLst>
                    <a:cxn ang="0">
                      <a:pos x="T0" y="T1"/>
                    </a:cxn>
                    <a:cxn ang="0">
                      <a:pos x="T2" y="T3"/>
                    </a:cxn>
                    <a:cxn ang="0">
                      <a:pos x="T4" y="T5"/>
                    </a:cxn>
                    <a:cxn ang="0">
                      <a:pos x="T6" y="T7"/>
                    </a:cxn>
                    <a:cxn ang="0">
                      <a:pos x="T8" y="T9"/>
                    </a:cxn>
                    <a:cxn ang="0">
                      <a:pos x="T10" y="T11"/>
                    </a:cxn>
                  </a:cxnLst>
                  <a:rect l="0" t="0" r="r" b="b"/>
                  <a:pathLst>
                    <a:path w="1104" h="42">
                      <a:moveTo>
                        <a:pt x="0" y="0"/>
                      </a:moveTo>
                      <a:lnTo>
                        <a:pt x="0" y="42"/>
                      </a:lnTo>
                      <a:lnTo>
                        <a:pt x="1104" y="42"/>
                      </a:lnTo>
                      <a:lnTo>
                        <a:pt x="1104" y="0"/>
                      </a:lnTo>
                      <a:lnTo>
                        <a:pt x="0" y="0"/>
                      </a:lnTo>
                      <a:lnTo>
                        <a:pt x="0" y="0"/>
                      </a:lnTo>
                      <a:close/>
                    </a:path>
                  </a:pathLst>
                </a:custGeom>
                <a:solidFill>
                  <a:schemeClr val="accent5">
                    <a:lumMod val="100000"/>
                    <a:alpha val="15000"/>
                  </a:schemeClr>
                </a:solidFill>
                <a:ln>
                  <a:noFill/>
                </a:ln>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100" name="Column 4"/>
                <p:cNvSpPr>
                  <a:spLocks/>
                </p:cNvSpPr>
                <p:nvPr/>
              </p:nvSpPr>
              <p:spPr bwMode="auto">
                <a:xfrm>
                  <a:off x="5774391" y="5977078"/>
                  <a:ext cx="1483200" cy="66674"/>
                </a:xfrm>
                <a:custGeom>
                  <a:avLst/>
                  <a:gdLst>
                    <a:gd name="T0" fmla="*/ 0 w 1104"/>
                    <a:gd name="T1" fmla="*/ 0 h 42"/>
                    <a:gd name="T2" fmla="*/ 0 w 1104"/>
                    <a:gd name="T3" fmla="*/ 42 h 42"/>
                    <a:gd name="T4" fmla="*/ 1104 w 1104"/>
                    <a:gd name="T5" fmla="*/ 42 h 42"/>
                    <a:gd name="T6" fmla="*/ 1104 w 1104"/>
                    <a:gd name="T7" fmla="*/ 0 h 42"/>
                    <a:gd name="T8" fmla="*/ 0 w 1104"/>
                    <a:gd name="T9" fmla="*/ 0 h 42"/>
                    <a:gd name="T10" fmla="*/ 0 w 1104"/>
                    <a:gd name="T11" fmla="*/ 0 h 42"/>
                  </a:gdLst>
                  <a:ahLst/>
                  <a:cxnLst>
                    <a:cxn ang="0">
                      <a:pos x="T0" y="T1"/>
                    </a:cxn>
                    <a:cxn ang="0">
                      <a:pos x="T2" y="T3"/>
                    </a:cxn>
                    <a:cxn ang="0">
                      <a:pos x="T4" y="T5"/>
                    </a:cxn>
                    <a:cxn ang="0">
                      <a:pos x="T6" y="T7"/>
                    </a:cxn>
                    <a:cxn ang="0">
                      <a:pos x="T8" y="T9"/>
                    </a:cxn>
                    <a:cxn ang="0">
                      <a:pos x="T10" y="T11"/>
                    </a:cxn>
                  </a:cxnLst>
                  <a:rect l="0" t="0" r="r" b="b"/>
                  <a:pathLst>
                    <a:path w="1104" h="42">
                      <a:moveTo>
                        <a:pt x="0" y="0"/>
                      </a:moveTo>
                      <a:lnTo>
                        <a:pt x="0" y="42"/>
                      </a:lnTo>
                      <a:lnTo>
                        <a:pt x="1104" y="42"/>
                      </a:lnTo>
                      <a:lnTo>
                        <a:pt x="1104" y="0"/>
                      </a:lnTo>
                      <a:lnTo>
                        <a:pt x="0" y="0"/>
                      </a:lnTo>
                      <a:lnTo>
                        <a:pt x="0" y="0"/>
                      </a:lnTo>
                      <a:close/>
                    </a:path>
                  </a:pathLst>
                </a:custGeom>
                <a:solidFill>
                  <a:schemeClr val="accent5">
                    <a:lumMod val="100000"/>
                    <a:alpha val="15000"/>
                  </a:schemeClr>
                </a:solidFill>
                <a:ln>
                  <a:noFill/>
                </a:ln>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101" name="Column 3"/>
                <p:cNvSpPr>
                  <a:spLocks/>
                </p:cNvSpPr>
                <p:nvPr/>
              </p:nvSpPr>
              <p:spPr bwMode="auto">
                <a:xfrm>
                  <a:off x="4059794" y="5977078"/>
                  <a:ext cx="1483200" cy="66674"/>
                </a:xfrm>
                <a:custGeom>
                  <a:avLst/>
                  <a:gdLst>
                    <a:gd name="T0" fmla="*/ 0 w 1102"/>
                    <a:gd name="T1" fmla="*/ 0 h 42"/>
                    <a:gd name="T2" fmla="*/ 0 w 1102"/>
                    <a:gd name="T3" fmla="*/ 42 h 42"/>
                    <a:gd name="T4" fmla="*/ 1102 w 1102"/>
                    <a:gd name="T5" fmla="*/ 42 h 42"/>
                    <a:gd name="T6" fmla="*/ 1102 w 1102"/>
                    <a:gd name="T7" fmla="*/ 0 h 42"/>
                    <a:gd name="T8" fmla="*/ 0 w 1102"/>
                    <a:gd name="T9" fmla="*/ 0 h 42"/>
                    <a:gd name="T10" fmla="*/ 0 w 1102"/>
                    <a:gd name="T11" fmla="*/ 0 h 42"/>
                  </a:gdLst>
                  <a:ahLst/>
                  <a:cxnLst>
                    <a:cxn ang="0">
                      <a:pos x="T0" y="T1"/>
                    </a:cxn>
                    <a:cxn ang="0">
                      <a:pos x="T2" y="T3"/>
                    </a:cxn>
                    <a:cxn ang="0">
                      <a:pos x="T4" y="T5"/>
                    </a:cxn>
                    <a:cxn ang="0">
                      <a:pos x="T6" y="T7"/>
                    </a:cxn>
                    <a:cxn ang="0">
                      <a:pos x="T8" y="T9"/>
                    </a:cxn>
                    <a:cxn ang="0">
                      <a:pos x="T10" y="T11"/>
                    </a:cxn>
                  </a:cxnLst>
                  <a:rect l="0" t="0" r="r" b="b"/>
                  <a:pathLst>
                    <a:path w="1102" h="42">
                      <a:moveTo>
                        <a:pt x="0" y="0"/>
                      </a:moveTo>
                      <a:lnTo>
                        <a:pt x="0" y="42"/>
                      </a:lnTo>
                      <a:lnTo>
                        <a:pt x="1102" y="42"/>
                      </a:lnTo>
                      <a:lnTo>
                        <a:pt x="1102" y="0"/>
                      </a:lnTo>
                      <a:lnTo>
                        <a:pt x="0" y="0"/>
                      </a:lnTo>
                      <a:lnTo>
                        <a:pt x="0" y="0"/>
                      </a:lnTo>
                      <a:close/>
                    </a:path>
                  </a:pathLst>
                </a:custGeom>
                <a:solidFill>
                  <a:schemeClr val="accent5">
                    <a:lumMod val="100000"/>
                    <a:alpha val="15000"/>
                  </a:schemeClr>
                </a:solidFill>
                <a:ln>
                  <a:noFill/>
                </a:ln>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102" name="Column 2"/>
                <p:cNvSpPr>
                  <a:spLocks/>
                </p:cNvSpPr>
                <p:nvPr/>
              </p:nvSpPr>
              <p:spPr bwMode="auto">
                <a:xfrm>
                  <a:off x="2345197" y="5977078"/>
                  <a:ext cx="1483200" cy="66674"/>
                </a:xfrm>
                <a:custGeom>
                  <a:avLst/>
                  <a:gdLst>
                    <a:gd name="T0" fmla="*/ 0 w 1103"/>
                    <a:gd name="T1" fmla="*/ 0 h 42"/>
                    <a:gd name="T2" fmla="*/ 1103 w 1103"/>
                    <a:gd name="T3" fmla="*/ 0 h 42"/>
                    <a:gd name="T4" fmla="*/ 1103 w 1103"/>
                    <a:gd name="T5" fmla="*/ 42 h 42"/>
                    <a:gd name="T6" fmla="*/ 0 w 1103"/>
                    <a:gd name="T7" fmla="*/ 42 h 42"/>
                    <a:gd name="T8" fmla="*/ 0 w 1103"/>
                    <a:gd name="T9" fmla="*/ 0 h 42"/>
                    <a:gd name="T10" fmla="*/ 0 w 1103"/>
                    <a:gd name="T11" fmla="*/ 0 h 42"/>
                  </a:gdLst>
                  <a:ahLst/>
                  <a:cxnLst>
                    <a:cxn ang="0">
                      <a:pos x="T0" y="T1"/>
                    </a:cxn>
                    <a:cxn ang="0">
                      <a:pos x="T2" y="T3"/>
                    </a:cxn>
                    <a:cxn ang="0">
                      <a:pos x="T4" y="T5"/>
                    </a:cxn>
                    <a:cxn ang="0">
                      <a:pos x="T6" y="T7"/>
                    </a:cxn>
                    <a:cxn ang="0">
                      <a:pos x="T8" y="T9"/>
                    </a:cxn>
                    <a:cxn ang="0">
                      <a:pos x="T10" y="T11"/>
                    </a:cxn>
                  </a:cxnLst>
                  <a:rect l="0" t="0" r="r" b="b"/>
                  <a:pathLst>
                    <a:path w="1103" h="42">
                      <a:moveTo>
                        <a:pt x="0" y="0"/>
                      </a:moveTo>
                      <a:lnTo>
                        <a:pt x="1103" y="0"/>
                      </a:lnTo>
                      <a:lnTo>
                        <a:pt x="1103" y="42"/>
                      </a:lnTo>
                      <a:lnTo>
                        <a:pt x="0" y="42"/>
                      </a:lnTo>
                      <a:lnTo>
                        <a:pt x="0" y="0"/>
                      </a:lnTo>
                      <a:lnTo>
                        <a:pt x="0" y="0"/>
                      </a:lnTo>
                      <a:close/>
                    </a:path>
                  </a:pathLst>
                </a:custGeom>
                <a:solidFill>
                  <a:schemeClr val="accent5">
                    <a:lumMod val="100000"/>
                    <a:alpha val="15000"/>
                  </a:schemeClr>
                </a:solidFill>
                <a:ln>
                  <a:noFill/>
                </a:ln>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103" name="Column 1"/>
                <p:cNvSpPr>
                  <a:spLocks/>
                </p:cNvSpPr>
                <p:nvPr/>
              </p:nvSpPr>
              <p:spPr bwMode="auto">
                <a:xfrm>
                  <a:off x="630600" y="5977078"/>
                  <a:ext cx="1483200" cy="66674"/>
                </a:xfrm>
                <a:custGeom>
                  <a:avLst/>
                  <a:gdLst>
                    <a:gd name="T0" fmla="*/ 0 w 1103"/>
                    <a:gd name="T1" fmla="*/ 0 h 42"/>
                    <a:gd name="T2" fmla="*/ 0 w 1103"/>
                    <a:gd name="T3" fmla="*/ 42 h 42"/>
                    <a:gd name="T4" fmla="*/ 1103 w 1103"/>
                    <a:gd name="T5" fmla="*/ 42 h 42"/>
                    <a:gd name="T6" fmla="*/ 1103 w 1103"/>
                    <a:gd name="T7" fmla="*/ 0 h 42"/>
                    <a:gd name="T8" fmla="*/ 0 w 1103"/>
                    <a:gd name="T9" fmla="*/ 0 h 42"/>
                    <a:gd name="T10" fmla="*/ 0 w 1103"/>
                    <a:gd name="T11" fmla="*/ 0 h 42"/>
                  </a:gdLst>
                  <a:ahLst/>
                  <a:cxnLst>
                    <a:cxn ang="0">
                      <a:pos x="T0" y="T1"/>
                    </a:cxn>
                    <a:cxn ang="0">
                      <a:pos x="T2" y="T3"/>
                    </a:cxn>
                    <a:cxn ang="0">
                      <a:pos x="T4" y="T5"/>
                    </a:cxn>
                    <a:cxn ang="0">
                      <a:pos x="T6" y="T7"/>
                    </a:cxn>
                    <a:cxn ang="0">
                      <a:pos x="T8" y="T9"/>
                    </a:cxn>
                    <a:cxn ang="0">
                      <a:pos x="T10" y="T11"/>
                    </a:cxn>
                  </a:cxnLst>
                  <a:rect l="0" t="0" r="r" b="b"/>
                  <a:pathLst>
                    <a:path w="1103" h="42">
                      <a:moveTo>
                        <a:pt x="0" y="0"/>
                      </a:moveTo>
                      <a:lnTo>
                        <a:pt x="0" y="42"/>
                      </a:lnTo>
                      <a:lnTo>
                        <a:pt x="1103" y="42"/>
                      </a:lnTo>
                      <a:lnTo>
                        <a:pt x="1103" y="0"/>
                      </a:lnTo>
                      <a:lnTo>
                        <a:pt x="0" y="0"/>
                      </a:lnTo>
                      <a:lnTo>
                        <a:pt x="0" y="0"/>
                      </a:lnTo>
                      <a:close/>
                    </a:path>
                  </a:pathLst>
                </a:custGeom>
                <a:solidFill>
                  <a:schemeClr val="accent5">
                    <a:lumMod val="100000"/>
                    <a:alpha val="15000"/>
                  </a:schemeClr>
                </a:solidFill>
                <a:ln>
                  <a:noFill/>
                </a:ln>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grpSp>
          <p:sp>
            <p:nvSpPr>
              <p:cNvPr id="98" name="Live space"/>
              <p:cNvSpPr>
                <a:spLocks noChangeAspect="1"/>
              </p:cNvSpPr>
              <p:nvPr/>
            </p:nvSpPr>
            <p:spPr>
              <a:xfrm>
                <a:off x="472691" y="1369230"/>
                <a:ext cx="8199631" cy="3059100"/>
              </a:xfrm>
              <a:prstGeom prst="rect">
                <a:avLst/>
              </a:prstGeom>
              <a:noFill/>
              <a:ln w="9525">
                <a:solidFill>
                  <a:srgbClr val="C00000">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2116120" rtl="0" eaLnBrk="1" fontAlgn="auto" latinLnBrk="0" hangingPunct="1">
                  <a:lnSpc>
                    <a:spcPct val="90000"/>
                  </a:lnSpc>
                  <a:spcBef>
                    <a:spcPts val="0"/>
                  </a:spcBef>
                  <a:spcAft>
                    <a:spcPts val="200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grpSp>
        <p:sp>
          <p:nvSpPr>
            <p:cNvPr id="82" name="Line 19"/>
            <p:cNvSpPr>
              <a:spLocks noChangeShapeType="1"/>
            </p:cNvSpPr>
            <p:nvPr/>
          </p:nvSpPr>
          <p:spPr bwMode="auto">
            <a:xfrm>
              <a:off x="1657" y="4068235"/>
              <a:ext cx="91415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83" name="Line 6"/>
            <p:cNvSpPr>
              <a:spLocks noChangeShapeType="1"/>
            </p:cNvSpPr>
            <p:nvPr/>
          </p:nvSpPr>
          <p:spPr bwMode="auto">
            <a:xfrm>
              <a:off x="1657" y="1367545"/>
              <a:ext cx="91415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84" name="Line 6"/>
            <p:cNvSpPr>
              <a:spLocks noChangeShapeType="1"/>
            </p:cNvSpPr>
            <p:nvPr/>
          </p:nvSpPr>
          <p:spPr bwMode="auto">
            <a:xfrm>
              <a:off x="1657" y="1547591"/>
              <a:ext cx="91415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grpSp>
          <p:nvGrpSpPr>
            <p:cNvPr id="85" name="Gutter space"/>
            <p:cNvGrpSpPr/>
            <p:nvPr/>
          </p:nvGrpSpPr>
          <p:grpSpPr>
            <a:xfrm>
              <a:off x="758655" y="467315"/>
              <a:ext cx="7627700" cy="3961015"/>
              <a:chOff x="1120632" y="623087"/>
              <a:chExt cx="7361520" cy="5532930"/>
            </a:xfrm>
          </p:grpSpPr>
          <p:sp>
            <p:nvSpPr>
              <p:cNvPr id="86" name="Gutter 11"/>
              <p:cNvSpPr>
                <a:spLocks noChangeArrowheads="1"/>
              </p:cNvSpPr>
              <p:nvPr/>
            </p:nvSpPr>
            <p:spPr bwMode="auto">
              <a:xfrm>
                <a:off x="8258952" y="623087"/>
                <a:ext cx="223200" cy="5532930"/>
              </a:xfrm>
              <a:prstGeom prst="rect">
                <a:avLst/>
              </a:prstGeom>
              <a:solidFill>
                <a:schemeClr val="accent5">
                  <a:lumMod val="100000"/>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87" name="Gutter 10"/>
              <p:cNvSpPr>
                <a:spLocks noChangeArrowheads="1"/>
              </p:cNvSpPr>
              <p:nvPr/>
            </p:nvSpPr>
            <p:spPr bwMode="auto">
              <a:xfrm>
                <a:off x="7545120" y="623087"/>
                <a:ext cx="223200" cy="5532930"/>
              </a:xfrm>
              <a:prstGeom prst="rect">
                <a:avLst/>
              </a:prstGeom>
              <a:solidFill>
                <a:schemeClr val="accent5">
                  <a:lumMod val="100000"/>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88" name="Gutter 9"/>
              <p:cNvSpPr>
                <a:spLocks noChangeArrowheads="1"/>
              </p:cNvSpPr>
              <p:nvPr/>
            </p:nvSpPr>
            <p:spPr bwMode="auto">
              <a:xfrm>
                <a:off x="6831288" y="623087"/>
                <a:ext cx="223200" cy="5532930"/>
              </a:xfrm>
              <a:prstGeom prst="rect">
                <a:avLst/>
              </a:prstGeom>
              <a:solidFill>
                <a:schemeClr val="accent5">
                  <a:lumMod val="100000"/>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89" name="Gutter 8"/>
              <p:cNvSpPr>
                <a:spLocks noChangeArrowheads="1"/>
              </p:cNvSpPr>
              <p:nvPr/>
            </p:nvSpPr>
            <p:spPr bwMode="auto">
              <a:xfrm>
                <a:off x="6117456" y="623087"/>
                <a:ext cx="223200" cy="5532930"/>
              </a:xfrm>
              <a:prstGeom prst="rect">
                <a:avLst/>
              </a:prstGeom>
              <a:solidFill>
                <a:schemeClr val="accent5">
                  <a:lumMod val="100000"/>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90" name="Gutter 7"/>
              <p:cNvSpPr>
                <a:spLocks noChangeArrowheads="1"/>
              </p:cNvSpPr>
              <p:nvPr/>
            </p:nvSpPr>
            <p:spPr bwMode="auto">
              <a:xfrm>
                <a:off x="5403624" y="623087"/>
                <a:ext cx="223200" cy="5532930"/>
              </a:xfrm>
              <a:prstGeom prst="rect">
                <a:avLst/>
              </a:prstGeom>
              <a:solidFill>
                <a:schemeClr val="accent5">
                  <a:lumMod val="100000"/>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91" name="Gutter 6"/>
              <p:cNvSpPr>
                <a:spLocks noChangeArrowheads="1"/>
              </p:cNvSpPr>
              <p:nvPr/>
            </p:nvSpPr>
            <p:spPr bwMode="auto">
              <a:xfrm>
                <a:off x="4689792" y="623087"/>
                <a:ext cx="223200" cy="5532930"/>
              </a:xfrm>
              <a:prstGeom prst="rect">
                <a:avLst/>
              </a:prstGeom>
              <a:solidFill>
                <a:schemeClr val="accent5">
                  <a:lumMod val="100000"/>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92" name="Gutter 5"/>
              <p:cNvSpPr>
                <a:spLocks noChangeArrowheads="1"/>
              </p:cNvSpPr>
              <p:nvPr/>
            </p:nvSpPr>
            <p:spPr bwMode="auto">
              <a:xfrm>
                <a:off x="3975960" y="623087"/>
                <a:ext cx="223200" cy="5532930"/>
              </a:xfrm>
              <a:prstGeom prst="rect">
                <a:avLst/>
              </a:prstGeom>
              <a:solidFill>
                <a:schemeClr val="accent5">
                  <a:lumMod val="100000"/>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93" name="Gutter 4"/>
              <p:cNvSpPr>
                <a:spLocks noChangeArrowheads="1"/>
              </p:cNvSpPr>
              <p:nvPr/>
            </p:nvSpPr>
            <p:spPr bwMode="auto">
              <a:xfrm>
                <a:off x="3262128" y="623087"/>
                <a:ext cx="223200" cy="5532930"/>
              </a:xfrm>
              <a:prstGeom prst="rect">
                <a:avLst/>
              </a:prstGeom>
              <a:solidFill>
                <a:schemeClr val="accent5">
                  <a:lumMod val="100000"/>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94" name="Gutter 3"/>
              <p:cNvSpPr>
                <a:spLocks noChangeArrowheads="1"/>
              </p:cNvSpPr>
              <p:nvPr/>
            </p:nvSpPr>
            <p:spPr bwMode="auto">
              <a:xfrm>
                <a:off x="2548296" y="623087"/>
                <a:ext cx="223200" cy="5532930"/>
              </a:xfrm>
              <a:prstGeom prst="rect">
                <a:avLst/>
              </a:prstGeom>
              <a:solidFill>
                <a:schemeClr val="accent5">
                  <a:lumMod val="100000"/>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95" name="Gutter 2"/>
              <p:cNvSpPr>
                <a:spLocks noChangeArrowheads="1"/>
              </p:cNvSpPr>
              <p:nvPr/>
            </p:nvSpPr>
            <p:spPr bwMode="auto">
              <a:xfrm>
                <a:off x="1834464" y="623087"/>
                <a:ext cx="223200" cy="5532930"/>
              </a:xfrm>
              <a:prstGeom prst="rect">
                <a:avLst/>
              </a:prstGeom>
              <a:solidFill>
                <a:schemeClr val="accent5">
                  <a:lumMod val="100000"/>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96" name="Gutter 1"/>
              <p:cNvSpPr>
                <a:spLocks noChangeArrowheads="1"/>
              </p:cNvSpPr>
              <p:nvPr/>
            </p:nvSpPr>
            <p:spPr bwMode="auto">
              <a:xfrm>
                <a:off x="1120632" y="623087"/>
                <a:ext cx="223200" cy="5532930"/>
              </a:xfrm>
              <a:prstGeom prst="rect">
                <a:avLst/>
              </a:prstGeom>
              <a:solidFill>
                <a:schemeClr val="accent5">
                  <a:lumMod val="100000"/>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grpSp>
      </p:grpSp>
    </p:spTree>
    <p:extLst>
      <p:ext uri="{BB962C8B-B14F-4D97-AF65-F5344CB8AC3E}">
        <p14:creationId xmlns:p14="http://schemas.microsoft.com/office/powerpoint/2010/main" val="1562511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3075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8533"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sp>
        <p:nvSpPr>
          <p:cNvPr id="31" name="Rectangle 30"/>
          <p:cNvSpPr/>
          <p:nvPr userDrawn="1"/>
        </p:nvSpPr>
        <p:spPr>
          <a:xfrm flipV="1">
            <a:off x="186268" y="3678768"/>
            <a:ext cx="24036867" cy="182032"/>
          </a:xfrm>
          <a:prstGeom prst="rect">
            <a:avLst/>
          </a:prstGeom>
          <a:solidFill>
            <a:srgbClr val="4F81BD">
              <a:alpha val="100000"/>
            </a:srgbClr>
          </a:solidFill>
          <a:ln w="19050" cap="sq" cmpd="sng" algn="ctr">
            <a:noFill/>
            <a:prstDash val="solid"/>
          </a:ln>
          <a:effectLst/>
        </p:spPr>
        <p:txBody>
          <a:bodyPr anchor="ctr"/>
          <a:lstStyle/>
          <a:p>
            <a:pPr marL="0" marR="0" lvl="0" indent="0" algn="ctr" defTabSz="2438430" rtl="0" eaLnBrk="1" fontAlgn="base" latinLnBrk="0" hangingPunct="1">
              <a:lnSpc>
                <a:spcPct val="100000"/>
              </a:lnSpc>
              <a:spcBef>
                <a:spcPct val="0"/>
              </a:spcBef>
              <a:spcAft>
                <a:spcPct val="0"/>
              </a:spcAft>
              <a:buClrTx/>
              <a:buSzTx/>
              <a:buFontTx/>
              <a:buNone/>
              <a:tabLst/>
              <a:defRPr/>
            </a:pPr>
            <a:endParaRPr kumimoji="0" lang="en-US" sz="4800" b="0" i="0" u="none" strike="noStrike" kern="0" cap="none" spc="0" normalizeH="0" baseline="0" noProof="0" dirty="0">
              <a:ln>
                <a:noFill/>
              </a:ln>
              <a:solidFill>
                <a:prstClr val="white"/>
              </a:solidFill>
              <a:effectLst/>
              <a:uLnTx/>
              <a:uFillTx/>
              <a:latin typeface="Calibri"/>
              <a:ea typeface="+mn-ea"/>
              <a:cs typeface="+mn-cs"/>
            </a:endParaRPr>
          </a:p>
        </p:txBody>
      </p:sp>
      <p:sp>
        <p:nvSpPr>
          <p:cNvPr id="32" name="Rectangle 31"/>
          <p:cNvSpPr/>
          <p:nvPr userDrawn="1"/>
        </p:nvSpPr>
        <p:spPr>
          <a:xfrm>
            <a:off x="186268" y="3606802"/>
            <a:ext cx="24036867" cy="93133"/>
          </a:xfrm>
          <a:prstGeom prst="rect">
            <a:avLst/>
          </a:prstGeom>
          <a:solidFill>
            <a:srgbClr val="4F81BD">
              <a:tint val="60000"/>
            </a:srgbClr>
          </a:solidFill>
          <a:ln w="19050" cap="sq" cmpd="sng" algn="ctr">
            <a:noFill/>
            <a:prstDash val="solid"/>
          </a:ln>
          <a:effectLst/>
        </p:spPr>
        <p:txBody>
          <a:bodyPr anchor="ctr"/>
          <a:lstStyle/>
          <a:p>
            <a:pPr marL="0" marR="0" lvl="0" indent="0" algn="ctr" defTabSz="2438430" rtl="0" eaLnBrk="1" fontAlgn="base" latinLnBrk="0" hangingPunct="1">
              <a:lnSpc>
                <a:spcPct val="100000"/>
              </a:lnSpc>
              <a:spcBef>
                <a:spcPct val="0"/>
              </a:spcBef>
              <a:spcAft>
                <a:spcPct val="0"/>
              </a:spcAft>
              <a:buClrTx/>
              <a:buSzTx/>
              <a:buFontTx/>
              <a:buNone/>
              <a:tabLst/>
              <a:defRPr/>
            </a:pPr>
            <a:endParaRPr kumimoji="0" lang="en-US" sz="4800" b="0" i="0" u="none" strike="noStrike" kern="0" cap="none" spc="0" normalizeH="0" baseline="0" noProof="0" dirty="0">
              <a:ln>
                <a:noFill/>
              </a:ln>
              <a:solidFill>
                <a:prstClr val="white"/>
              </a:solidFill>
              <a:effectLst/>
              <a:uLnTx/>
              <a:uFillTx/>
              <a:latin typeface="Calibri"/>
              <a:ea typeface="+mn-ea"/>
              <a:cs typeface="+mn-cs"/>
            </a:endParaRPr>
          </a:p>
        </p:txBody>
      </p:sp>
      <p:sp>
        <p:nvSpPr>
          <p:cNvPr id="33" name="Rectangle 32"/>
          <p:cNvSpPr/>
          <p:nvPr userDrawn="1"/>
        </p:nvSpPr>
        <p:spPr>
          <a:xfrm>
            <a:off x="182035" y="3750735"/>
            <a:ext cx="24041099" cy="93133"/>
          </a:xfrm>
          <a:prstGeom prst="rect">
            <a:avLst/>
          </a:prstGeom>
          <a:solidFill>
            <a:srgbClr val="4BACC6"/>
          </a:solidFill>
          <a:ln w="19050" cap="sq" cmpd="sng" algn="ctr">
            <a:noFill/>
            <a:prstDash val="solid"/>
          </a:ln>
          <a:effectLst/>
        </p:spPr>
        <p:txBody>
          <a:bodyPr anchor="ctr"/>
          <a:lstStyle/>
          <a:p>
            <a:pPr marL="0" marR="0" lvl="0" indent="0" algn="ctr" defTabSz="2438430" rtl="0" eaLnBrk="1" fontAlgn="base" latinLnBrk="0" hangingPunct="1">
              <a:lnSpc>
                <a:spcPct val="100000"/>
              </a:lnSpc>
              <a:spcBef>
                <a:spcPct val="0"/>
              </a:spcBef>
              <a:spcAft>
                <a:spcPct val="0"/>
              </a:spcAft>
              <a:buClrTx/>
              <a:buSzTx/>
              <a:buFontTx/>
              <a:buNone/>
              <a:tabLst/>
              <a:defRPr/>
            </a:pPr>
            <a:endParaRPr kumimoji="0" lang="en-US" sz="4800" b="0" i="0" u="none" strike="noStrike" kern="0" cap="none" spc="0" normalizeH="0" baseline="0" noProof="0" dirty="0">
              <a:ln>
                <a:noFill/>
              </a:ln>
              <a:solidFill>
                <a:prstClr val="white"/>
              </a:solidFill>
              <a:effectLst/>
              <a:uLnTx/>
              <a:uFillTx/>
              <a:latin typeface="Calibri"/>
              <a:ea typeface="+mn-ea"/>
              <a:cs typeface="+mn-cs"/>
            </a:endParaRPr>
          </a:p>
        </p:txBody>
      </p:sp>
      <p:sp>
        <p:nvSpPr>
          <p:cNvPr id="34" name="Rounded Rectangle 33"/>
          <p:cNvSpPr/>
          <p:nvPr userDrawn="1"/>
        </p:nvSpPr>
        <p:spPr>
          <a:xfrm>
            <a:off x="174168" y="139511"/>
            <a:ext cx="24035659" cy="13384403"/>
          </a:xfrm>
          <a:prstGeom prst="roundRect">
            <a:avLst>
              <a:gd name="adj" fmla="val 4929"/>
            </a:avLst>
          </a:prstGeom>
          <a:noFill/>
          <a:ln w="6350" cap="sq" cmpd="sng" algn="ctr">
            <a:solidFill>
              <a:schemeClr val="tx1">
                <a:alpha val="100000"/>
              </a:schemeClr>
            </a:solidFill>
            <a:prstDash val="solid"/>
          </a:ln>
          <a:effectLst/>
        </p:spPr>
        <p:style>
          <a:lnRef idx="3">
            <a:schemeClr val="lt1"/>
          </a:lnRef>
          <a:fillRef idx="1003">
            <a:schemeClr val="lt1"/>
          </a:fillRef>
          <a:effectRef idx="1">
            <a:schemeClr val="accent1"/>
          </a:effectRef>
          <a:fontRef idx="minor">
            <a:schemeClr val="lt1"/>
          </a:fontRef>
        </p:style>
        <p:txBody>
          <a:bodyPr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4165"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35" name="Title 15"/>
          <p:cNvSpPr>
            <a:spLocks noGrp="1"/>
          </p:cNvSpPr>
          <p:nvPr>
            <p:ph type="title"/>
          </p:nvPr>
        </p:nvSpPr>
        <p:spPr>
          <a:xfrm>
            <a:off x="2463801" y="5657470"/>
            <a:ext cx="19481800" cy="1181861"/>
          </a:xfrm>
        </p:spPr>
        <p:txBody>
          <a:bodyPr anchor="ctr"/>
          <a:lstStyle>
            <a:lvl1pPr algn="ctr">
              <a:defRPr sz="8533">
                <a:solidFill>
                  <a:srgbClr val="376092"/>
                </a:solidFill>
                <a:latin typeface="+mj-lt"/>
                <a:ea typeface="+mj-ea"/>
                <a:cs typeface="+mj-cs"/>
                <a:sym typeface="+mj-lt"/>
              </a:defRPr>
            </a:lvl1pPr>
          </a:lstStyle>
          <a:p>
            <a:r>
              <a:rPr lang="en-US"/>
              <a:t>Click to edit Master title style</a:t>
            </a:r>
            <a:endParaRPr lang="en-US" dirty="0"/>
          </a:p>
        </p:txBody>
      </p:sp>
      <p:sp>
        <p:nvSpPr>
          <p:cNvPr id="36" name="Text Placeholder 19"/>
          <p:cNvSpPr>
            <a:spLocks noGrp="1"/>
          </p:cNvSpPr>
          <p:nvPr>
            <p:ph type="body" sz="quarter" idx="11" hasCustomPrompt="1"/>
          </p:nvPr>
        </p:nvSpPr>
        <p:spPr>
          <a:xfrm>
            <a:off x="2463801" y="10312400"/>
            <a:ext cx="19481800" cy="1219200"/>
          </a:xfrm>
        </p:spPr>
        <p:txBody>
          <a:bodyPr anchor="ctr"/>
          <a:lstStyle>
            <a:lvl1pPr marL="0" indent="0" algn="ctr">
              <a:buNone/>
              <a:defRPr sz="2933">
                <a:latin typeface="+mn-lt"/>
                <a:ea typeface="+mn-ea"/>
                <a:cs typeface="+mn-cs"/>
                <a:sym typeface="+mn-lt"/>
              </a:defRPr>
            </a:lvl1pPr>
          </a:lstStyle>
          <a:p>
            <a:pPr lvl="0"/>
            <a:r>
              <a:rPr lang="en-US" dirty="0"/>
              <a:t>Date</a:t>
            </a:r>
          </a:p>
        </p:txBody>
      </p:sp>
      <p:pic>
        <p:nvPicPr>
          <p:cNvPr id="37" name="Picture 2" descr="21st Century Lagos — Health &amp; Environment - Biodun Awosusi - Medium"/>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20701" y="355600"/>
            <a:ext cx="1828800" cy="1828800"/>
          </a:xfrm>
          <a:prstGeom prst="rect">
            <a:avLst/>
          </a:prstGeom>
          <a:noFill/>
          <a:extLst>
            <a:ext uri="{909E8E84-426E-40DD-AFC4-6F175D3DCCD1}">
              <a14:hiddenFill xmlns:a14="http://schemas.microsoft.com/office/drawing/2010/main">
                <a:solidFill>
                  <a:srgbClr val="FFFFFF"/>
                </a:solidFill>
              </a14:hiddenFill>
            </a:ext>
          </a:extLst>
        </p:spPr>
      </p:pic>
      <p:sp>
        <p:nvSpPr>
          <p:cNvPr id="38" name="Text Placeholder 17"/>
          <p:cNvSpPr>
            <a:spLocks noGrp="1"/>
          </p:cNvSpPr>
          <p:nvPr>
            <p:ph type="body" sz="quarter" idx="10" hasCustomPrompt="1"/>
          </p:nvPr>
        </p:nvSpPr>
        <p:spPr>
          <a:xfrm>
            <a:off x="2463801" y="8890000"/>
            <a:ext cx="19481800" cy="1219200"/>
          </a:xfrm>
        </p:spPr>
        <p:txBody>
          <a:bodyPr anchor="ctr"/>
          <a:lstStyle>
            <a:lvl1pPr marL="0" indent="0" algn="ctr">
              <a:buNone/>
              <a:defRPr sz="3733">
                <a:latin typeface="+mn-lt"/>
                <a:ea typeface="+mn-ea"/>
                <a:cs typeface="+mn-cs"/>
                <a:sym typeface="+mn-lt"/>
              </a:defRPr>
            </a:lvl1pPr>
            <a:lvl2pPr algn="ctr">
              <a:defRPr/>
            </a:lvl2pPr>
            <a:lvl3pPr algn="ctr">
              <a:defRPr/>
            </a:lvl3pPr>
            <a:lvl4pPr algn="ctr">
              <a:defRPr/>
            </a:lvl4pPr>
            <a:lvl5pPr algn="ctr">
              <a:defRPr/>
            </a:lvl5pPr>
          </a:lstStyle>
          <a:p>
            <a:pPr lvl="0"/>
            <a:r>
              <a:rPr lang="en-US" dirty="0"/>
              <a:t>Subtitle</a:t>
            </a:r>
          </a:p>
        </p:txBody>
      </p:sp>
      <p:sp>
        <p:nvSpPr>
          <p:cNvPr id="39" name="Text Placeholder 22"/>
          <p:cNvSpPr>
            <a:spLocks noGrp="1"/>
          </p:cNvSpPr>
          <p:nvPr>
            <p:ph type="body" sz="quarter" idx="12" hasCustomPrompt="1"/>
          </p:nvPr>
        </p:nvSpPr>
        <p:spPr>
          <a:xfrm>
            <a:off x="2463801" y="1168400"/>
            <a:ext cx="19481800" cy="2438400"/>
          </a:xfrm>
        </p:spPr>
        <p:txBody>
          <a:bodyPr anchor="ctr"/>
          <a:lstStyle>
            <a:lvl1pPr marL="0" indent="0" algn="ctr">
              <a:buNone/>
              <a:defRPr sz="4800">
                <a:solidFill>
                  <a:srgbClr val="00B050"/>
                </a:solidFill>
                <a:latin typeface="+mn-lt"/>
                <a:ea typeface="+mn-ea"/>
                <a:cs typeface="+mn-cs"/>
                <a:sym typeface="+mn-lt"/>
              </a:defRPr>
            </a:lvl1pPr>
            <a:lvl2pPr>
              <a:defRPr sz="4800"/>
            </a:lvl2pPr>
            <a:lvl3pPr>
              <a:defRPr sz="4800"/>
            </a:lvl3pPr>
            <a:lvl4pPr>
              <a:defRPr sz="4800"/>
            </a:lvl4pPr>
            <a:lvl5pPr>
              <a:defRPr sz="4800"/>
            </a:lvl5pPr>
          </a:lstStyle>
          <a:p>
            <a:pPr lvl="0"/>
            <a:r>
              <a:rPr lang="en-US" dirty="0"/>
              <a:t>Click to add title</a:t>
            </a:r>
          </a:p>
        </p:txBody>
      </p:sp>
    </p:spTree>
    <p:extLst>
      <p:ext uri="{BB962C8B-B14F-4D97-AF65-F5344CB8AC3E}">
        <p14:creationId xmlns:p14="http://schemas.microsoft.com/office/powerpoint/2010/main" val="1601896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4032" y="3177"/>
          <a:ext cx="4032" cy="3176"/>
        </p:xfrm>
        <a:graphic>
          <a:graphicData uri="http://schemas.openxmlformats.org/presentationml/2006/ole">
            <mc:AlternateContent xmlns:mc="http://schemas.openxmlformats.org/markup-compatibility/2006">
              <mc:Choice xmlns:v="urn:schemas-microsoft-com:vml" Requires="v">
                <p:oleObj spid="_x0000_s3178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4032" y="3177"/>
                        <a:ext cx="4032" cy="3176"/>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pPr defTabSz="2116120" hangingPunct="1"/>
            <a:fld id="{6E15576C-53DE-4803-A0AD-4267BE20E854}" type="datetime1">
              <a:rPr lang="en-US" b="0" kern="1200" cap="none" smtClean="0">
                <a:solidFill>
                  <a:prstClr val="white">
                    <a:lumMod val="50000"/>
                  </a:prstClr>
                </a:solidFill>
                <a:effectLst/>
              </a:rPr>
              <a:t>5/6/21</a:t>
            </a:fld>
            <a:endParaRPr lang="en-US" b="0" kern="1200" cap="none" dirty="0">
              <a:solidFill>
                <a:prstClr val="white">
                  <a:lumMod val="50000"/>
                </a:prstClr>
              </a:solidFill>
              <a:effectLst/>
            </a:endParaRPr>
          </a:p>
        </p:txBody>
      </p:sp>
      <p:sp>
        <p:nvSpPr>
          <p:cNvPr id="7"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lumMod val="50000"/>
                  </a:prstClr>
                </a:solidFill>
                <a:effectLst/>
                <a:uLnTx/>
                <a:uFillTx/>
                <a:latin typeface="Garamond"/>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1260002" y="1245604"/>
            <a:ext cx="21866701" cy="664797"/>
          </a:xfrm>
        </p:spPr>
        <p:txBody>
          <a:bodyPr/>
          <a:lstStyle>
            <a:lvl1pPr>
              <a:defRPr>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644581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32804" name="think-cell Slide" r:id="rId5" imgW="286" imgH="286" progId="TCLayout.ActiveDocument.1">
                  <p:embed/>
                </p:oleObj>
              </mc:Choice>
              <mc:Fallback>
                <p:oleObj name="think-cell Slide" r:id="rId5" imgW="286" imgH="286" progId="TCLayout.ActiveDocument.1">
                  <p:embed/>
                  <p:pic>
                    <p:nvPicPr>
                      <p:cNvPr id="9" name="Object 8" hidden="1"/>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sp>
        <p:nvSpPr>
          <p:cNvPr id="2" name="Title 1">
            <a:extLst>
              <a:ext uri="{FF2B5EF4-FFF2-40B4-BE49-F238E27FC236}">
                <a16:creationId xmlns:a16="http://schemas.microsoft.com/office/drawing/2014/main" id="{38309260-4EE2-47F1-AF12-117239232F2F}"/>
              </a:ext>
            </a:extLst>
          </p:cNvPr>
          <p:cNvSpPr>
            <a:spLocks noGrp="1"/>
          </p:cNvSpPr>
          <p:nvPr>
            <p:ph type="title" hasCustomPrompt="1"/>
          </p:nvPr>
        </p:nvSpPr>
        <p:spPr>
          <a:xfrm>
            <a:off x="1260002" y="1245604"/>
            <a:ext cx="21866701" cy="664797"/>
          </a:xfrm>
        </p:spPr>
        <p:txBody>
          <a:bodyPr/>
          <a:lstStyle>
            <a:lvl1pPr>
              <a:defRPr>
                <a:latin typeface="+mj-lt"/>
                <a:ea typeface="+mj-ea"/>
                <a:cs typeface="+mj-cs"/>
                <a:sym typeface="+mj-lt"/>
              </a:defRPr>
            </a:lvl1pPr>
          </a:lstStyle>
          <a:p>
            <a:r>
              <a:rPr lang="en-US" dirty="0"/>
              <a:t>Click to add title</a:t>
            </a:r>
          </a:p>
        </p:txBody>
      </p:sp>
      <p:sp>
        <p:nvSpPr>
          <p:cNvPr id="6" name="Text Placeholder 5">
            <a:extLst>
              <a:ext uri="{FF2B5EF4-FFF2-40B4-BE49-F238E27FC236}">
                <a16:creationId xmlns:a16="http://schemas.microsoft.com/office/drawing/2014/main" id="{B5B9E937-2C74-4E89-A9D3-9D96DE988955}"/>
              </a:ext>
            </a:extLst>
          </p:cNvPr>
          <p:cNvSpPr>
            <a:spLocks noGrp="1"/>
          </p:cNvSpPr>
          <p:nvPr>
            <p:ph type="body" sz="quarter" idx="11"/>
          </p:nvPr>
        </p:nvSpPr>
        <p:spPr>
          <a:xfrm>
            <a:off x="1260002" y="4171259"/>
            <a:ext cx="21866701" cy="8140773"/>
          </a:xfrm>
        </p:spPr>
        <p:txBody>
          <a:bodyPr/>
          <a:lstStyle>
            <a:lvl1pPr>
              <a:lnSpc>
                <a:spcPct val="100000"/>
              </a:lnSpc>
              <a:spcBef>
                <a:spcPts val="0"/>
              </a:spcBef>
              <a:spcAft>
                <a:spcPts val="0"/>
              </a:spcAft>
              <a:defRPr sz="3200">
                <a:latin typeface="+mn-lt"/>
                <a:ea typeface="+mn-ea"/>
                <a:cs typeface="+mn-cs"/>
                <a:sym typeface="+mn-lt"/>
              </a:defRPr>
            </a:lvl1pPr>
            <a:lvl2pPr>
              <a:lnSpc>
                <a:spcPct val="100000"/>
              </a:lnSpc>
              <a:spcBef>
                <a:spcPts val="0"/>
              </a:spcBef>
              <a:spcAft>
                <a:spcPts val="0"/>
              </a:spcAft>
              <a:defRPr sz="3200">
                <a:latin typeface="+mn-lt"/>
                <a:ea typeface="+mn-ea"/>
                <a:cs typeface="+mn-cs"/>
                <a:sym typeface="+mn-lt"/>
              </a:defRPr>
            </a:lvl2pPr>
            <a:lvl3pPr>
              <a:lnSpc>
                <a:spcPct val="100000"/>
              </a:lnSpc>
              <a:spcBef>
                <a:spcPts val="0"/>
              </a:spcBef>
              <a:spcAft>
                <a:spcPts val="0"/>
              </a:spcAft>
              <a:defRPr sz="3200">
                <a:latin typeface="+mn-lt"/>
                <a:ea typeface="+mn-ea"/>
                <a:cs typeface="+mn-cs"/>
                <a:sym typeface="+mn-lt"/>
              </a:defRPr>
            </a:lvl3pPr>
            <a:lvl4pPr>
              <a:lnSpc>
                <a:spcPct val="100000"/>
              </a:lnSpc>
              <a:spcBef>
                <a:spcPts val="0"/>
              </a:spcBef>
              <a:spcAft>
                <a:spcPts val="0"/>
              </a:spcAft>
              <a:defRPr sz="4000">
                <a:latin typeface="+mn-lt"/>
                <a:ea typeface="+mn-ea"/>
                <a:cs typeface="+mn-cs"/>
                <a:sym typeface="+mn-lt"/>
              </a:defRPr>
            </a:lvl4pPr>
            <a:lvl5pPr>
              <a:lnSpc>
                <a:spcPct val="100000"/>
              </a:lnSpc>
              <a:spcBef>
                <a:spcPts val="0"/>
              </a:spcBef>
              <a:spcAft>
                <a:spcPts val="0"/>
              </a:spcAft>
              <a:defRPr sz="4000">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lumMod val="50000"/>
                  </a:prstClr>
                </a:solidFill>
                <a:effectLst/>
                <a:uLnTx/>
                <a:uFillTx/>
                <a:latin typeface="Garamond"/>
                <a:ea typeface="+mn-ea"/>
                <a:cs typeface="+mn-cs"/>
                <a:sym typeface="+mn-lt"/>
              </a:rPr>
              <a:t>Copyright © 2020 by Boston Consulting Group. All rights reserved.</a:t>
            </a:r>
          </a:p>
        </p:txBody>
      </p:sp>
      <p:sp>
        <p:nvSpPr>
          <p:cNvPr id="5" name="Date Placeholder 3"/>
          <p:cNvSpPr>
            <a:spLocks noGrp="1"/>
          </p:cNvSpPr>
          <p:nvPr>
            <p:ph type="dt" sz="half" idx="14"/>
          </p:nvPr>
        </p:nvSpPr>
        <p:spPr>
          <a:xfrm>
            <a:off x="20037833" y="12810073"/>
            <a:ext cx="1928824" cy="307777"/>
          </a:xfrm>
        </p:spPr>
        <p:txBody>
          <a:bodyPr/>
          <a:lstStyle>
            <a:lvl1pPr>
              <a:defRPr>
                <a:solidFill>
                  <a:schemeClr val="bg1">
                    <a:lumMod val="50000"/>
                  </a:schemeClr>
                </a:solidFill>
                <a:latin typeface="+mn-lt"/>
                <a:ea typeface="+mn-ea"/>
                <a:cs typeface="+mn-cs"/>
                <a:sym typeface="+mn-lt"/>
              </a:defRPr>
            </a:lvl1pPr>
          </a:lstStyle>
          <a:p>
            <a:pPr defTabSz="2116120" hangingPunct="1"/>
            <a:fld id="{17FBF787-7143-4803-B0B0-5493F9E4EEC3}" type="datetime1">
              <a:rPr lang="en-US" b="0" kern="1200" cap="none" smtClean="0">
                <a:solidFill>
                  <a:prstClr val="white">
                    <a:lumMod val="50000"/>
                  </a:prstClr>
                </a:solidFill>
                <a:effectLst/>
              </a:rPr>
              <a:t>5/6/21</a:t>
            </a:fld>
            <a:endParaRPr lang="en-US" b="0" kern="1200" cap="none" dirty="0">
              <a:solidFill>
                <a:prstClr val="white">
                  <a:lumMod val="50000"/>
                </a:prstClr>
              </a:solidFill>
              <a:effectLst/>
            </a:endParaRPr>
          </a:p>
        </p:txBody>
      </p:sp>
    </p:spTree>
    <p:extLst>
      <p:ext uri="{BB962C8B-B14F-4D97-AF65-F5344CB8AC3E}">
        <p14:creationId xmlns:p14="http://schemas.microsoft.com/office/powerpoint/2010/main" val="14396421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33828"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sp>
        <p:nvSpPr>
          <p:cNvPr id="7" name="PanelGray"/>
          <p:cNvSpPr/>
          <p:nvPr userDrawn="1"/>
        </p:nvSpPr>
        <p:spPr bwMode="white">
          <a:xfrm>
            <a:off x="7" y="-2619"/>
            <a:ext cx="9470435" cy="1371861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0" marR="0" lvl="0" indent="0" algn="l" defTabSz="2116120" rtl="0" eaLnBrk="1" fontAlgn="auto" latinLnBrk="0" hangingPunct="1">
              <a:lnSpc>
                <a:spcPct val="90000"/>
              </a:lnSpc>
              <a:spcBef>
                <a:spcPts val="0"/>
              </a:spcBef>
              <a:spcAft>
                <a:spcPts val="200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pPr defTabSz="2116120" hangingPunct="1"/>
            <a:fld id="{8C01E817-5535-459D-B0B9-38CB048C5A29}" type="datetime1">
              <a:rPr lang="en-US" b="0" kern="1200" cap="none" smtClean="0">
                <a:solidFill>
                  <a:prstClr val="white">
                    <a:lumMod val="50000"/>
                  </a:prstClr>
                </a:solidFill>
                <a:effectLst/>
              </a:rPr>
              <a:t>5/6/21</a:t>
            </a:fld>
            <a:endParaRPr lang="en-US" b="0" kern="1200" cap="none" dirty="0">
              <a:solidFill>
                <a:prstClr val="white">
                  <a:lumMod val="50000"/>
                </a:prstClr>
              </a:solidFill>
              <a:effectLst/>
            </a:endParaRPr>
          </a:p>
        </p:txBody>
      </p:sp>
      <p:sp>
        <p:nvSpPr>
          <p:cNvPr id="11"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lumMod val="50000"/>
                  </a:prstClr>
                </a:solidFill>
                <a:effectLst/>
                <a:uLnTx/>
                <a:uFillTx/>
                <a:latin typeface="Garamond"/>
                <a:ea typeface="+mn-ea"/>
                <a:cs typeface="+mn-cs"/>
                <a:sym typeface="+mn-lt"/>
              </a:rPr>
              <a:t>Copyright © 2020 by Boston Consulting Group. All rights reserved.</a:t>
            </a:r>
          </a:p>
        </p:txBody>
      </p:sp>
      <p:sp>
        <p:nvSpPr>
          <p:cNvPr id="8" name="Subtitle 2"/>
          <p:cNvSpPr>
            <a:spLocks noGrp="1"/>
          </p:cNvSpPr>
          <p:nvPr>
            <p:ph type="subTitle" idx="13" hasCustomPrompt="1"/>
          </p:nvPr>
        </p:nvSpPr>
        <p:spPr>
          <a:xfrm>
            <a:off x="1260000" y="4317983"/>
            <a:ext cx="7590165" cy="1083373"/>
          </a:xfrm>
          <a:prstGeom prst="rect">
            <a:avLst/>
          </a:prstGeom>
        </p:spPr>
        <p:txBody>
          <a:bodyPr>
            <a:noAutofit/>
          </a:bodyPr>
          <a:lstStyle>
            <a:lvl1pPr marL="0" indent="0" algn="l">
              <a:buNone/>
              <a:defRPr sz="3200">
                <a:solidFill>
                  <a:schemeClr val="tx2"/>
                </a:solidFill>
                <a:latin typeface="+mn-lt"/>
                <a:ea typeface="+mn-ea"/>
                <a:cs typeface="+mn-cs"/>
                <a:sym typeface="+mn-lt"/>
              </a:defRPr>
            </a:lvl1pPr>
            <a:lvl2pPr marL="914390" indent="0" algn="ctr">
              <a:buNone/>
              <a:defRPr sz="4000"/>
            </a:lvl2pPr>
            <a:lvl3pPr marL="1828778" indent="0" algn="ctr">
              <a:buNone/>
              <a:defRPr sz="3600"/>
            </a:lvl3pPr>
            <a:lvl4pPr marL="2743168" indent="0" algn="ctr">
              <a:buNone/>
              <a:defRPr sz="3200"/>
            </a:lvl4pPr>
            <a:lvl5pPr marL="3657555" indent="0" algn="ctr">
              <a:buNone/>
              <a:defRPr sz="3200"/>
            </a:lvl5pPr>
            <a:lvl6pPr marL="4571942" indent="0" algn="ctr">
              <a:buNone/>
              <a:defRPr sz="3200"/>
            </a:lvl6pPr>
            <a:lvl7pPr marL="5486330" indent="0" algn="ctr">
              <a:buNone/>
              <a:defRPr sz="3200"/>
            </a:lvl7pPr>
            <a:lvl8pPr marL="6400720" indent="0" algn="ctr">
              <a:buNone/>
              <a:defRPr sz="3200"/>
            </a:lvl8pPr>
            <a:lvl9pPr marL="7315110" indent="0" algn="ctr">
              <a:buNone/>
              <a:defRPr sz="3200"/>
            </a:lvl9pPr>
          </a:lstStyle>
          <a:p>
            <a:r>
              <a:rPr lang="en-US" dirty="0"/>
              <a:t>Click to add subtitle</a:t>
            </a:r>
          </a:p>
        </p:txBody>
      </p:sp>
      <p:sp>
        <p:nvSpPr>
          <p:cNvPr id="9" name="Title 4"/>
          <p:cNvSpPr>
            <a:spLocks noGrp="1"/>
          </p:cNvSpPr>
          <p:nvPr>
            <p:ph type="title" hasCustomPrompt="1"/>
          </p:nvPr>
        </p:nvSpPr>
        <p:spPr>
          <a:xfrm>
            <a:off x="1260000" y="2454104"/>
            <a:ext cx="7590165" cy="1329595"/>
          </a:xfrm>
        </p:spPr>
        <p:txBody>
          <a:bodyPr anchor="t">
            <a:noAutofit/>
          </a:bodyPr>
          <a:lstStyle>
            <a:lvl1pPr>
              <a:defRPr sz="48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1805218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3485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8800"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pPr defTabSz="2116120" hangingPunct="1"/>
            <a:fld id="{990D3A12-8B44-4DFF-93DF-CE2094FAF0B3}" type="datetime1">
              <a:rPr lang="en-US" b="0" kern="1200" cap="none" smtClean="0">
                <a:solidFill>
                  <a:prstClr val="white">
                    <a:lumMod val="50000"/>
                  </a:prstClr>
                </a:solidFill>
                <a:effectLst/>
              </a:rPr>
              <a:t>5/6/21</a:t>
            </a:fld>
            <a:endParaRPr lang="en-US" b="0" kern="1200" cap="none" dirty="0">
              <a:solidFill>
                <a:prstClr val="white">
                  <a:lumMod val="50000"/>
                </a:prstClr>
              </a:solidFill>
              <a:effectLst/>
            </a:endParaRPr>
          </a:p>
        </p:txBody>
      </p:sp>
      <p:sp>
        <p:nvSpPr>
          <p:cNvPr id="12"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lumMod val="50000"/>
                  </a:prstClr>
                </a:solidFill>
                <a:effectLst/>
                <a:uLnTx/>
                <a:uFillTx/>
                <a:latin typeface="Garamond"/>
                <a:ea typeface="+mn-ea"/>
                <a:cs typeface="+mn-cs"/>
                <a:sym typeface="+mn-lt"/>
              </a:rPr>
              <a:t>Copyright © 2020 by Boston Consulting Group. All rights reserved.</a:t>
            </a:r>
          </a:p>
        </p:txBody>
      </p:sp>
      <p:sp>
        <p:nvSpPr>
          <p:cNvPr id="8" name="Title 1"/>
          <p:cNvSpPr>
            <a:spLocks noGrp="1"/>
          </p:cNvSpPr>
          <p:nvPr>
            <p:ph type="title" hasCustomPrompt="1"/>
          </p:nvPr>
        </p:nvSpPr>
        <p:spPr bwMode="blackWhite">
          <a:xfrm>
            <a:off x="2221347" y="5336083"/>
            <a:ext cx="19937275" cy="6402053"/>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1828778" rtl="0" eaLnBrk="1" fontAlgn="auto" latinLnBrk="0" hangingPunct="1">
              <a:lnSpc>
                <a:spcPts val="12000"/>
              </a:lnSpc>
              <a:spcBef>
                <a:spcPts val="0"/>
              </a:spcBef>
              <a:spcAft>
                <a:spcPts val="0"/>
              </a:spcAft>
              <a:defRPr lang="en-US" sz="8800" kern="1200" baseline="0" dirty="0">
                <a:solidFill>
                  <a:schemeClr val="tx2"/>
                </a:solidFill>
                <a:latin typeface="+mj-lt"/>
                <a:ea typeface="+mj-ea"/>
                <a:cs typeface="+mj-cs"/>
                <a:sym typeface="+mj-lt"/>
              </a:defRPr>
            </a:lvl1pPr>
          </a:lstStyle>
          <a:p>
            <a:r>
              <a:rPr lang="en-US" dirty="0"/>
              <a:t>Click to add section title</a:t>
            </a:r>
          </a:p>
        </p:txBody>
      </p:sp>
      <p:sp>
        <p:nvSpPr>
          <p:cNvPr id="11" name="Square"/>
          <p:cNvSpPr>
            <a:spLocks/>
          </p:cNvSpPr>
          <p:nvPr userDrawn="1"/>
        </p:nvSpPr>
        <p:spPr bwMode="white">
          <a:xfrm>
            <a:off x="2221347" y="2915605"/>
            <a:ext cx="1828800" cy="1836000"/>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aramond"/>
              <a:ea typeface="+mn-ea"/>
              <a:cs typeface="+mn-cs"/>
              <a:sym typeface="+mn-lt"/>
            </a:endParaRPr>
          </a:p>
        </p:txBody>
      </p:sp>
    </p:spTree>
    <p:extLst>
      <p:ext uri="{BB962C8B-B14F-4D97-AF65-F5344CB8AC3E}">
        <p14:creationId xmlns:p14="http://schemas.microsoft.com/office/powerpoint/2010/main" val="19898675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3587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8800"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pPr defTabSz="2116120" hangingPunct="1"/>
            <a:fld id="{9E3B0C9A-6146-4679-A275-FC3CDD21A6BB}" type="datetime1">
              <a:rPr lang="en-US" b="0" kern="1200" cap="none" smtClean="0">
                <a:solidFill>
                  <a:prstClr val="white">
                    <a:lumMod val="50000"/>
                  </a:prstClr>
                </a:solidFill>
                <a:effectLst/>
              </a:rPr>
              <a:t>5/6/21</a:t>
            </a:fld>
            <a:endParaRPr lang="en-US" b="0" kern="1200" cap="none" dirty="0">
              <a:solidFill>
                <a:prstClr val="white">
                  <a:lumMod val="50000"/>
                </a:prstClr>
              </a:solidFill>
              <a:effectLst/>
            </a:endParaRPr>
          </a:p>
        </p:txBody>
      </p:sp>
      <p:sp>
        <p:nvSpPr>
          <p:cNvPr id="7" name="Title 1"/>
          <p:cNvSpPr>
            <a:spLocks noGrp="1"/>
          </p:cNvSpPr>
          <p:nvPr>
            <p:ph type="title" hasCustomPrompt="1"/>
          </p:nvPr>
        </p:nvSpPr>
        <p:spPr bwMode="blackWhite">
          <a:xfrm>
            <a:off x="1599736" y="7653600"/>
            <a:ext cx="21180496" cy="4082400"/>
          </a:xfrm>
        </p:spPr>
        <p:txBody>
          <a:bodyPr anchor="t">
            <a:noAutofit/>
          </a:bodyPr>
          <a:lstStyle>
            <a:lvl1pPr>
              <a:defRPr sz="8800">
                <a:solidFill>
                  <a:schemeClr val="tx2"/>
                </a:solidFill>
                <a:latin typeface="+mj-lt"/>
                <a:ea typeface="+mj-ea"/>
                <a:cs typeface="+mj-cs"/>
                <a:sym typeface="+mj-lt"/>
              </a:defRPr>
            </a:lvl1pPr>
          </a:lstStyle>
          <a:p>
            <a:r>
              <a:rPr lang="en-US" dirty="0"/>
              <a:t>Click to add section title</a:t>
            </a:r>
          </a:p>
        </p:txBody>
      </p:sp>
      <p:cxnSp>
        <p:nvCxnSpPr>
          <p:cNvPr id="10" name="Line"/>
          <p:cNvCxnSpPr/>
          <p:nvPr userDrawn="1"/>
        </p:nvCxnSpPr>
        <p:spPr bwMode="white">
          <a:xfrm>
            <a:off x="1599740" y="7365600"/>
            <a:ext cx="22784264"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66688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x">
  <p:cSld name="Blank with photo">
    <p:spTree>
      <p:nvGrpSpPr>
        <p:cNvPr id="1" name=""/>
        <p:cNvGrpSpPr/>
        <p:nvPr/>
      </p:nvGrpSpPr>
      <p:grpSpPr>
        <a:xfrm>
          <a:off x="0" y="0"/>
          <a:ext cx="0" cy="0"/>
          <a:chOff x="0" y="0"/>
          <a:chExt cx="0" cy="0"/>
        </a:xfrm>
      </p:grpSpPr>
      <p:sp>
        <p:nvSpPr>
          <p:cNvPr id="54" name="Picture Placeholder 3"/>
          <p:cNvSpPr>
            <a:spLocks noGrp="1"/>
          </p:cNvSpPr>
          <p:nvPr>
            <p:ph type="pic" sz="quarter" idx="21"/>
          </p:nvPr>
        </p:nvSpPr>
        <p:spPr>
          <a:xfrm>
            <a:off x="5314458" y="3906439"/>
            <a:ext cx="2447928" cy="2447928"/>
          </a:xfrm>
          <a:prstGeom prst="rect">
            <a:avLst/>
          </a:prstGeom>
        </p:spPr>
        <p:txBody>
          <a:bodyPr lIns="91439" tIns="45719" rIns="91439" bIns="45719"/>
          <a:lstStyle/>
          <a:p>
            <a:endParaRPr/>
          </a:p>
        </p:txBody>
      </p:sp>
      <p:sp>
        <p:nvSpPr>
          <p:cNvPr id="55" name="Picture Placeholder 3"/>
          <p:cNvSpPr>
            <a:spLocks noGrp="1"/>
          </p:cNvSpPr>
          <p:nvPr>
            <p:ph type="pic" sz="quarter" idx="22"/>
          </p:nvPr>
        </p:nvSpPr>
        <p:spPr>
          <a:xfrm>
            <a:off x="8265993" y="3906439"/>
            <a:ext cx="2447928" cy="2447928"/>
          </a:xfrm>
          <a:prstGeom prst="rect">
            <a:avLst/>
          </a:prstGeom>
        </p:spPr>
        <p:txBody>
          <a:bodyPr lIns="91439" tIns="45719" rIns="91439" bIns="45719"/>
          <a:lstStyle/>
          <a:p>
            <a:endParaRPr/>
          </a:p>
        </p:txBody>
      </p:sp>
      <p:sp>
        <p:nvSpPr>
          <p:cNvPr id="56" name="Picture Placeholder 3"/>
          <p:cNvSpPr>
            <a:spLocks noGrp="1"/>
          </p:cNvSpPr>
          <p:nvPr>
            <p:ph type="pic" sz="quarter" idx="23"/>
          </p:nvPr>
        </p:nvSpPr>
        <p:spPr>
          <a:xfrm>
            <a:off x="11183887" y="3906439"/>
            <a:ext cx="2447928" cy="2447928"/>
          </a:xfrm>
          <a:prstGeom prst="rect">
            <a:avLst/>
          </a:prstGeom>
        </p:spPr>
        <p:txBody>
          <a:bodyPr lIns="91439" tIns="45719" rIns="91439" bIns="45719"/>
          <a:lstStyle/>
          <a:p>
            <a:endParaRPr/>
          </a:p>
        </p:txBody>
      </p:sp>
      <p:sp>
        <p:nvSpPr>
          <p:cNvPr id="57" name="Picture Placeholder 3"/>
          <p:cNvSpPr>
            <a:spLocks noGrp="1"/>
          </p:cNvSpPr>
          <p:nvPr>
            <p:ph type="pic" sz="quarter" idx="24"/>
          </p:nvPr>
        </p:nvSpPr>
        <p:spPr>
          <a:xfrm>
            <a:off x="14135422" y="3906439"/>
            <a:ext cx="2447928" cy="2447928"/>
          </a:xfrm>
          <a:prstGeom prst="rect">
            <a:avLst/>
          </a:prstGeom>
        </p:spPr>
        <p:txBody>
          <a:bodyPr lIns="91439" tIns="45719" rIns="91439" bIns="45719"/>
          <a:lstStyle/>
          <a:p>
            <a:endParaRPr/>
          </a:p>
        </p:txBody>
      </p:sp>
      <p:sp>
        <p:nvSpPr>
          <p:cNvPr id="58" name="Picture Placeholder 3"/>
          <p:cNvSpPr>
            <a:spLocks noGrp="1"/>
          </p:cNvSpPr>
          <p:nvPr>
            <p:ph type="pic" sz="quarter" idx="25"/>
          </p:nvPr>
        </p:nvSpPr>
        <p:spPr>
          <a:xfrm>
            <a:off x="17086958" y="3906439"/>
            <a:ext cx="2447928" cy="2447928"/>
          </a:xfrm>
          <a:prstGeom prst="rect">
            <a:avLst/>
          </a:prstGeom>
        </p:spPr>
        <p:txBody>
          <a:bodyPr lIns="91439" tIns="45719" rIns="91439" bIns="45719"/>
          <a:lstStyle/>
          <a:p>
            <a:endParaRPr/>
          </a:p>
        </p:txBody>
      </p:sp>
      <p:sp>
        <p:nvSpPr>
          <p:cNvPr id="59" name="Picture Placeholder 3"/>
          <p:cNvSpPr>
            <a:spLocks noGrp="1"/>
          </p:cNvSpPr>
          <p:nvPr>
            <p:ph type="pic" sz="quarter" idx="26"/>
          </p:nvPr>
        </p:nvSpPr>
        <p:spPr>
          <a:xfrm>
            <a:off x="5314458" y="6858000"/>
            <a:ext cx="2447928" cy="2447925"/>
          </a:xfrm>
          <a:prstGeom prst="rect">
            <a:avLst/>
          </a:prstGeom>
        </p:spPr>
        <p:txBody>
          <a:bodyPr lIns="91439" tIns="45719" rIns="91439" bIns="45719"/>
          <a:lstStyle/>
          <a:p>
            <a:endParaRPr/>
          </a:p>
        </p:txBody>
      </p:sp>
      <p:sp>
        <p:nvSpPr>
          <p:cNvPr id="60" name="Picture Placeholder 3"/>
          <p:cNvSpPr>
            <a:spLocks noGrp="1"/>
          </p:cNvSpPr>
          <p:nvPr>
            <p:ph type="pic" sz="quarter" idx="27"/>
          </p:nvPr>
        </p:nvSpPr>
        <p:spPr>
          <a:xfrm>
            <a:off x="8265993" y="6858000"/>
            <a:ext cx="2447928" cy="2447925"/>
          </a:xfrm>
          <a:prstGeom prst="rect">
            <a:avLst/>
          </a:prstGeom>
        </p:spPr>
        <p:txBody>
          <a:bodyPr lIns="91439" tIns="45719" rIns="91439" bIns="45719"/>
          <a:lstStyle/>
          <a:p>
            <a:endParaRPr/>
          </a:p>
        </p:txBody>
      </p:sp>
      <p:sp>
        <p:nvSpPr>
          <p:cNvPr id="61" name="Picture Placeholder 3"/>
          <p:cNvSpPr>
            <a:spLocks noGrp="1"/>
          </p:cNvSpPr>
          <p:nvPr>
            <p:ph type="pic" sz="quarter" idx="28"/>
          </p:nvPr>
        </p:nvSpPr>
        <p:spPr>
          <a:xfrm>
            <a:off x="11183887" y="6858000"/>
            <a:ext cx="2447928" cy="2447925"/>
          </a:xfrm>
          <a:prstGeom prst="rect">
            <a:avLst/>
          </a:prstGeom>
        </p:spPr>
        <p:txBody>
          <a:bodyPr lIns="91439" tIns="45719" rIns="91439" bIns="45719"/>
          <a:lstStyle/>
          <a:p>
            <a:endParaRPr/>
          </a:p>
        </p:txBody>
      </p:sp>
      <p:sp>
        <p:nvSpPr>
          <p:cNvPr id="62" name="Picture Placeholder 3"/>
          <p:cNvSpPr>
            <a:spLocks noGrp="1"/>
          </p:cNvSpPr>
          <p:nvPr>
            <p:ph type="pic" sz="quarter" idx="29"/>
          </p:nvPr>
        </p:nvSpPr>
        <p:spPr>
          <a:xfrm>
            <a:off x="14135422" y="6858000"/>
            <a:ext cx="2447928" cy="2447925"/>
          </a:xfrm>
          <a:prstGeom prst="rect">
            <a:avLst/>
          </a:prstGeom>
        </p:spPr>
        <p:txBody>
          <a:bodyPr lIns="91439" tIns="45719" rIns="91439" bIns="45719"/>
          <a:lstStyle/>
          <a:p>
            <a:endParaRPr/>
          </a:p>
        </p:txBody>
      </p:sp>
      <p:sp>
        <p:nvSpPr>
          <p:cNvPr id="63" name="Picture Placeholder 3"/>
          <p:cNvSpPr>
            <a:spLocks noGrp="1"/>
          </p:cNvSpPr>
          <p:nvPr>
            <p:ph type="pic" sz="quarter" idx="30"/>
          </p:nvPr>
        </p:nvSpPr>
        <p:spPr>
          <a:xfrm>
            <a:off x="17086958" y="6858000"/>
            <a:ext cx="2447928" cy="2447925"/>
          </a:xfrm>
          <a:prstGeom prst="rect">
            <a:avLst/>
          </a:prstGeom>
        </p:spPr>
        <p:txBody>
          <a:bodyPr lIns="91439" tIns="45719" rIns="91439" bIns="45719"/>
          <a:lstStyle/>
          <a:p>
            <a:endParaRPr/>
          </a:p>
        </p:txBody>
      </p:sp>
      <p:sp>
        <p:nvSpPr>
          <p:cNvPr id="64" name="Slide Number"/>
          <p:cNvSpPr txBox="1">
            <a:spLocks noGrp="1"/>
          </p:cNvSpPr>
          <p:nvPr>
            <p:ph type="sldNum" sz="quarter" idx="2"/>
          </p:nvPr>
        </p:nvSpPr>
        <p:spPr>
          <a:xfrm>
            <a:off x="22807637" y="12496800"/>
            <a:ext cx="371426" cy="381000"/>
          </a:xfrm>
          <a:prstGeom prst="rect">
            <a:avLst/>
          </a:prstGeom>
        </p:spPr>
        <p:txBody>
          <a:bodyPr lIns="38100" tIns="38100" rIns="38100" bIns="38100" anchor="t"/>
          <a:lstStyle>
            <a:lvl1pPr defTabSz="825500">
              <a:defRPr sz="2000" b="0">
                <a:solidFill>
                  <a:schemeClr val="accent5"/>
                </a:solidFill>
                <a:latin typeface="+mj-lt"/>
                <a:ea typeface="+mj-ea"/>
                <a:cs typeface="+mj-cs"/>
                <a:sym typeface="Helvetica"/>
              </a:defRPr>
            </a:lvl1pPr>
          </a:lstStyle>
          <a:p>
            <a:pPr>
              <a:defRPr>
                <a:effectLst/>
              </a:defRPr>
            </a:pPr>
            <a:fld id="{86CB4B4D-7CA3-9044-876B-883B54F8677D}" type="slidenum">
              <a:t>‹#›</a:t>
            </a:fld>
            <a:endParaRPr/>
          </a:p>
        </p:txBody>
      </p:sp>
    </p:spTree>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3690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pic>
        <p:nvPicPr>
          <p:cNvPr id="61"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8246276" y="0"/>
            <a:ext cx="1060397" cy="13716000"/>
          </a:xfrm>
          <a:prstGeom prst="rect">
            <a:avLst/>
          </a:prstGeom>
        </p:spPr>
      </p:pic>
      <p:sp>
        <p:nvSpPr>
          <p:cNvPr id="63" name="PanelWhite"/>
          <p:cNvSpPr/>
          <p:nvPr userDrawn="1"/>
        </p:nvSpPr>
        <p:spPr bwMode="white">
          <a:xfrm>
            <a:off x="4" y="0"/>
            <a:ext cx="8276216" cy="13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20" name="Page"/>
          <p:cNvSpPr txBox="1"/>
          <p:nvPr userDrawn="1"/>
        </p:nvSpPr>
        <p:spPr>
          <a:xfrm>
            <a:off x="21966653" y="12810073"/>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18" name="Date Placeholder 1"/>
          <p:cNvSpPr>
            <a:spLocks noGrp="1"/>
          </p:cNvSpPr>
          <p:nvPr>
            <p:ph type="dt" sz="half" idx="31"/>
          </p:nvPr>
        </p:nvSpPr>
        <p:spPr>
          <a:xfrm>
            <a:off x="20037833" y="12810073"/>
            <a:ext cx="1928824" cy="307777"/>
          </a:xfrm>
          <a:prstGeom prst="rect">
            <a:avLst/>
          </a:prstGeom>
        </p:spPr>
        <p:txBody>
          <a:bodyPr/>
          <a:lstStyle>
            <a:lvl1pPr>
              <a:defRPr>
                <a:solidFill>
                  <a:schemeClr val="bg1"/>
                </a:solidFill>
                <a:latin typeface="+mn-lt"/>
                <a:ea typeface="+mn-ea"/>
                <a:cs typeface="+mn-cs"/>
                <a:sym typeface="+mn-lt"/>
              </a:defRPr>
            </a:lvl1pPr>
          </a:lstStyle>
          <a:p>
            <a:pPr defTabSz="2116120" hangingPunct="1"/>
            <a:fld id="{1A1CFAB7-B97E-4B23-8C54-AABBE2AE1ED3}" type="datetime1">
              <a:rPr lang="en-US" b="0" kern="1200" cap="none" smtClean="0">
                <a:solidFill>
                  <a:prstClr val="white"/>
                </a:solidFill>
                <a:effectLst/>
              </a:rPr>
              <a:t>5/6/21</a:t>
            </a:fld>
            <a:endParaRPr lang="en-US" b="0" kern="1200" cap="none" dirty="0">
              <a:solidFill>
                <a:prstClr val="white"/>
              </a:solidFill>
              <a:effectLst/>
            </a:endParaRPr>
          </a:p>
        </p:txBody>
      </p:sp>
      <p:sp>
        <p:nvSpPr>
          <p:cNvPr id="22"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aramond"/>
                <a:ea typeface="+mn-ea"/>
                <a:cs typeface="+mn-cs"/>
                <a:sym typeface="+mn-lt"/>
              </a:rPr>
              <a:t>Copyright © 2020 by Boston Consulting Group. All rights reserved.</a:t>
            </a:r>
          </a:p>
        </p:txBody>
      </p:sp>
      <p:sp>
        <p:nvSpPr>
          <p:cNvPr id="25" name="Title 4"/>
          <p:cNvSpPr>
            <a:spLocks noGrp="1"/>
          </p:cNvSpPr>
          <p:nvPr>
            <p:ph type="title" hasCustomPrompt="1"/>
          </p:nvPr>
        </p:nvSpPr>
        <p:spPr>
          <a:xfrm>
            <a:off x="1260001" y="5362208"/>
            <a:ext cx="6400451" cy="2991589"/>
          </a:xfrm>
          <a:prstGeom prst="rect">
            <a:avLst/>
          </a:prstGeom>
        </p:spPr>
        <p:txBody>
          <a:bodyPr anchor="ctr">
            <a:noAutofit/>
          </a:bodyPr>
          <a:lstStyle>
            <a:lvl1pPr>
              <a:defRPr sz="48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9108337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37924"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pic>
        <p:nvPicPr>
          <p:cNvPr id="60"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14254530" y="0"/>
            <a:ext cx="1060397" cy="13716000"/>
          </a:xfrm>
          <a:prstGeom prst="rect">
            <a:avLst/>
          </a:prstGeom>
        </p:spPr>
      </p:pic>
      <p:sp>
        <p:nvSpPr>
          <p:cNvPr id="62" name="PanelWhite"/>
          <p:cNvSpPr/>
          <p:nvPr userDrawn="1"/>
        </p:nvSpPr>
        <p:spPr bwMode="white">
          <a:xfrm>
            <a:off x="3" y="0"/>
            <a:ext cx="14284469" cy="13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19" name="Page"/>
          <p:cNvSpPr txBox="1"/>
          <p:nvPr userDrawn="1"/>
        </p:nvSpPr>
        <p:spPr>
          <a:xfrm>
            <a:off x="21966653" y="12810073"/>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18" name="Date Placeholder 2"/>
          <p:cNvSpPr>
            <a:spLocks noGrp="1"/>
          </p:cNvSpPr>
          <p:nvPr>
            <p:ph type="dt" sz="half" idx="10"/>
          </p:nvPr>
        </p:nvSpPr>
        <p:spPr>
          <a:xfrm>
            <a:off x="20037833" y="12810073"/>
            <a:ext cx="1928824" cy="307777"/>
          </a:xfrm>
          <a:prstGeom prst="rect">
            <a:avLst/>
          </a:prstGeom>
        </p:spPr>
        <p:txBody>
          <a:bodyPr/>
          <a:lstStyle>
            <a:lvl1pPr>
              <a:defRPr>
                <a:solidFill>
                  <a:schemeClr val="bg1"/>
                </a:solidFill>
                <a:latin typeface="+mn-lt"/>
                <a:ea typeface="+mn-ea"/>
                <a:cs typeface="+mn-cs"/>
                <a:sym typeface="+mn-lt"/>
              </a:defRPr>
            </a:lvl1pPr>
          </a:lstStyle>
          <a:p>
            <a:pPr defTabSz="2116120" hangingPunct="1"/>
            <a:fld id="{69F952DF-EE1F-4F9A-AA0F-193BDA22FEF2}" type="datetime1">
              <a:rPr lang="en-US" b="0" kern="1200" cap="none" smtClean="0">
                <a:solidFill>
                  <a:prstClr val="white"/>
                </a:solidFill>
                <a:effectLst/>
              </a:rPr>
              <a:t>5/6/21</a:t>
            </a:fld>
            <a:endParaRPr lang="en-US" b="0" kern="1200" cap="none" dirty="0">
              <a:solidFill>
                <a:prstClr val="white"/>
              </a:solidFill>
              <a:effectLst/>
            </a:endParaRPr>
          </a:p>
        </p:txBody>
      </p:sp>
      <p:sp>
        <p:nvSpPr>
          <p:cNvPr id="21"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aramond"/>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1260001" y="1245607"/>
            <a:ext cx="12461160" cy="664797"/>
          </a:xfrm>
          <a:prstGeom prst="rect">
            <a:avLst/>
          </a:prstGeom>
        </p:spPr>
        <p:txBody>
          <a:bodyPr/>
          <a:lstStyle>
            <a:lvl1pPr>
              <a:defRPr>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40229383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38948"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pic>
        <p:nvPicPr>
          <p:cNvPr id="60"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17878596" y="0"/>
            <a:ext cx="1060397" cy="13716000"/>
          </a:xfrm>
          <a:prstGeom prst="rect">
            <a:avLst/>
          </a:prstGeom>
        </p:spPr>
      </p:pic>
      <p:sp>
        <p:nvSpPr>
          <p:cNvPr id="61" name="PanelWhite"/>
          <p:cNvSpPr/>
          <p:nvPr userDrawn="1"/>
        </p:nvSpPr>
        <p:spPr bwMode="white">
          <a:xfrm>
            <a:off x="0" y="0"/>
            <a:ext cx="17908539" cy="13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15" name="Page"/>
          <p:cNvSpPr txBox="1"/>
          <p:nvPr userDrawn="1"/>
        </p:nvSpPr>
        <p:spPr>
          <a:xfrm>
            <a:off x="21966653" y="12810073"/>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13" name="Date Placeholder 4"/>
          <p:cNvSpPr>
            <a:spLocks noGrp="1"/>
          </p:cNvSpPr>
          <p:nvPr userDrawn="1">
            <p:ph type="dt" sz="half" idx="10"/>
          </p:nvPr>
        </p:nvSpPr>
        <p:spPr>
          <a:xfrm>
            <a:off x="20037833" y="12810073"/>
            <a:ext cx="1928824" cy="307777"/>
          </a:xfrm>
        </p:spPr>
        <p:txBody>
          <a:bodyPr/>
          <a:lstStyle>
            <a:lvl1pPr>
              <a:defRPr>
                <a:solidFill>
                  <a:schemeClr val="bg1"/>
                </a:solidFill>
                <a:latin typeface="+mn-lt"/>
                <a:ea typeface="+mn-ea"/>
                <a:cs typeface="+mn-cs"/>
                <a:sym typeface="+mn-lt"/>
              </a:defRPr>
            </a:lvl1pPr>
          </a:lstStyle>
          <a:p>
            <a:pPr defTabSz="2116120" hangingPunct="1"/>
            <a:fld id="{8B00E357-762B-4C0C-B4D6-E82AC753FAD6}" type="datetime1">
              <a:rPr lang="en-US" b="0" kern="1200" cap="none" smtClean="0">
                <a:solidFill>
                  <a:prstClr val="white"/>
                </a:solidFill>
                <a:effectLst/>
              </a:rPr>
              <a:t>5/6/21</a:t>
            </a:fld>
            <a:endParaRPr lang="en-US" b="0" kern="1200" cap="none" dirty="0">
              <a:solidFill>
                <a:prstClr val="white"/>
              </a:solidFill>
              <a:effectLst/>
            </a:endParaRPr>
          </a:p>
        </p:txBody>
      </p:sp>
      <p:sp>
        <p:nvSpPr>
          <p:cNvPr id="22"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aramond"/>
                <a:ea typeface="+mn-ea"/>
                <a:cs typeface="+mn-cs"/>
                <a:sym typeface="+mn-lt"/>
              </a:rPr>
              <a:t>Copyright © 2020 by Boston Consulting Group. All rights reserved.</a:t>
            </a:r>
          </a:p>
        </p:txBody>
      </p:sp>
      <p:sp>
        <p:nvSpPr>
          <p:cNvPr id="2" name="Title 1"/>
          <p:cNvSpPr>
            <a:spLocks noGrp="1"/>
          </p:cNvSpPr>
          <p:nvPr userDrawn="1">
            <p:ph type="title" hasCustomPrompt="1"/>
          </p:nvPr>
        </p:nvSpPr>
        <p:spPr>
          <a:xfrm>
            <a:off x="1260001" y="1245607"/>
            <a:ext cx="16084424" cy="664797"/>
          </a:xfrm>
          <a:prstGeom prst="rect">
            <a:avLst/>
          </a:prstGeom>
        </p:spPr>
        <p:txBody>
          <a:bodyPr/>
          <a:lstStyle>
            <a:lvl1pPr>
              <a:defRPr>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921379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3997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pic>
        <p:nvPicPr>
          <p:cNvPr id="61"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221668" y="0"/>
            <a:ext cx="1058749" cy="13716000"/>
          </a:xfrm>
          <a:prstGeom prst="rect">
            <a:avLst/>
          </a:prstGeom>
        </p:spPr>
      </p:pic>
      <p:sp>
        <p:nvSpPr>
          <p:cNvPr id="63" name="PanelWhite"/>
          <p:cNvSpPr/>
          <p:nvPr userDrawn="1"/>
        </p:nvSpPr>
        <p:spPr bwMode="white">
          <a:xfrm>
            <a:off x="8283191" y="-2619"/>
            <a:ext cx="16100813" cy="13718619"/>
          </a:xfrm>
          <a:custGeom>
            <a:avLst/>
            <a:gdLst>
              <a:gd name="connsiteX0" fmla="*/ 0 w 6553548"/>
              <a:gd name="connsiteY0" fmla="*/ 0 h 6859309"/>
              <a:gd name="connsiteX1" fmla="*/ 6553548 w 6553548"/>
              <a:gd name="connsiteY1" fmla="*/ 0 h 6859309"/>
              <a:gd name="connsiteX2" fmla="*/ 6553548 w 6553548"/>
              <a:gd name="connsiteY2" fmla="*/ 6859309 h 6859309"/>
              <a:gd name="connsiteX3" fmla="*/ 0 w 6553548"/>
              <a:gd name="connsiteY3" fmla="*/ 6859309 h 6859309"/>
            </a:gdLst>
            <a:ahLst/>
            <a:cxnLst>
              <a:cxn ang="0">
                <a:pos x="connsiteX0" y="connsiteY0"/>
              </a:cxn>
              <a:cxn ang="0">
                <a:pos x="connsiteX1" y="connsiteY1"/>
              </a:cxn>
              <a:cxn ang="0">
                <a:pos x="connsiteX2" y="connsiteY2"/>
              </a:cxn>
              <a:cxn ang="0">
                <a:pos x="connsiteX3" y="connsiteY3"/>
              </a:cxn>
            </a:cxnLst>
            <a:rect l="l" t="t" r="r" b="b"/>
            <a:pathLst>
              <a:path w="6553548" h="6859309">
                <a:moveTo>
                  <a:pt x="0" y="0"/>
                </a:moveTo>
                <a:lnTo>
                  <a:pt x="6553548" y="0"/>
                </a:lnTo>
                <a:lnTo>
                  <a:pt x="6553548" y="6859309"/>
                </a:lnTo>
                <a:lnTo>
                  <a:pt x="0" y="685930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28" name="Page"/>
          <p:cNvSpPr txBox="1"/>
          <p:nvPr userDrawn="1"/>
        </p:nvSpPr>
        <p:spPr>
          <a:xfrm>
            <a:off x="21966653" y="12810073"/>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lumMod val="50000"/>
                  </a:prstClr>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dirty="0">
              <a:ln>
                <a:noFill/>
              </a:ln>
              <a:solidFill>
                <a:prstClr val="white">
                  <a:lumMod val="50000"/>
                </a:prstClr>
              </a:solidFill>
              <a:effectLst/>
              <a:uLnTx/>
              <a:uFillTx/>
              <a:latin typeface="Garamond"/>
              <a:ea typeface="+mn-ea"/>
              <a:cs typeface="+mn-cs"/>
              <a:sym typeface="+mn-lt"/>
            </a:endParaRPr>
          </a:p>
        </p:txBody>
      </p:sp>
      <p:sp>
        <p:nvSpPr>
          <p:cNvPr id="25" name="Date Placeholder 1"/>
          <p:cNvSpPr>
            <a:spLocks noGrp="1"/>
          </p:cNvSpPr>
          <p:nvPr>
            <p:ph type="dt" sz="half" idx="29"/>
          </p:nvPr>
        </p:nvSpPr>
        <p:spPr>
          <a:xfrm>
            <a:off x="20037833" y="12810073"/>
            <a:ext cx="1928824" cy="307777"/>
          </a:xfrm>
          <a:prstGeom prst="rect">
            <a:avLst/>
          </a:prstGeom>
        </p:spPr>
        <p:txBody>
          <a:bodyPr/>
          <a:lstStyle>
            <a:lvl1pPr>
              <a:defRPr>
                <a:solidFill>
                  <a:schemeClr val="bg1">
                    <a:lumMod val="50000"/>
                  </a:schemeClr>
                </a:solidFill>
                <a:latin typeface="+mn-lt"/>
                <a:ea typeface="+mn-ea"/>
                <a:cs typeface="+mn-cs"/>
                <a:sym typeface="+mn-lt"/>
              </a:defRPr>
            </a:lvl1pPr>
          </a:lstStyle>
          <a:p>
            <a:pPr defTabSz="2116120" hangingPunct="1"/>
            <a:fld id="{7F355210-8A8B-4147-B235-0EB1214DE834}" type="datetime1">
              <a:rPr lang="en-US" b="0" kern="1200" cap="none" smtClean="0">
                <a:solidFill>
                  <a:prstClr val="white">
                    <a:lumMod val="50000"/>
                  </a:prstClr>
                </a:solidFill>
                <a:effectLst/>
              </a:rPr>
              <a:t>5/6/21</a:t>
            </a:fld>
            <a:endParaRPr lang="en-US" b="0" kern="1200" cap="none" dirty="0">
              <a:solidFill>
                <a:prstClr val="white">
                  <a:lumMod val="50000"/>
                </a:prstClr>
              </a:solidFill>
              <a:effectLst/>
            </a:endParaRPr>
          </a:p>
        </p:txBody>
      </p:sp>
      <p:sp>
        <p:nvSpPr>
          <p:cNvPr id="29"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lumMod val="50000"/>
                  </a:prstClr>
                </a:solidFill>
                <a:effectLst/>
                <a:uLnTx/>
                <a:uFillTx/>
                <a:latin typeface="Garamond"/>
                <a:ea typeface="+mn-ea"/>
                <a:cs typeface="+mn-cs"/>
                <a:sym typeface="+mn-lt"/>
              </a:rPr>
              <a:t>Copyright © 2020 by Boston Consulting Group. All rights reserved.</a:t>
            </a:r>
          </a:p>
        </p:txBody>
      </p:sp>
      <p:sp>
        <p:nvSpPr>
          <p:cNvPr id="24" name="Title 4"/>
          <p:cNvSpPr>
            <a:spLocks noGrp="1"/>
          </p:cNvSpPr>
          <p:nvPr>
            <p:ph type="title" hasCustomPrompt="1"/>
          </p:nvPr>
        </p:nvSpPr>
        <p:spPr>
          <a:xfrm>
            <a:off x="1260001" y="5362208"/>
            <a:ext cx="6400451" cy="2991589"/>
          </a:xfrm>
          <a:prstGeom prst="rect">
            <a:avLst/>
          </a:prstGeom>
        </p:spPr>
        <p:txBody>
          <a:bodyPr anchor="ctr">
            <a:noAutofit/>
          </a:bodyPr>
          <a:lstStyle>
            <a:lvl1pPr>
              <a:defRPr sz="4800">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614685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4099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6400"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pic>
        <p:nvPicPr>
          <p:cNvPr id="63"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11134164" y="0"/>
            <a:ext cx="1058749" cy="13716000"/>
          </a:xfrm>
          <a:prstGeom prst="rect">
            <a:avLst/>
          </a:prstGeom>
        </p:spPr>
      </p:pic>
      <p:sp>
        <p:nvSpPr>
          <p:cNvPr id="66" name="PanelWhite"/>
          <p:cNvSpPr/>
          <p:nvPr userDrawn="1"/>
        </p:nvSpPr>
        <p:spPr bwMode="white">
          <a:xfrm>
            <a:off x="12195687" y="-2619"/>
            <a:ext cx="12188317" cy="13718619"/>
          </a:xfrm>
          <a:custGeom>
            <a:avLst/>
            <a:gdLst>
              <a:gd name="connsiteX0" fmla="*/ 0 w 6553548"/>
              <a:gd name="connsiteY0" fmla="*/ 0 h 6859309"/>
              <a:gd name="connsiteX1" fmla="*/ 6553548 w 6553548"/>
              <a:gd name="connsiteY1" fmla="*/ 0 h 6859309"/>
              <a:gd name="connsiteX2" fmla="*/ 6553548 w 6553548"/>
              <a:gd name="connsiteY2" fmla="*/ 6859309 h 6859309"/>
              <a:gd name="connsiteX3" fmla="*/ 0 w 6553548"/>
              <a:gd name="connsiteY3" fmla="*/ 6859309 h 6859309"/>
            </a:gdLst>
            <a:ahLst/>
            <a:cxnLst>
              <a:cxn ang="0">
                <a:pos x="connsiteX0" y="connsiteY0"/>
              </a:cxn>
              <a:cxn ang="0">
                <a:pos x="connsiteX1" y="connsiteY1"/>
              </a:cxn>
              <a:cxn ang="0">
                <a:pos x="connsiteX2" y="connsiteY2"/>
              </a:cxn>
              <a:cxn ang="0">
                <a:pos x="connsiteX3" y="connsiteY3"/>
              </a:cxn>
            </a:cxnLst>
            <a:rect l="l" t="t" r="r" b="b"/>
            <a:pathLst>
              <a:path w="6553548" h="6859309">
                <a:moveTo>
                  <a:pt x="0" y="0"/>
                </a:moveTo>
                <a:lnTo>
                  <a:pt x="6553548" y="0"/>
                </a:lnTo>
                <a:lnTo>
                  <a:pt x="6553548" y="6859309"/>
                </a:lnTo>
                <a:lnTo>
                  <a:pt x="0" y="685930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12" name="Picture Placeholder 18"/>
          <p:cNvSpPr>
            <a:spLocks noGrp="1"/>
          </p:cNvSpPr>
          <p:nvPr>
            <p:ph type="pic" sz="quarter" idx="14" hasCustomPrompt="1"/>
          </p:nvPr>
        </p:nvSpPr>
        <p:spPr>
          <a:xfrm>
            <a:off x="12198587" y="0"/>
            <a:ext cx="12185413" cy="13716000"/>
          </a:xfrm>
          <a:prstGeom prst="rect">
            <a:avLst/>
          </a:prstGeom>
          <a:noFill/>
        </p:spPr>
        <p:txBody>
          <a:bodyPr lIns="914400" tIns="914400" rIns="914400" bIns="914400"/>
          <a:lstStyle>
            <a:lvl1pPr algn="ctr">
              <a:defRPr sz="36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4" name="Page"/>
          <p:cNvSpPr txBox="1"/>
          <p:nvPr userDrawn="1"/>
        </p:nvSpPr>
        <p:spPr>
          <a:xfrm>
            <a:off x="21966653" y="12810073"/>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lumMod val="50000"/>
                  </a:prstClr>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solidFill>
                <a:prstClr val="white">
                  <a:lumMod val="50000"/>
                </a:prstClr>
              </a:solidFill>
              <a:effectLst/>
              <a:uLnTx/>
              <a:uFillTx/>
              <a:latin typeface="Garamond"/>
              <a:ea typeface="+mn-ea"/>
              <a:cs typeface="+mn-cs"/>
              <a:sym typeface="+mn-lt"/>
            </a:endParaRPr>
          </a:p>
        </p:txBody>
      </p:sp>
      <p:sp>
        <p:nvSpPr>
          <p:cNvPr id="15" name="Date Placeholder 2"/>
          <p:cNvSpPr>
            <a:spLocks noGrp="1"/>
          </p:cNvSpPr>
          <p:nvPr>
            <p:ph type="dt" sz="half" idx="15"/>
          </p:nvPr>
        </p:nvSpPr>
        <p:spPr>
          <a:xfrm>
            <a:off x="20037833" y="12810073"/>
            <a:ext cx="1928824" cy="307777"/>
          </a:xfrm>
          <a:prstGeom prst="rect">
            <a:avLst/>
          </a:prstGeom>
        </p:spPr>
        <p:txBody>
          <a:bodyPr/>
          <a:lstStyle>
            <a:lvl1pPr>
              <a:defRPr>
                <a:solidFill>
                  <a:schemeClr val="bg1">
                    <a:lumMod val="50000"/>
                  </a:schemeClr>
                </a:solidFill>
                <a:latin typeface="+mn-lt"/>
                <a:ea typeface="+mn-ea"/>
                <a:cs typeface="+mn-cs"/>
                <a:sym typeface="+mn-lt"/>
              </a:defRPr>
            </a:lvl1pPr>
          </a:lstStyle>
          <a:p>
            <a:pPr defTabSz="2116120" hangingPunct="1"/>
            <a:fld id="{3D5E1C3C-24E8-471F-94CB-647769873548}" type="datetime1">
              <a:rPr lang="en-US" b="0" kern="1200" cap="none" smtClean="0">
                <a:solidFill>
                  <a:prstClr val="white">
                    <a:lumMod val="50000"/>
                  </a:prstClr>
                </a:solidFill>
                <a:effectLst/>
              </a:rPr>
              <a:t>5/6/21</a:t>
            </a:fld>
            <a:endParaRPr lang="en-US" b="0" kern="1200" cap="none" dirty="0">
              <a:solidFill>
                <a:prstClr val="white">
                  <a:lumMod val="50000"/>
                </a:prstClr>
              </a:solidFill>
              <a:effectLst/>
            </a:endParaRPr>
          </a:p>
        </p:txBody>
      </p:sp>
      <p:sp>
        <p:nvSpPr>
          <p:cNvPr id="17"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lumMod val="50000"/>
                  </a:prstClr>
                </a:solidFill>
                <a:effectLst/>
                <a:uLnTx/>
                <a:uFillTx/>
                <a:latin typeface="Garamond"/>
                <a:ea typeface="+mn-ea"/>
                <a:cs typeface="+mn-cs"/>
                <a:sym typeface="+mn-lt"/>
              </a:rPr>
              <a:t>Copyright © 2020 by Boston Consulting Group. All rights reserved.</a:t>
            </a:r>
          </a:p>
        </p:txBody>
      </p:sp>
      <p:sp>
        <p:nvSpPr>
          <p:cNvPr id="13" name="Title 1"/>
          <p:cNvSpPr>
            <a:spLocks noGrp="1"/>
          </p:cNvSpPr>
          <p:nvPr>
            <p:ph type="title" hasCustomPrompt="1"/>
          </p:nvPr>
        </p:nvSpPr>
        <p:spPr bwMode="blackWhite">
          <a:xfrm>
            <a:off x="1260000" y="3571200"/>
            <a:ext cx="8850325" cy="6573600"/>
          </a:xfrm>
          <a:prstGeom prst="rect">
            <a:avLst/>
          </a:prstGeom>
          <a:noFill/>
        </p:spPr>
        <p:txBody>
          <a:bodyPr wrap="square" lIns="0" tIns="0" rIns="320040" bIns="0" anchor="ctr">
            <a:noAutofit/>
          </a:bodyPr>
          <a:lstStyle>
            <a:lvl1pPr>
              <a:defRPr sz="6400">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8064034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4202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6400"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pic>
        <p:nvPicPr>
          <p:cNvPr id="60"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14470751" y="0"/>
            <a:ext cx="1058749" cy="13716000"/>
          </a:xfrm>
          <a:prstGeom prst="rect">
            <a:avLst/>
          </a:prstGeom>
        </p:spPr>
      </p:pic>
      <p:sp>
        <p:nvSpPr>
          <p:cNvPr id="61" name="PanelWhite"/>
          <p:cNvSpPr/>
          <p:nvPr userDrawn="1"/>
        </p:nvSpPr>
        <p:spPr bwMode="white">
          <a:xfrm>
            <a:off x="15532272" y="-2619"/>
            <a:ext cx="8851728" cy="13718619"/>
          </a:xfrm>
          <a:custGeom>
            <a:avLst/>
            <a:gdLst>
              <a:gd name="connsiteX0" fmla="*/ 0 w 6553548"/>
              <a:gd name="connsiteY0" fmla="*/ 0 h 6859309"/>
              <a:gd name="connsiteX1" fmla="*/ 6553548 w 6553548"/>
              <a:gd name="connsiteY1" fmla="*/ 0 h 6859309"/>
              <a:gd name="connsiteX2" fmla="*/ 6553548 w 6553548"/>
              <a:gd name="connsiteY2" fmla="*/ 6859309 h 6859309"/>
              <a:gd name="connsiteX3" fmla="*/ 0 w 6553548"/>
              <a:gd name="connsiteY3" fmla="*/ 6859309 h 6859309"/>
            </a:gdLst>
            <a:ahLst/>
            <a:cxnLst>
              <a:cxn ang="0">
                <a:pos x="connsiteX0" y="connsiteY0"/>
              </a:cxn>
              <a:cxn ang="0">
                <a:pos x="connsiteX1" y="connsiteY1"/>
              </a:cxn>
              <a:cxn ang="0">
                <a:pos x="connsiteX2" y="connsiteY2"/>
              </a:cxn>
              <a:cxn ang="0">
                <a:pos x="connsiteX3" y="connsiteY3"/>
              </a:cxn>
            </a:cxnLst>
            <a:rect l="l" t="t" r="r" b="b"/>
            <a:pathLst>
              <a:path w="6553548" h="6859309">
                <a:moveTo>
                  <a:pt x="0" y="0"/>
                </a:moveTo>
                <a:lnTo>
                  <a:pt x="6553548" y="0"/>
                </a:lnTo>
                <a:lnTo>
                  <a:pt x="6553548" y="6859309"/>
                </a:lnTo>
                <a:lnTo>
                  <a:pt x="0" y="685930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66" name="Picture Placeholder 5"/>
          <p:cNvSpPr>
            <a:spLocks noGrp="1"/>
          </p:cNvSpPr>
          <p:nvPr>
            <p:ph type="pic" sz="quarter" idx="11" hasCustomPrompt="1"/>
          </p:nvPr>
        </p:nvSpPr>
        <p:spPr>
          <a:xfrm>
            <a:off x="15535179" y="-2619"/>
            <a:ext cx="8848821" cy="13716000"/>
          </a:xfrm>
          <a:prstGeom prst="rect">
            <a:avLst/>
          </a:prstGeom>
          <a:noFill/>
        </p:spPr>
        <p:txBody>
          <a:bodyPr lIns="182880" tIns="914400" rIns="182880" bIns="914400"/>
          <a:lstStyle>
            <a:lvl1pPr algn="ctr">
              <a:defRPr sz="3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4" name="Page"/>
          <p:cNvSpPr txBox="1"/>
          <p:nvPr userDrawn="1"/>
        </p:nvSpPr>
        <p:spPr>
          <a:xfrm>
            <a:off x="21966653" y="12810073"/>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lumMod val="50000"/>
                  </a:prstClr>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solidFill>
                <a:prstClr val="white">
                  <a:lumMod val="50000"/>
                </a:prstClr>
              </a:solidFill>
              <a:effectLst/>
              <a:uLnTx/>
              <a:uFillTx/>
              <a:latin typeface="Garamond"/>
              <a:ea typeface="+mn-ea"/>
              <a:cs typeface="+mn-cs"/>
              <a:sym typeface="+mn-lt"/>
            </a:endParaRPr>
          </a:p>
        </p:txBody>
      </p:sp>
      <p:sp>
        <p:nvSpPr>
          <p:cNvPr id="13" name="Date Placeholder 2"/>
          <p:cNvSpPr>
            <a:spLocks noGrp="1"/>
          </p:cNvSpPr>
          <p:nvPr>
            <p:ph type="dt" sz="half" idx="12"/>
          </p:nvPr>
        </p:nvSpPr>
        <p:spPr>
          <a:xfrm>
            <a:off x="20037833" y="12810073"/>
            <a:ext cx="1928824" cy="307777"/>
          </a:xfrm>
          <a:prstGeom prst="rect">
            <a:avLst/>
          </a:prstGeom>
        </p:spPr>
        <p:txBody>
          <a:bodyPr/>
          <a:lstStyle>
            <a:lvl1pPr>
              <a:defRPr>
                <a:solidFill>
                  <a:schemeClr val="bg1">
                    <a:lumMod val="50000"/>
                  </a:schemeClr>
                </a:solidFill>
                <a:latin typeface="+mn-lt"/>
                <a:ea typeface="+mn-ea"/>
                <a:cs typeface="+mn-cs"/>
                <a:sym typeface="+mn-lt"/>
              </a:defRPr>
            </a:lvl1pPr>
          </a:lstStyle>
          <a:p>
            <a:pPr defTabSz="2116120" hangingPunct="1"/>
            <a:fld id="{7F11BF70-A670-4FD7-B548-D0615589201E}" type="datetime1">
              <a:rPr lang="en-US" b="0" kern="1200" cap="none" smtClean="0">
                <a:solidFill>
                  <a:prstClr val="white">
                    <a:lumMod val="50000"/>
                  </a:prstClr>
                </a:solidFill>
                <a:effectLst/>
              </a:rPr>
              <a:t>5/6/21</a:t>
            </a:fld>
            <a:endParaRPr lang="en-US" b="0" kern="1200" cap="none" dirty="0">
              <a:solidFill>
                <a:prstClr val="white">
                  <a:lumMod val="50000"/>
                </a:prstClr>
              </a:solidFill>
              <a:effectLst/>
            </a:endParaRPr>
          </a:p>
        </p:txBody>
      </p:sp>
      <p:sp>
        <p:nvSpPr>
          <p:cNvPr id="9"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lumMod val="50000"/>
                  </a:prstClr>
                </a:solidFill>
                <a:effectLst/>
                <a:uLnTx/>
                <a:uFillTx/>
                <a:latin typeface="Garamond"/>
                <a:ea typeface="+mn-ea"/>
                <a:cs typeface="+mn-cs"/>
                <a:sym typeface="+mn-lt"/>
              </a:rPr>
              <a:t>Copyright © 2020 by Boston Consulting Group. All rights reserved.</a:t>
            </a:r>
          </a:p>
        </p:txBody>
      </p:sp>
      <p:sp>
        <p:nvSpPr>
          <p:cNvPr id="15" name="Title 1"/>
          <p:cNvSpPr>
            <a:spLocks noGrp="1"/>
          </p:cNvSpPr>
          <p:nvPr>
            <p:ph type="title" hasCustomPrompt="1"/>
          </p:nvPr>
        </p:nvSpPr>
        <p:spPr bwMode="black">
          <a:xfrm>
            <a:off x="1260000" y="3571200"/>
            <a:ext cx="12461157" cy="6573600"/>
          </a:xfrm>
          <a:prstGeom prst="rect">
            <a:avLst/>
          </a:prstGeom>
        </p:spPr>
        <p:txBody>
          <a:bodyPr anchor="ctr">
            <a:noAutofit/>
          </a:bodyPr>
          <a:lstStyle>
            <a:lvl1pPr>
              <a:defRPr sz="6400">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0039689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4304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sp>
        <p:nvSpPr>
          <p:cNvPr id="62" name="ArrowPanelWhite"/>
          <p:cNvSpPr/>
          <p:nvPr userDrawn="1"/>
        </p:nvSpPr>
        <p:spPr bwMode="ltGray">
          <a:xfrm>
            <a:off x="3" y="4"/>
            <a:ext cx="8274133" cy="13718621"/>
          </a:xfrm>
          <a:custGeom>
            <a:avLst/>
            <a:gdLst>
              <a:gd name="connsiteX0" fmla="*/ 0 w 3258479"/>
              <a:gd name="connsiteY0" fmla="*/ 0 h 6859310"/>
              <a:gd name="connsiteX1" fmla="*/ 156629 w 3258479"/>
              <a:gd name="connsiteY1" fmla="*/ 0 h 6859310"/>
              <a:gd name="connsiteX2" fmla="*/ 156629 w 3258479"/>
              <a:gd name="connsiteY2" fmla="*/ 1310 h 6859310"/>
              <a:gd name="connsiteX3" fmla="*/ 2435100 w 3258479"/>
              <a:gd name="connsiteY3" fmla="*/ 1310 h 6859310"/>
              <a:gd name="connsiteX4" fmla="*/ 3258479 w 3258479"/>
              <a:gd name="connsiteY4" fmla="*/ 3430310 h 6859310"/>
              <a:gd name="connsiteX5" fmla="*/ 2435100 w 3258479"/>
              <a:gd name="connsiteY5" fmla="*/ 6859310 h 6859310"/>
              <a:gd name="connsiteX6" fmla="*/ 0 w 3258479"/>
              <a:gd name="connsiteY6" fmla="*/ 685931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58479" h="6859310">
                <a:moveTo>
                  <a:pt x="0" y="0"/>
                </a:moveTo>
                <a:lnTo>
                  <a:pt x="156629" y="0"/>
                </a:lnTo>
                <a:lnTo>
                  <a:pt x="156629" y="1310"/>
                </a:lnTo>
                <a:lnTo>
                  <a:pt x="2435100" y="1310"/>
                </a:lnTo>
                <a:lnTo>
                  <a:pt x="3258479" y="3430310"/>
                </a:lnTo>
                <a:lnTo>
                  <a:pt x="2435100" y="6859310"/>
                </a:lnTo>
                <a:lnTo>
                  <a:pt x="0" y="685931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2116120" rtl="0" eaLnBrk="1" fontAlgn="auto" latinLnBrk="0" hangingPunct="1">
              <a:lnSpc>
                <a:spcPct val="90000"/>
              </a:lnSpc>
              <a:spcBef>
                <a:spcPts val="0"/>
              </a:spcBef>
              <a:spcAft>
                <a:spcPts val="200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18" name="Page"/>
          <p:cNvSpPr txBox="1"/>
          <p:nvPr userDrawn="1"/>
        </p:nvSpPr>
        <p:spPr>
          <a:xfrm>
            <a:off x="21966653" y="12810073"/>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13" name="Date Placeholder 4"/>
          <p:cNvSpPr>
            <a:spLocks noGrp="1"/>
          </p:cNvSpPr>
          <p:nvPr>
            <p:ph type="dt" sz="half" idx="10"/>
          </p:nvPr>
        </p:nvSpPr>
        <p:spPr>
          <a:xfrm>
            <a:off x="20037833" y="12810073"/>
            <a:ext cx="1928824" cy="307777"/>
          </a:xfrm>
          <a:prstGeom prst="rect">
            <a:avLst/>
          </a:prstGeom>
        </p:spPr>
        <p:txBody>
          <a:bodyPr/>
          <a:lstStyle>
            <a:lvl1pPr>
              <a:defRPr>
                <a:solidFill>
                  <a:schemeClr val="bg1"/>
                </a:solidFill>
                <a:latin typeface="+mn-lt"/>
                <a:ea typeface="+mn-ea"/>
                <a:cs typeface="+mn-cs"/>
                <a:sym typeface="+mn-lt"/>
              </a:defRPr>
            </a:lvl1pPr>
          </a:lstStyle>
          <a:p>
            <a:pPr defTabSz="2116120" hangingPunct="1"/>
            <a:fld id="{CA727AB9-1C6E-41B5-BEAF-57021A97C96E}" type="datetime1">
              <a:rPr lang="en-US" b="0" kern="1200" cap="none" smtClean="0">
                <a:solidFill>
                  <a:prstClr val="white"/>
                </a:solidFill>
                <a:effectLst/>
              </a:rPr>
              <a:t>5/6/21</a:t>
            </a:fld>
            <a:endParaRPr lang="en-US" b="0" kern="1200" cap="none" dirty="0">
              <a:solidFill>
                <a:prstClr val="white"/>
              </a:solidFill>
              <a:effectLst/>
            </a:endParaRPr>
          </a:p>
        </p:txBody>
      </p:sp>
      <p:sp>
        <p:nvSpPr>
          <p:cNvPr id="11"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aramond"/>
                <a:ea typeface="+mn-ea"/>
                <a:cs typeface="+mn-cs"/>
                <a:sym typeface="+mn-lt"/>
              </a:rPr>
              <a:t>Copyright © 2020 by Boston Consulting Group. All rights reserved.</a:t>
            </a:r>
          </a:p>
        </p:txBody>
      </p:sp>
      <p:sp>
        <p:nvSpPr>
          <p:cNvPr id="20" name="Title 2"/>
          <p:cNvSpPr>
            <a:spLocks noGrp="1"/>
          </p:cNvSpPr>
          <p:nvPr>
            <p:ph type="title" hasCustomPrompt="1"/>
          </p:nvPr>
        </p:nvSpPr>
        <p:spPr>
          <a:xfrm>
            <a:off x="1260001" y="5543697"/>
            <a:ext cx="5202931" cy="2628621"/>
          </a:xfrm>
          <a:prstGeom prst="rect">
            <a:avLst/>
          </a:prstGeom>
        </p:spPr>
        <p:txBody>
          <a:bodyPr anchor="ctr">
            <a:noAutofit/>
          </a:bodyPr>
          <a:lstStyle>
            <a:lvl1pPr>
              <a:defRPr sz="4800">
                <a:solidFill>
                  <a:schemeClr val="tx2"/>
                </a:solidFill>
                <a:latin typeface="+mj-lt"/>
                <a:ea typeface="+mj-ea"/>
                <a:cs typeface="+mj-cs"/>
                <a:sym typeface="+mj-lt"/>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848111" y="7183992"/>
            <a:ext cx="3466728" cy="6765925"/>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42174 w 1365250"/>
              <a:gd name="connsiteY5" fmla="*/ 3265653 h 3382962"/>
              <a:gd name="connsiteX6" fmla="*/ 11501 w 1365250"/>
              <a:gd name="connsiteY6" fmla="*/ 3299343 h 3382962"/>
              <a:gd name="connsiteX7" fmla="*/ 113895 w 1365250"/>
              <a:gd name="connsiteY7" fmla="*/ 3306486 h 3382962"/>
              <a:gd name="connsiteX8" fmla="*/ 123928 w 1365250"/>
              <a:gd name="connsiteY8" fmla="*/ 3267469 h 3382962"/>
              <a:gd name="connsiteX9" fmla="*/ 129871 w 1365250"/>
              <a:gd name="connsiteY9" fmla="*/ 3267601 h 3382962"/>
              <a:gd name="connsiteX10" fmla="*/ 0 w 1365250"/>
              <a:gd name="connsiteY10" fmla="*/ 0 h 3382962"/>
              <a:gd name="connsiteX11" fmla="*/ 909386 w 1365250"/>
              <a:gd name="connsiteY11" fmla="*/ 0 h 3382962"/>
              <a:gd name="connsiteX12" fmla="*/ 0 w 1365250"/>
              <a:gd name="connsiteY12"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65250" h="3382962">
                <a:moveTo>
                  <a:pt x="919541" y="0"/>
                </a:moveTo>
                <a:lnTo>
                  <a:pt x="1365250" y="0"/>
                </a:lnTo>
                <a:lnTo>
                  <a:pt x="1365250" y="3382962"/>
                </a:lnTo>
                <a:lnTo>
                  <a:pt x="0" y="3382962"/>
                </a:lnTo>
                <a:lnTo>
                  <a:pt x="0" y="3264716"/>
                </a:lnTo>
                <a:lnTo>
                  <a:pt x="42174" y="3265653"/>
                </a:lnTo>
                <a:lnTo>
                  <a:pt x="11501" y="3299343"/>
                </a:lnTo>
                <a:lnTo>
                  <a:pt x="113895" y="3306486"/>
                </a:lnTo>
                <a:lnTo>
                  <a:pt x="123928" y="3267469"/>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88238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44068"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sp>
        <p:nvSpPr>
          <p:cNvPr id="62" name="ArrowPanelWhite"/>
          <p:cNvSpPr/>
          <p:nvPr userDrawn="1"/>
        </p:nvSpPr>
        <p:spPr bwMode="ltGray">
          <a:xfrm>
            <a:off x="3" y="4"/>
            <a:ext cx="8274133" cy="13718621"/>
          </a:xfrm>
          <a:custGeom>
            <a:avLst/>
            <a:gdLst>
              <a:gd name="connsiteX0" fmla="*/ 0 w 3258479"/>
              <a:gd name="connsiteY0" fmla="*/ 0 h 6859310"/>
              <a:gd name="connsiteX1" fmla="*/ 156629 w 3258479"/>
              <a:gd name="connsiteY1" fmla="*/ 0 h 6859310"/>
              <a:gd name="connsiteX2" fmla="*/ 156629 w 3258479"/>
              <a:gd name="connsiteY2" fmla="*/ 1310 h 6859310"/>
              <a:gd name="connsiteX3" fmla="*/ 2435100 w 3258479"/>
              <a:gd name="connsiteY3" fmla="*/ 1310 h 6859310"/>
              <a:gd name="connsiteX4" fmla="*/ 3258479 w 3258479"/>
              <a:gd name="connsiteY4" fmla="*/ 3430310 h 6859310"/>
              <a:gd name="connsiteX5" fmla="*/ 2435100 w 3258479"/>
              <a:gd name="connsiteY5" fmla="*/ 6859310 h 6859310"/>
              <a:gd name="connsiteX6" fmla="*/ 0 w 3258479"/>
              <a:gd name="connsiteY6" fmla="*/ 685931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58479" h="6859310">
                <a:moveTo>
                  <a:pt x="0" y="0"/>
                </a:moveTo>
                <a:lnTo>
                  <a:pt x="156629" y="0"/>
                </a:lnTo>
                <a:lnTo>
                  <a:pt x="156629" y="1310"/>
                </a:lnTo>
                <a:lnTo>
                  <a:pt x="2435100" y="1310"/>
                </a:lnTo>
                <a:lnTo>
                  <a:pt x="3258479" y="3430310"/>
                </a:lnTo>
                <a:lnTo>
                  <a:pt x="2435100" y="6859310"/>
                </a:lnTo>
                <a:lnTo>
                  <a:pt x="0" y="685931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2116120" rtl="0" eaLnBrk="1" fontAlgn="auto" latinLnBrk="0" hangingPunct="1">
              <a:lnSpc>
                <a:spcPct val="90000"/>
              </a:lnSpc>
              <a:spcBef>
                <a:spcPts val="0"/>
              </a:spcBef>
              <a:spcAft>
                <a:spcPts val="200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3" name="Title 2"/>
          <p:cNvSpPr>
            <a:spLocks noGrp="1"/>
          </p:cNvSpPr>
          <p:nvPr>
            <p:ph type="title" hasCustomPrompt="1"/>
          </p:nvPr>
        </p:nvSpPr>
        <p:spPr>
          <a:xfrm>
            <a:off x="1260000" y="5543697"/>
            <a:ext cx="5202933" cy="2628621"/>
          </a:xfrm>
        </p:spPr>
        <p:txBody>
          <a:bodyPr anchor="ctr" anchorCtr="0">
            <a:noAutofit/>
          </a:bodyPr>
          <a:lstStyle>
            <a:lvl1pPr>
              <a:defRPr>
                <a:solidFill>
                  <a:srgbClr val="FFFFFF"/>
                </a:solidFill>
                <a:latin typeface="+mj-lt"/>
                <a:ea typeface="+mj-ea"/>
                <a:cs typeface="+mj-cs"/>
                <a:sym typeface="+mj-lt"/>
              </a:defRPr>
            </a:lvl1pPr>
          </a:lstStyle>
          <a:p>
            <a:r>
              <a:rPr lang="en-US" dirty="0"/>
              <a:t>Click to add title</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3413747" y="6805660"/>
            <a:ext cx="6842464" cy="6923491"/>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4" name="Page"/>
          <p:cNvSpPr txBox="1"/>
          <p:nvPr userDrawn="1"/>
        </p:nvSpPr>
        <p:spPr>
          <a:xfrm>
            <a:off x="21966653" y="12810073"/>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lumMod val="50000"/>
                  </a:prstClr>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solidFill>
                <a:prstClr val="white">
                  <a:lumMod val="50000"/>
                </a:prstClr>
              </a:solidFill>
              <a:effectLst/>
              <a:uLnTx/>
              <a:uFillTx/>
              <a:latin typeface="Garamond"/>
              <a:ea typeface="+mn-ea"/>
              <a:cs typeface="+mn-cs"/>
              <a:sym typeface="+mn-lt"/>
            </a:endParaRPr>
          </a:p>
        </p:txBody>
      </p:sp>
      <p:sp>
        <p:nvSpPr>
          <p:cNvPr id="15" name="Date Placeholder 2"/>
          <p:cNvSpPr>
            <a:spLocks noGrp="1"/>
          </p:cNvSpPr>
          <p:nvPr>
            <p:ph type="dt" sz="half" idx="12"/>
          </p:nvPr>
        </p:nvSpPr>
        <p:spPr>
          <a:xfrm>
            <a:off x="20037833" y="12810073"/>
            <a:ext cx="1928824" cy="307777"/>
          </a:xfrm>
          <a:prstGeom prst="rect">
            <a:avLst/>
          </a:prstGeom>
        </p:spPr>
        <p:txBody>
          <a:bodyPr/>
          <a:lstStyle>
            <a:lvl1pPr>
              <a:defRPr>
                <a:solidFill>
                  <a:schemeClr val="bg1">
                    <a:lumMod val="50000"/>
                  </a:schemeClr>
                </a:solidFill>
                <a:latin typeface="+mn-lt"/>
                <a:ea typeface="+mn-ea"/>
                <a:cs typeface="+mn-cs"/>
                <a:sym typeface="+mn-lt"/>
              </a:defRPr>
            </a:lvl1pPr>
          </a:lstStyle>
          <a:p>
            <a:pPr defTabSz="2116120" hangingPunct="1"/>
            <a:fld id="{F44281E6-AA9F-482C-9609-4E66614A6F82}" type="datetime1">
              <a:rPr lang="en-US" b="0" kern="1200" cap="none" smtClean="0">
                <a:solidFill>
                  <a:prstClr val="white">
                    <a:lumMod val="50000"/>
                  </a:prstClr>
                </a:solidFill>
                <a:effectLst/>
              </a:rPr>
              <a:t>5/6/21</a:t>
            </a:fld>
            <a:endParaRPr lang="en-US" b="0" kern="1200" cap="none" dirty="0">
              <a:solidFill>
                <a:prstClr val="white">
                  <a:lumMod val="50000"/>
                </a:prstClr>
              </a:solidFill>
              <a:effectLst/>
            </a:endParaRPr>
          </a:p>
        </p:txBody>
      </p:sp>
      <p:sp>
        <p:nvSpPr>
          <p:cNvPr id="16"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lumMod val="50000"/>
                  </a:prstClr>
                </a:solidFill>
                <a:effectLst/>
                <a:uLnTx/>
                <a:uFillTx/>
                <a:latin typeface="Garamond"/>
                <a:ea typeface="+mn-ea"/>
                <a:cs typeface="+mn-cs"/>
                <a:sym typeface="+mn-lt"/>
              </a:rPr>
              <a:t>Copyright © 2020 by Boston Consulting Group. All rights reserved.</a:t>
            </a:r>
          </a:p>
        </p:txBody>
      </p:sp>
    </p:spTree>
    <p:extLst>
      <p:ext uri="{BB962C8B-B14F-4D97-AF65-F5344CB8AC3E}">
        <p14:creationId xmlns:p14="http://schemas.microsoft.com/office/powerpoint/2010/main" val="25290137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4509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6400"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sp>
        <p:nvSpPr>
          <p:cNvPr id="62" name="ArrowPanelWhite"/>
          <p:cNvSpPr/>
          <p:nvPr userDrawn="1"/>
        </p:nvSpPr>
        <p:spPr>
          <a:xfrm flipH="1" flipV="1">
            <a:off x="7" y="4"/>
            <a:ext cx="10961901" cy="13718621"/>
          </a:xfrm>
          <a:custGeom>
            <a:avLst/>
            <a:gdLst>
              <a:gd name="connsiteX0" fmla="*/ 4316963 w 4316963"/>
              <a:gd name="connsiteY0" fmla="*/ 6859311 h 6859311"/>
              <a:gd name="connsiteX1" fmla="*/ 2973131 w 4316963"/>
              <a:gd name="connsiteY1" fmla="*/ 6859311 h 6859311"/>
              <a:gd name="connsiteX2" fmla="*/ 2973131 w 4316963"/>
              <a:gd name="connsiteY2" fmla="*/ 6858000 h 6859311"/>
              <a:gd name="connsiteX3" fmla="*/ 823379 w 4316963"/>
              <a:gd name="connsiteY3" fmla="*/ 6858000 h 6859311"/>
              <a:gd name="connsiteX4" fmla="*/ 0 w 4316963"/>
              <a:gd name="connsiteY4" fmla="*/ 3429000 h 6859311"/>
              <a:gd name="connsiteX5" fmla="*/ 823379 w 4316963"/>
              <a:gd name="connsiteY5" fmla="*/ 0 h 6859311"/>
              <a:gd name="connsiteX6" fmla="*/ 3258479 w 4316963"/>
              <a:gd name="connsiteY6" fmla="*/ 0 h 6859311"/>
              <a:gd name="connsiteX7" fmla="*/ 3258479 w 4316963"/>
              <a:gd name="connsiteY7" fmla="*/ 1311 h 6859311"/>
              <a:gd name="connsiteX8" fmla="*/ 4316963 w 4316963"/>
              <a:gd name="connsiteY8" fmla="*/ 1311 h 685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16963" h="6859311">
                <a:moveTo>
                  <a:pt x="4316963" y="6859311"/>
                </a:moveTo>
                <a:lnTo>
                  <a:pt x="2973131" y="6859311"/>
                </a:lnTo>
                <a:lnTo>
                  <a:pt x="2973131" y="6858000"/>
                </a:lnTo>
                <a:lnTo>
                  <a:pt x="823379" y="6858000"/>
                </a:lnTo>
                <a:lnTo>
                  <a:pt x="0" y="3429000"/>
                </a:lnTo>
                <a:lnTo>
                  <a:pt x="823379" y="0"/>
                </a:lnTo>
                <a:lnTo>
                  <a:pt x="3258479" y="0"/>
                </a:lnTo>
                <a:lnTo>
                  <a:pt x="3258479" y="1311"/>
                </a:lnTo>
                <a:lnTo>
                  <a:pt x="4316963" y="131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2116120" rtl="0" eaLnBrk="1" fontAlgn="auto" latinLnBrk="0" hangingPunct="1">
              <a:lnSpc>
                <a:spcPct val="90000"/>
              </a:lnSpc>
              <a:spcBef>
                <a:spcPts val="0"/>
              </a:spcBef>
              <a:spcAft>
                <a:spcPts val="200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9" name="Page"/>
          <p:cNvSpPr txBox="1"/>
          <p:nvPr userDrawn="1"/>
        </p:nvSpPr>
        <p:spPr>
          <a:xfrm>
            <a:off x="21966653" y="12810073"/>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10" name="Date Placeholder 7"/>
          <p:cNvSpPr>
            <a:spLocks noGrp="1"/>
          </p:cNvSpPr>
          <p:nvPr>
            <p:ph type="dt" sz="half" idx="11"/>
          </p:nvPr>
        </p:nvSpPr>
        <p:spPr>
          <a:xfrm>
            <a:off x="20037833" y="12810073"/>
            <a:ext cx="1928824" cy="307777"/>
          </a:xfrm>
          <a:prstGeom prst="rect">
            <a:avLst/>
          </a:prstGeom>
        </p:spPr>
        <p:txBody>
          <a:bodyPr/>
          <a:lstStyle>
            <a:lvl1pPr>
              <a:defRPr>
                <a:solidFill>
                  <a:schemeClr val="bg1"/>
                </a:solidFill>
                <a:latin typeface="+mn-lt"/>
                <a:ea typeface="+mn-ea"/>
                <a:cs typeface="+mn-cs"/>
                <a:sym typeface="+mn-lt"/>
              </a:defRPr>
            </a:lvl1pPr>
          </a:lstStyle>
          <a:p>
            <a:pPr defTabSz="2116120" hangingPunct="1"/>
            <a:fld id="{861DBABB-CF74-4C4F-ABE7-C8E0C80F1607}" type="datetime1">
              <a:rPr lang="en-US" b="0" kern="1200" cap="none" smtClean="0">
                <a:solidFill>
                  <a:prstClr val="white"/>
                </a:solidFill>
                <a:effectLst/>
              </a:rPr>
              <a:t>5/6/21</a:t>
            </a:fld>
            <a:endParaRPr lang="en-US" b="0" kern="1200" cap="none" dirty="0">
              <a:solidFill>
                <a:prstClr val="white"/>
              </a:solidFill>
              <a:effectLst/>
            </a:endParaRPr>
          </a:p>
        </p:txBody>
      </p:sp>
      <p:sp>
        <p:nvSpPr>
          <p:cNvPr id="17"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aramond"/>
                <a:ea typeface="+mn-ea"/>
                <a:cs typeface="+mn-cs"/>
                <a:sym typeface="+mn-lt"/>
              </a:rPr>
              <a:t>Copyright © 2020 by Boston Consulting Group. All rights reserved.</a:t>
            </a:r>
          </a:p>
        </p:txBody>
      </p:sp>
      <p:sp>
        <p:nvSpPr>
          <p:cNvPr id="20" name="Title 1"/>
          <p:cNvSpPr>
            <a:spLocks noGrp="1"/>
          </p:cNvSpPr>
          <p:nvPr>
            <p:ph type="title" hasCustomPrompt="1"/>
          </p:nvPr>
        </p:nvSpPr>
        <p:spPr>
          <a:xfrm>
            <a:off x="1260001" y="3571200"/>
            <a:ext cx="8210435" cy="6573600"/>
          </a:xfrm>
          <a:prstGeom prst="rect">
            <a:avLst/>
          </a:prstGeom>
        </p:spPr>
        <p:txBody>
          <a:bodyPr anchor="ctr">
            <a:noAutofit/>
          </a:bodyPr>
          <a:lstStyle>
            <a:lvl1pPr>
              <a:defRPr sz="6400" b="0">
                <a:solidFill>
                  <a:schemeClr val="tx2"/>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470385" y="7188739"/>
            <a:ext cx="3466728" cy="6765925"/>
          </a:xfrm>
          <a:custGeom>
            <a:avLst/>
            <a:gdLst>
              <a:gd name="connsiteX0" fmla="*/ 938221 w 1365250"/>
              <a:gd name="connsiteY0" fmla="*/ 0 h 3382962"/>
              <a:gd name="connsiteX1" fmla="*/ 1365250 w 1365250"/>
              <a:gd name="connsiteY1" fmla="*/ 0 h 3382962"/>
              <a:gd name="connsiteX2" fmla="*/ 1365250 w 1365250"/>
              <a:gd name="connsiteY2" fmla="*/ 3382962 h 3382962"/>
              <a:gd name="connsiteX3" fmla="*/ 126131 w 1365250"/>
              <a:gd name="connsiteY3" fmla="*/ 3382962 h 3382962"/>
              <a:gd name="connsiteX4" fmla="*/ 0 w 1365250"/>
              <a:gd name="connsiteY4" fmla="*/ 0 h 3382962"/>
              <a:gd name="connsiteX5" fmla="*/ 655186 w 1365250"/>
              <a:gd name="connsiteY5" fmla="*/ 0 h 3382962"/>
              <a:gd name="connsiteX6" fmla="*/ 0 w 1365250"/>
              <a:gd name="connsiteY6" fmla="*/ 2331602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38221" y="0"/>
                </a:moveTo>
                <a:lnTo>
                  <a:pt x="1365250" y="0"/>
                </a:lnTo>
                <a:lnTo>
                  <a:pt x="1365250" y="3382962"/>
                </a:lnTo>
                <a:lnTo>
                  <a:pt x="126131" y="3382962"/>
                </a:lnTo>
                <a:close/>
                <a:moveTo>
                  <a:pt x="0" y="0"/>
                </a:moveTo>
                <a:lnTo>
                  <a:pt x="655186" y="0"/>
                </a:lnTo>
                <a:lnTo>
                  <a:pt x="0" y="2331602"/>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9695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4611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6400"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sp>
        <p:nvSpPr>
          <p:cNvPr id="62" name="ArrowPanelWhite"/>
          <p:cNvSpPr/>
          <p:nvPr userDrawn="1"/>
        </p:nvSpPr>
        <p:spPr>
          <a:xfrm flipH="1" flipV="1">
            <a:off x="7" y="4"/>
            <a:ext cx="10961901" cy="13718621"/>
          </a:xfrm>
          <a:custGeom>
            <a:avLst/>
            <a:gdLst>
              <a:gd name="connsiteX0" fmla="*/ 4316963 w 4316963"/>
              <a:gd name="connsiteY0" fmla="*/ 6859311 h 6859311"/>
              <a:gd name="connsiteX1" fmla="*/ 2973131 w 4316963"/>
              <a:gd name="connsiteY1" fmla="*/ 6859311 h 6859311"/>
              <a:gd name="connsiteX2" fmla="*/ 2973131 w 4316963"/>
              <a:gd name="connsiteY2" fmla="*/ 6858000 h 6859311"/>
              <a:gd name="connsiteX3" fmla="*/ 823379 w 4316963"/>
              <a:gd name="connsiteY3" fmla="*/ 6858000 h 6859311"/>
              <a:gd name="connsiteX4" fmla="*/ 0 w 4316963"/>
              <a:gd name="connsiteY4" fmla="*/ 3429000 h 6859311"/>
              <a:gd name="connsiteX5" fmla="*/ 823379 w 4316963"/>
              <a:gd name="connsiteY5" fmla="*/ 0 h 6859311"/>
              <a:gd name="connsiteX6" fmla="*/ 3258479 w 4316963"/>
              <a:gd name="connsiteY6" fmla="*/ 0 h 6859311"/>
              <a:gd name="connsiteX7" fmla="*/ 3258479 w 4316963"/>
              <a:gd name="connsiteY7" fmla="*/ 1311 h 6859311"/>
              <a:gd name="connsiteX8" fmla="*/ 4316963 w 4316963"/>
              <a:gd name="connsiteY8" fmla="*/ 1311 h 685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16963" h="6859311">
                <a:moveTo>
                  <a:pt x="4316963" y="6859311"/>
                </a:moveTo>
                <a:lnTo>
                  <a:pt x="2973131" y="6859311"/>
                </a:lnTo>
                <a:lnTo>
                  <a:pt x="2973131" y="6858000"/>
                </a:lnTo>
                <a:lnTo>
                  <a:pt x="823379" y="6858000"/>
                </a:lnTo>
                <a:lnTo>
                  <a:pt x="0" y="3429000"/>
                </a:lnTo>
                <a:lnTo>
                  <a:pt x="823379" y="0"/>
                </a:lnTo>
                <a:lnTo>
                  <a:pt x="3258479" y="0"/>
                </a:lnTo>
                <a:lnTo>
                  <a:pt x="3258479" y="1311"/>
                </a:lnTo>
                <a:lnTo>
                  <a:pt x="4316963" y="1311"/>
                </a:lnTo>
                <a:close/>
              </a:path>
            </a:pathLst>
          </a:custGeom>
          <a:gradFill>
            <a:gsLst>
              <a:gs pos="100000">
                <a:schemeClr val="tx2"/>
              </a:gs>
              <a:gs pos="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2116120" rtl="0" eaLnBrk="1" fontAlgn="auto" latinLnBrk="0" hangingPunct="1">
              <a:lnSpc>
                <a:spcPct val="90000"/>
              </a:lnSpc>
              <a:spcBef>
                <a:spcPts val="0"/>
              </a:spcBef>
              <a:spcAft>
                <a:spcPts val="200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20" name="Title 1"/>
          <p:cNvSpPr>
            <a:spLocks noGrp="1"/>
          </p:cNvSpPr>
          <p:nvPr>
            <p:ph type="title" hasCustomPrompt="1"/>
          </p:nvPr>
        </p:nvSpPr>
        <p:spPr>
          <a:xfrm>
            <a:off x="1260001" y="3571200"/>
            <a:ext cx="8210435" cy="6573600"/>
          </a:xfrm>
          <a:prstGeom prst="rect">
            <a:avLst/>
          </a:prstGeom>
        </p:spPr>
        <p:txBody>
          <a:bodyPr anchor="ctr">
            <a:noAutofit/>
          </a:bodyPr>
          <a:lstStyle>
            <a:lvl1pPr>
              <a:defRPr sz="6400" b="0">
                <a:solidFill>
                  <a:srgbClr val="FFFFFF"/>
                </a:solidFill>
                <a:latin typeface="+mj-lt"/>
                <a:ea typeface="+mj-ea"/>
                <a:cs typeface="+mj-cs"/>
                <a:sym typeface="+mj-lt"/>
              </a:defRPr>
            </a:lvl1pPr>
          </a:lstStyle>
          <a:p>
            <a:r>
              <a:rPr lang="en-US" dirty="0"/>
              <a:t>Click to add title</a:t>
            </a:r>
          </a:p>
        </p:txBody>
      </p:sp>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6094037" y="6811343"/>
            <a:ext cx="6842464" cy="6923491"/>
          </a:xfrm>
          <a:custGeom>
            <a:avLst/>
            <a:gdLst>
              <a:gd name="connsiteX0" fmla="*/ 2197214 w 2694666"/>
              <a:gd name="connsiteY0" fmla="*/ 0 h 3461745"/>
              <a:gd name="connsiteX1" fmla="*/ 2694666 w 2694666"/>
              <a:gd name="connsiteY1" fmla="*/ 0 h 3461745"/>
              <a:gd name="connsiteX2" fmla="*/ 2694666 w 2694666"/>
              <a:gd name="connsiteY2" fmla="*/ 3461745 h 3461745"/>
              <a:gd name="connsiteX3" fmla="*/ 1617820 w 2694666"/>
              <a:gd name="connsiteY3" fmla="*/ 3461745 h 3461745"/>
              <a:gd name="connsiteX4" fmla="*/ 0 w 2694666"/>
              <a:gd name="connsiteY4" fmla="*/ 0 h 3461745"/>
              <a:gd name="connsiteX5" fmla="*/ 1857210 w 2694666"/>
              <a:gd name="connsiteY5" fmla="*/ 0 h 3461745"/>
              <a:gd name="connsiteX6" fmla="*/ 1151336 w 2694666"/>
              <a:gd name="connsiteY6" fmla="*/ 3461745 h 3461745"/>
              <a:gd name="connsiteX7" fmla="*/ 0 w 2694666"/>
              <a:gd name="connsiteY7"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61745">
                <a:moveTo>
                  <a:pt x="2197214" y="0"/>
                </a:moveTo>
                <a:lnTo>
                  <a:pt x="2694666" y="0"/>
                </a:lnTo>
                <a:lnTo>
                  <a:pt x="2694666" y="3461745"/>
                </a:lnTo>
                <a:lnTo>
                  <a:pt x="1617820" y="3461745"/>
                </a:lnTo>
                <a:close/>
                <a:moveTo>
                  <a:pt x="0" y="0"/>
                </a:moveTo>
                <a:lnTo>
                  <a:pt x="1857210" y="0"/>
                </a:lnTo>
                <a:lnTo>
                  <a:pt x="1151336" y="3461745"/>
                </a:lnTo>
                <a:lnTo>
                  <a:pt x="0" y="3461745"/>
                </a:lnTo>
                <a:close/>
              </a:path>
            </a:pathLst>
          </a:custGeom>
        </p:spPr>
      </p:pic>
      <p:sp>
        <p:nvSpPr>
          <p:cNvPr id="13" name="Page"/>
          <p:cNvSpPr txBox="1"/>
          <p:nvPr userDrawn="1"/>
        </p:nvSpPr>
        <p:spPr>
          <a:xfrm>
            <a:off x="21966653" y="12810073"/>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lumMod val="50000"/>
                  </a:prstClr>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solidFill>
                <a:prstClr val="white">
                  <a:lumMod val="50000"/>
                </a:prstClr>
              </a:solidFill>
              <a:effectLst/>
              <a:uLnTx/>
              <a:uFillTx/>
              <a:latin typeface="Garamond"/>
              <a:ea typeface="+mn-ea"/>
              <a:cs typeface="+mn-cs"/>
              <a:sym typeface="+mn-lt"/>
            </a:endParaRPr>
          </a:p>
        </p:txBody>
      </p:sp>
      <p:sp>
        <p:nvSpPr>
          <p:cNvPr id="14" name="Date Placeholder 2"/>
          <p:cNvSpPr>
            <a:spLocks noGrp="1"/>
          </p:cNvSpPr>
          <p:nvPr>
            <p:ph type="dt" sz="half" idx="12"/>
          </p:nvPr>
        </p:nvSpPr>
        <p:spPr>
          <a:xfrm>
            <a:off x="20037833" y="12810073"/>
            <a:ext cx="1928824" cy="307777"/>
          </a:xfrm>
          <a:prstGeom prst="rect">
            <a:avLst/>
          </a:prstGeom>
        </p:spPr>
        <p:txBody>
          <a:bodyPr/>
          <a:lstStyle>
            <a:lvl1pPr>
              <a:defRPr>
                <a:solidFill>
                  <a:schemeClr val="bg1">
                    <a:lumMod val="50000"/>
                  </a:schemeClr>
                </a:solidFill>
                <a:latin typeface="+mn-lt"/>
                <a:ea typeface="+mn-ea"/>
                <a:cs typeface="+mn-cs"/>
                <a:sym typeface="+mn-lt"/>
              </a:defRPr>
            </a:lvl1pPr>
          </a:lstStyle>
          <a:p>
            <a:pPr defTabSz="2116120" hangingPunct="1"/>
            <a:fld id="{8547BE9D-7F7D-4F5C-912A-3E987DB5CCE5}" type="datetime1">
              <a:rPr lang="en-US" b="0" kern="1200" cap="none" smtClean="0">
                <a:solidFill>
                  <a:prstClr val="white">
                    <a:lumMod val="50000"/>
                  </a:prstClr>
                </a:solidFill>
                <a:effectLst/>
              </a:rPr>
              <a:t>5/6/21</a:t>
            </a:fld>
            <a:endParaRPr lang="en-US" b="0" kern="1200" cap="none" dirty="0">
              <a:solidFill>
                <a:prstClr val="white">
                  <a:lumMod val="50000"/>
                </a:prstClr>
              </a:solidFill>
              <a:effectLst/>
            </a:endParaRPr>
          </a:p>
        </p:txBody>
      </p:sp>
      <p:sp>
        <p:nvSpPr>
          <p:cNvPr id="15"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lumMod val="50000"/>
                  </a:prstClr>
                </a:solidFill>
                <a:effectLst/>
                <a:uLnTx/>
                <a:uFillTx/>
                <a:latin typeface="Garamond"/>
                <a:ea typeface="+mn-ea"/>
                <a:cs typeface="+mn-cs"/>
                <a:sym typeface="+mn-lt"/>
              </a:rPr>
              <a:t>Copyright © 2020 by Boston Consulting Group. All rights reserved.</a:t>
            </a:r>
          </a:p>
        </p:txBody>
      </p:sp>
    </p:spTree>
    <p:extLst>
      <p:ext uri="{BB962C8B-B14F-4D97-AF65-F5344CB8AC3E}">
        <p14:creationId xmlns:p14="http://schemas.microsoft.com/office/powerpoint/2010/main" val="40110756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048000" y="2244726"/>
            <a:ext cx="18288000" cy="4775200"/>
          </a:xfrm>
        </p:spPr>
        <p:txBody>
          <a:bodyPr anchor="b"/>
          <a:lstStyle>
            <a:lvl1pPr algn="ctr">
              <a:defRPr sz="12000"/>
            </a:lvl1pPr>
          </a:lstStyle>
          <a:p>
            <a:r>
              <a:rPr lang="en-US"/>
              <a:t>Click to edit Master title style</a:t>
            </a:r>
            <a:endParaRPr lang="en-US" dirty="0"/>
          </a:p>
        </p:txBody>
      </p:sp>
      <p:sp>
        <p:nvSpPr>
          <p:cNvPr id="3" name="Subtitle 2"/>
          <p:cNvSpPr>
            <a:spLocks noGrp="1"/>
          </p:cNvSpPr>
          <p:nvPr>
            <p:ph type="subTitle" idx="1"/>
          </p:nvPr>
        </p:nvSpPr>
        <p:spPr>
          <a:xfrm>
            <a:off x="3048000" y="7204076"/>
            <a:ext cx="18288000" cy="3311524"/>
          </a:xfrm>
        </p:spPr>
        <p:txBody>
          <a:bodyPr/>
          <a:lstStyle>
            <a:lvl1pPr marL="0" indent="0" algn="ctr">
              <a:buNone/>
              <a:defRPr sz="48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Calibri"/>
            </a:endParaRPr>
          </a:p>
        </p:txBody>
      </p:sp>
      <p:cxnSp>
        <p:nvCxnSpPr>
          <p:cNvPr id="7" name="Straight Connector 6"/>
          <p:cNvCxnSpPr/>
          <p:nvPr userDrawn="1"/>
        </p:nvCxnSpPr>
        <p:spPr>
          <a:xfrm>
            <a:off x="1010057" y="13005952"/>
            <a:ext cx="22148730" cy="0"/>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9" name="Picture 7" descr="MEPB fin_0.tmp"/>
          <p:cNvPicPr>
            <a:picLocks noChangeAspect="1"/>
          </p:cNvPicPr>
          <p:nvPr userDrawn="1"/>
        </p:nvPicPr>
        <p:blipFill>
          <a:blip r:embed="rId2" cstate="print"/>
          <a:srcRect l="6554" t="11111" r="63655" b="61111"/>
          <a:stretch>
            <a:fillRect/>
          </a:stretch>
        </p:blipFill>
        <p:spPr bwMode="auto">
          <a:xfrm>
            <a:off x="266899" y="328816"/>
            <a:ext cx="2644443" cy="2542398"/>
          </a:xfrm>
          <a:prstGeom prst="rect">
            <a:avLst/>
          </a:prstGeom>
          <a:noFill/>
          <a:ln w="9525">
            <a:noFill/>
            <a:miter lim="800000"/>
            <a:headEnd/>
            <a:tailEnd/>
          </a:ln>
          <a:effectLst/>
          <a:scene3d>
            <a:camera prst="orthographicFront">
              <a:rot lat="0" lon="0" rev="0"/>
            </a:camera>
            <a:lightRig rig="glow" dir="t">
              <a:rot lat="0" lon="0" rev="4800000"/>
            </a:lightRig>
          </a:scene3d>
          <a:sp3d prstMaterial="matte">
            <a:bevelT w="127000" h="63500"/>
          </a:sp3d>
        </p:spPr>
      </p:pic>
      <p:pic>
        <p:nvPicPr>
          <p:cNvPr id="12" name="Picture 11">
            <a:extLst>
              <a:ext uri="{FF2B5EF4-FFF2-40B4-BE49-F238E27FC236}">
                <a16:creationId xmlns:a16="http://schemas.microsoft.com/office/drawing/2014/main" id="{9FF870EC-6EC6-48EA-BB25-25230EF970E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8816726" y="710047"/>
            <a:ext cx="4585025" cy="1773115"/>
          </a:xfrm>
          <a:prstGeom prst="rect">
            <a:avLst/>
          </a:prstGeom>
        </p:spPr>
      </p:pic>
    </p:spTree>
    <p:extLst>
      <p:ext uri="{BB962C8B-B14F-4D97-AF65-F5344CB8AC3E}">
        <p14:creationId xmlns:p14="http://schemas.microsoft.com/office/powerpoint/2010/main" val="262408048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47140"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sp>
        <p:nvSpPr>
          <p:cNvPr id="63" name="ArrowPanelWhite"/>
          <p:cNvSpPr/>
          <p:nvPr userDrawn="1"/>
        </p:nvSpPr>
        <p:spPr bwMode="white">
          <a:xfrm>
            <a:off x="5" y="0"/>
            <a:ext cx="12870640" cy="13716000"/>
          </a:xfrm>
          <a:custGeom>
            <a:avLst/>
            <a:gdLst>
              <a:gd name="connsiteX0" fmla="*/ 0 w 5068653"/>
              <a:gd name="connsiteY0" fmla="*/ 0 h 6858000"/>
              <a:gd name="connsiteX1" fmla="*/ 4245274 w 5068653"/>
              <a:gd name="connsiteY1" fmla="*/ 0 h 6858000"/>
              <a:gd name="connsiteX2" fmla="*/ 5068653 w 5068653"/>
              <a:gd name="connsiteY2" fmla="*/ 3429000 h 6858000"/>
              <a:gd name="connsiteX3" fmla="*/ 4245274 w 5068653"/>
              <a:gd name="connsiteY3" fmla="*/ 6858000 h 6858000"/>
              <a:gd name="connsiteX4" fmla="*/ 0 w 506865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8653" h="6858000">
                <a:moveTo>
                  <a:pt x="0" y="0"/>
                </a:moveTo>
                <a:lnTo>
                  <a:pt x="4245274" y="0"/>
                </a:lnTo>
                <a:lnTo>
                  <a:pt x="5068653" y="3429000"/>
                </a:lnTo>
                <a:lnTo>
                  <a:pt x="4245274"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2116120" rtl="0" eaLnBrk="1" fontAlgn="auto" latinLnBrk="0" hangingPunct="1">
              <a:lnSpc>
                <a:spcPct val="90000"/>
              </a:lnSpc>
              <a:spcBef>
                <a:spcPts val="0"/>
              </a:spcBef>
              <a:spcAft>
                <a:spcPts val="200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16" name="Page"/>
          <p:cNvSpPr txBox="1"/>
          <p:nvPr userDrawn="1"/>
        </p:nvSpPr>
        <p:spPr>
          <a:xfrm>
            <a:off x="21966653" y="12810073"/>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13" name="Date Placeholder 4"/>
          <p:cNvSpPr>
            <a:spLocks noGrp="1"/>
          </p:cNvSpPr>
          <p:nvPr>
            <p:ph type="dt" sz="half" idx="10"/>
          </p:nvPr>
        </p:nvSpPr>
        <p:spPr>
          <a:xfrm>
            <a:off x="20037833" y="12810073"/>
            <a:ext cx="1928824" cy="307777"/>
          </a:xfrm>
        </p:spPr>
        <p:txBody>
          <a:bodyPr/>
          <a:lstStyle>
            <a:lvl1pPr>
              <a:defRPr>
                <a:solidFill>
                  <a:schemeClr val="bg1"/>
                </a:solidFill>
                <a:latin typeface="+mn-lt"/>
                <a:ea typeface="+mn-ea"/>
                <a:cs typeface="+mn-cs"/>
                <a:sym typeface="+mn-lt"/>
              </a:defRPr>
            </a:lvl1pPr>
          </a:lstStyle>
          <a:p>
            <a:pPr defTabSz="2116120" hangingPunct="1"/>
            <a:fld id="{72384A1B-0E0A-416D-80BE-411002E360FB}" type="datetime1">
              <a:rPr lang="en-US" b="0" kern="1200" cap="none" smtClean="0">
                <a:solidFill>
                  <a:prstClr val="white"/>
                </a:solidFill>
                <a:effectLst/>
              </a:rPr>
              <a:t>5/6/21</a:t>
            </a:fld>
            <a:endParaRPr lang="en-US" b="0" kern="1200" cap="none" dirty="0">
              <a:solidFill>
                <a:prstClr val="white"/>
              </a:solidFill>
              <a:effectLst/>
            </a:endParaRPr>
          </a:p>
        </p:txBody>
      </p:sp>
      <p:sp>
        <p:nvSpPr>
          <p:cNvPr id="18"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aramond"/>
                <a:ea typeface="+mn-ea"/>
                <a:cs typeface="+mn-cs"/>
                <a:sym typeface="+mn-lt"/>
              </a:rPr>
              <a:t>Copyright © 2020 by Boston Consulting Group. All rights reserved.</a:t>
            </a:r>
          </a:p>
        </p:txBody>
      </p:sp>
      <p:sp>
        <p:nvSpPr>
          <p:cNvPr id="3" name="Title 2"/>
          <p:cNvSpPr>
            <a:spLocks noGrp="1"/>
          </p:cNvSpPr>
          <p:nvPr>
            <p:ph type="title" hasCustomPrompt="1"/>
          </p:nvPr>
        </p:nvSpPr>
        <p:spPr>
          <a:xfrm>
            <a:off x="1260001" y="1245607"/>
            <a:ext cx="9398808" cy="664797"/>
          </a:xfrm>
          <a:prstGeom prst="rect">
            <a:avLst/>
          </a:prstGeom>
        </p:spPr>
        <p:txBody>
          <a:bodyPr/>
          <a:lstStyle>
            <a:lvl1pPr>
              <a:defRPr>
                <a:latin typeface="+mj-lt"/>
                <a:ea typeface="+mj-ea"/>
                <a:cs typeface="+mj-cs"/>
                <a:sym typeface="+mj-lt"/>
              </a:defRPr>
            </a:lvl1pPr>
          </a:lstStyle>
          <a:p>
            <a:r>
              <a:rPr lang="en-US" dirty="0"/>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432199" y="7183024"/>
            <a:ext cx="3466728" cy="6765925"/>
          </a:xfrm>
          <a:custGeom>
            <a:avLst/>
            <a:gdLst>
              <a:gd name="connsiteX0" fmla="*/ 919740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69699 h 3382962"/>
              <a:gd name="connsiteX5" fmla="*/ 106457 w 1365250"/>
              <a:gd name="connsiteY5" fmla="*/ 3371264 h 3382962"/>
              <a:gd name="connsiteX6" fmla="*/ 0 w 1365250"/>
              <a:gd name="connsiteY6" fmla="*/ 0 h 3382962"/>
              <a:gd name="connsiteX7" fmla="*/ 904774 w 1365250"/>
              <a:gd name="connsiteY7" fmla="*/ 0 h 3382962"/>
              <a:gd name="connsiteX8" fmla="*/ 0 w 1365250"/>
              <a:gd name="connsiteY8" fmla="*/ 271432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740" y="0"/>
                </a:moveTo>
                <a:lnTo>
                  <a:pt x="1365250" y="0"/>
                </a:lnTo>
                <a:lnTo>
                  <a:pt x="1365250" y="3382962"/>
                </a:lnTo>
                <a:lnTo>
                  <a:pt x="0" y="3382962"/>
                </a:lnTo>
                <a:lnTo>
                  <a:pt x="0" y="3369699"/>
                </a:lnTo>
                <a:lnTo>
                  <a:pt x="106457" y="3371264"/>
                </a:lnTo>
                <a:close/>
                <a:moveTo>
                  <a:pt x="0" y="0"/>
                </a:moveTo>
                <a:lnTo>
                  <a:pt x="904774" y="0"/>
                </a:lnTo>
                <a:lnTo>
                  <a:pt x="0" y="271432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13951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48164"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sp>
        <p:nvSpPr>
          <p:cNvPr id="63" name="ArrowPanelWhite"/>
          <p:cNvSpPr/>
          <p:nvPr userDrawn="1"/>
        </p:nvSpPr>
        <p:spPr bwMode="white">
          <a:xfrm>
            <a:off x="5" y="0"/>
            <a:ext cx="12870640" cy="13716000"/>
          </a:xfrm>
          <a:custGeom>
            <a:avLst/>
            <a:gdLst>
              <a:gd name="connsiteX0" fmla="*/ 0 w 5068653"/>
              <a:gd name="connsiteY0" fmla="*/ 0 h 6858000"/>
              <a:gd name="connsiteX1" fmla="*/ 4245274 w 5068653"/>
              <a:gd name="connsiteY1" fmla="*/ 0 h 6858000"/>
              <a:gd name="connsiteX2" fmla="*/ 5068653 w 5068653"/>
              <a:gd name="connsiteY2" fmla="*/ 3429000 h 6858000"/>
              <a:gd name="connsiteX3" fmla="*/ 4245274 w 5068653"/>
              <a:gd name="connsiteY3" fmla="*/ 6858000 h 6858000"/>
              <a:gd name="connsiteX4" fmla="*/ 0 w 506865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8653" h="6858000">
                <a:moveTo>
                  <a:pt x="0" y="0"/>
                </a:moveTo>
                <a:lnTo>
                  <a:pt x="4245274" y="0"/>
                </a:lnTo>
                <a:lnTo>
                  <a:pt x="5068653" y="3429000"/>
                </a:lnTo>
                <a:lnTo>
                  <a:pt x="4245274"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2116120" rtl="0" eaLnBrk="1" fontAlgn="auto" latinLnBrk="0" hangingPunct="1">
              <a:lnSpc>
                <a:spcPct val="90000"/>
              </a:lnSpc>
              <a:spcBef>
                <a:spcPts val="0"/>
              </a:spcBef>
              <a:spcAft>
                <a:spcPts val="200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3" name="Title 2"/>
          <p:cNvSpPr>
            <a:spLocks noGrp="1"/>
          </p:cNvSpPr>
          <p:nvPr>
            <p:ph type="title" hasCustomPrompt="1"/>
          </p:nvPr>
        </p:nvSpPr>
        <p:spPr>
          <a:xfrm>
            <a:off x="1260001" y="1245607"/>
            <a:ext cx="9398808" cy="664797"/>
          </a:xfrm>
          <a:prstGeom prst="rect">
            <a:avLst/>
          </a:prstGeom>
        </p:spPr>
        <p:txBody>
          <a:bodyPr/>
          <a:lstStyle>
            <a:lvl1pPr>
              <a:defRPr>
                <a:solidFill>
                  <a:srgbClr val="FFFFFF"/>
                </a:solidFill>
                <a:latin typeface="+mj-lt"/>
                <a:ea typeface="+mj-ea"/>
                <a:cs typeface="+mj-cs"/>
                <a:sym typeface="+mj-lt"/>
              </a:defRPr>
            </a:lvl1pPr>
          </a:lstStyle>
          <a:p>
            <a:r>
              <a:rPr lang="en-US" dirty="0"/>
              <a:t>Click to add title</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8002352" y="6811343"/>
            <a:ext cx="6842464" cy="6923491"/>
          </a:xfrm>
          <a:custGeom>
            <a:avLst/>
            <a:gdLst>
              <a:gd name="connsiteX0" fmla="*/ 2197214 w 2694666"/>
              <a:gd name="connsiteY0" fmla="*/ 0 h 3461745"/>
              <a:gd name="connsiteX1" fmla="*/ 2694666 w 2694666"/>
              <a:gd name="connsiteY1" fmla="*/ 0 h 3461745"/>
              <a:gd name="connsiteX2" fmla="*/ 2694666 w 2694666"/>
              <a:gd name="connsiteY2" fmla="*/ 3461745 h 3461745"/>
              <a:gd name="connsiteX3" fmla="*/ 1617820 w 2694666"/>
              <a:gd name="connsiteY3" fmla="*/ 3461745 h 3461745"/>
              <a:gd name="connsiteX4" fmla="*/ 0 w 2694666"/>
              <a:gd name="connsiteY4" fmla="*/ 0 h 3461745"/>
              <a:gd name="connsiteX5" fmla="*/ 1857210 w 2694666"/>
              <a:gd name="connsiteY5" fmla="*/ 0 h 3461745"/>
              <a:gd name="connsiteX6" fmla="*/ 1151336 w 2694666"/>
              <a:gd name="connsiteY6" fmla="*/ 3461745 h 3461745"/>
              <a:gd name="connsiteX7" fmla="*/ 0 w 2694666"/>
              <a:gd name="connsiteY7"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61745">
                <a:moveTo>
                  <a:pt x="2197214" y="0"/>
                </a:moveTo>
                <a:lnTo>
                  <a:pt x="2694666" y="0"/>
                </a:lnTo>
                <a:lnTo>
                  <a:pt x="2694666" y="3461745"/>
                </a:lnTo>
                <a:lnTo>
                  <a:pt x="1617820" y="3461745"/>
                </a:lnTo>
                <a:close/>
                <a:moveTo>
                  <a:pt x="0" y="0"/>
                </a:moveTo>
                <a:lnTo>
                  <a:pt x="1857210" y="0"/>
                </a:lnTo>
                <a:lnTo>
                  <a:pt x="1151336" y="3461745"/>
                </a:lnTo>
                <a:lnTo>
                  <a:pt x="0" y="3461745"/>
                </a:lnTo>
                <a:close/>
              </a:path>
            </a:pathLst>
          </a:custGeom>
        </p:spPr>
      </p:pic>
      <p:sp>
        <p:nvSpPr>
          <p:cNvPr id="10" name="Page"/>
          <p:cNvSpPr txBox="1"/>
          <p:nvPr userDrawn="1"/>
        </p:nvSpPr>
        <p:spPr>
          <a:xfrm>
            <a:off x="21966653" y="12810073"/>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lumMod val="50000"/>
                  </a:prstClr>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solidFill>
                <a:prstClr val="white">
                  <a:lumMod val="50000"/>
                </a:prstClr>
              </a:solidFill>
              <a:effectLst/>
              <a:uLnTx/>
              <a:uFillTx/>
              <a:latin typeface="Garamond"/>
              <a:ea typeface="+mn-ea"/>
              <a:cs typeface="+mn-cs"/>
              <a:sym typeface="+mn-lt"/>
            </a:endParaRPr>
          </a:p>
        </p:txBody>
      </p:sp>
      <p:sp>
        <p:nvSpPr>
          <p:cNvPr id="12" name="Date Placeholder 2"/>
          <p:cNvSpPr>
            <a:spLocks noGrp="1"/>
          </p:cNvSpPr>
          <p:nvPr>
            <p:ph type="dt" sz="half" idx="12"/>
          </p:nvPr>
        </p:nvSpPr>
        <p:spPr>
          <a:xfrm>
            <a:off x="20037833" y="12810073"/>
            <a:ext cx="1928824" cy="307777"/>
          </a:xfrm>
          <a:prstGeom prst="rect">
            <a:avLst/>
          </a:prstGeom>
        </p:spPr>
        <p:txBody>
          <a:bodyPr/>
          <a:lstStyle>
            <a:lvl1pPr>
              <a:defRPr>
                <a:solidFill>
                  <a:schemeClr val="bg1">
                    <a:lumMod val="50000"/>
                  </a:schemeClr>
                </a:solidFill>
                <a:latin typeface="+mn-lt"/>
                <a:ea typeface="+mn-ea"/>
                <a:cs typeface="+mn-cs"/>
                <a:sym typeface="+mn-lt"/>
              </a:defRPr>
            </a:lvl1pPr>
          </a:lstStyle>
          <a:p>
            <a:pPr defTabSz="2116120" hangingPunct="1"/>
            <a:fld id="{257595F8-3145-4430-8A76-8623E12FB23D}" type="datetime1">
              <a:rPr lang="en-US" b="0" kern="1200" cap="none" smtClean="0">
                <a:solidFill>
                  <a:prstClr val="white">
                    <a:lumMod val="50000"/>
                  </a:prstClr>
                </a:solidFill>
                <a:effectLst/>
              </a:rPr>
              <a:t>5/6/21</a:t>
            </a:fld>
            <a:endParaRPr lang="en-US" b="0" kern="1200" cap="none" dirty="0">
              <a:solidFill>
                <a:prstClr val="white">
                  <a:lumMod val="50000"/>
                </a:prstClr>
              </a:solidFill>
              <a:effectLst/>
            </a:endParaRPr>
          </a:p>
        </p:txBody>
      </p:sp>
      <p:sp>
        <p:nvSpPr>
          <p:cNvPr id="14"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lumMod val="50000"/>
                  </a:prstClr>
                </a:solidFill>
                <a:effectLst/>
                <a:uLnTx/>
                <a:uFillTx/>
                <a:latin typeface="Garamond"/>
                <a:ea typeface="+mn-ea"/>
                <a:cs typeface="+mn-cs"/>
                <a:sym typeface="+mn-lt"/>
              </a:rPr>
              <a:t>Copyright © 2020 by Boston Consulting Group. All rights reserved.</a:t>
            </a:r>
          </a:p>
        </p:txBody>
      </p:sp>
    </p:spTree>
    <p:extLst>
      <p:ext uri="{BB962C8B-B14F-4D97-AF65-F5344CB8AC3E}">
        <p14:creationId xmlns:p14="http://schemas.microsoft.com/office/powerpoint/2010/main" val="3423210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49188"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sp>
        <p:nvSpPr>
          <p:cNvPr id="60" name="ArrowPanelWhite"/>
          <p:cNvSpPr/>
          <p:nvPr userDrawn="1"/>
        </p:nvSpPr>
        <p:spPr>
          <a:xfrm flipH="1" flipV="1">
            <a:off x="-8" y="0"/>
            <a:ext cx="16721323" cy="13716000"/>
          </a:xfrm>
          <a:custGeom>
            <a:avLst/>
            <a:gdLst>
              <a:gd name="connsiteX0" fmla="*/ 6585110 w 6585110"/>
              <a:gd name="connsiteY0" fmla="*/ 6858000 h 6858000"/>
              <a:gd name="connsiteX1" fmla="*/ 5068653 w 6585110"/>
              <a:gd name="connsiteY1" fmla="*/ 6858000 h 6858000"/>
              <a:gd name="connsiteX2" fmla="*/ 4839565 w 6585110"/>
              <a:gd name="connsiteY2" fmla="*/ 6858000 h 6858000"/>
              <a:gd name="connsiteX3" fmla="*/ 823379 w 6585110"/>
              <a:gd name="connsiteY3" fmla="*/ 6858000 h 6858000"/>
              <a:gd name="connsiteX4" fmla="*/ 0 w 6585110"/>
              <a:gd name="connsiteY4" fmla="*/ 3429000 h 6858000"/>
              <a:gd name="connsiteX5" fmla="*/ 823379 w 6585110"/>
              <a:gd name="connsiteY5" fmla="*/ 0 h 6858000"/>
              <a:gd name="connsiteX6" fmla="*/ 4839565 w 6585110"/>
              <a:gd name="connsiteY6" fmla="*/ 0 h 6858000"/>
              <a:gd name="connsiteX7" fmla="*/ 5068653 w 6585110"/>
              <a:gd name="connsiteY7" fmla="*/ 0 h 6858000"/>
              <a:gd name="connsiteX8" fmla="*/ 6585110 w 6585110"/>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85110" h="6858000">
                <a:moveTo>
                  <a:pt x="6585110" y="6858000"/>
                </a:moveTo>
                <a:lnTo>
                  <a:pt x="5068653" y="6858000"/>
                </a:lnTo>
                <a:lnTo>
                  <a:pt x="4839565" y="6858000"/>
                </a:lnTo>
                <a:lnTo>
                  <a:pt x="823379" y="6858000"/>
                </a:lnTo>
                <a:lnTo>
                  <a:pt x="0" y="3429000"/>
                </a:lnTo>
                <a:lnTo>
                  <a:pt x="823379" y="0"/>
                </a:lnTo>
                <a:lnTo>
                  <a:pt x="4839565" y="0"/>
                </a:lnTo>
                <a:lnTo>
                  <a:pt x="5068653" y="0"/>
                </a:lnTo>
                <a:lnTo>
                  <a:pt x="658511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2116120" rtl="0" eaLnBrk="1" fontAlgn="auto" latinLnBrk="0" hangingPunct="1">
              <a:lnSpc>
                <a:spcPct val="90000"/>
              </a:lnSpc>
              <a:spcBef>
                <a:spcPts val="0"/>
              </a:spcBef>
              <a:spcAft>
                <a:spcPts val="200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15" name="Page"/>
          <p:cNvSpPr txBox="1"/>
          <p:nvPr userDrawn="1"/>
        </p:nvSpPr>
        <p:spPr>
          <a:xfrm>
            <a:off x="21966653" y="12810073"/>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13" name="Date Placeholder 4"/>
          <p:cNvSpPr>
            <a:spLocks noGrp="1"/>
          </p:cNvSpPr>
          <p:nvPr>
            <p:ph type="dt" sz="half" idx="10"/>
          </p:nvPr>
        </p:nvSpPr>
        <p:spPr>
          <a:xfrm>
            <a:off x="20037833" y="12810073"/>
            <a:ext cx="1928824" cy="307777"/>
          </a:xfrm>
        </p:spPr>
        <p:txBody>
          <a:bodyPr/>
          <a:lstStyle>
            <a:lvl1pPr>
              <a:defRPr>
                <a:solidFill>
                  <a:schemeClr val="bg1"/>
                </a:solidFill>
                <a:latin typeface="+mn-lt"/>
                <a:ea typeface="+mn-ea"/>
                <a:cs typeface="+mn-cs"/>
                <a:sym typeface="+mn-lt"/>
              </a:defRPr>
            </a:lvl1pPr>
          </a:lstStyle>
          <a:p>
            <a:pPr defTabSz="2116120" hangingPunct="1"/>
            <a:fld id="{13E02D83-D77A-45D5-9DB5-EC688B013429}" type="datetime1">
              <a:rPr lang="en-US" b="0" kern="1200" cap="none" smtClean="0">
                <a:solidFill>
                  <a:prstClr val="white"/>
                </a:solidFill>
                <a:effectLst/>
              </a:rPr>
              <a:t>5/6/21</a:t>
            </a:fld>
            <a:endParaRPr lang="en-US" b="0" kern="1200" cap="none" dirty="0">
              <a:solidFill>
                <a:prstClr val="white"/>
              </a:solidFill>
              <a:effectLst/>
            </a:endParaRPr>
          </a:p>
        </p:txBody>
      </p:sp>
      <p:sp>
        <p:nvSpPr>
          <p:cNvPr id="9"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aramond"/>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1260001" y="1245607"/>
            <a:ext cx="12461160" cy="664797"/>
          </a:xfrm>
          <a:prstGeom prst="rect">
            <a:avLst/>
          </a:prstGeom>
        </p:spPr>
        <p:txBody>
          <a:bodyPr/>
          <a:lstStyle>
            <a:lvl1pPr>
              <a:defRPr>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4285911" y="7183024"/>
            <a:ext cx="3466728" cy="6765925"/>
          </a:xfrm>
          <a:custGeom>
            <a:avLst/>
            <a:gdLst>
              <a:gd name="connsiteX0" fmla="*/ 919740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69699 h 3382962"/>
              <a:gd name="connsiteX5" fmla="*/ 106457 w 1365250"/>
              <a:gd name="connsiteY5" fmla="*/ 3371264 h 3382962"/>
              <a:gd name="connsiteX6" fmla="*/ 0 w 1365250"/>
              <a:gd name="connsiteY6" fmla="*/ 0 h 3382962"/>
              <a:gd name="connsiteX7" fmla="*/ 904774 w 1365250"/>
              <a:gd name="connsiteY7" fmla="*/ 0 h 3382962"/>
              <a:gd name="connsiteX8" fmla="*/ 0 w 1365250"/>
              <a:gd name="connsiteY8" fmla="*/ 271432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740" y="0"/>
                </a:moveTo>
                <a:lnTo>
                  <a:pt x="1365250" y="0"/>
                </a:lnTo>
                <a:lnTo>
                  <a:pt x="1365250" y="3382962"/>
                </a:lnTo>
                <a:lnTo>
                  <a:pt x="0" y="3382962"/>
                </a:lnTo>
                <a:lnTo>
                  <a:pt x="0" y="3369699"/>
                </a:lnTo>
                <a:lnTo>
                  <a:pt x="106457" y="3371264"/>
                </a:lnTo>
                <a:close/>
                <a:moveTo>
                  <a:pt x="0" y="0"/>
                </a:moveTo>
                <a:lnTo>
                  <a:pt x="904774" y="0"/>
                </a:lnTo>
                <a:lnTo>
                  <a:pt x="0" y="271432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6650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50212"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sp>
        <p:nvSpPr>
          <p:cNvPr id="60" name="ArrowPanelWhite"/>
          <p:cNvSpPr/>
          <p:nvPr userDrawn="1"/>
        </p:nvSpPr>
        <p:spPr>
          <a:xfrm flipH="1" flipV="1">
            <a:off x="-8" y="0"/>
            <a:ext cx="16721323" cy="13716000"/>
          </a:xfrm>
          <a:custGeom>
            <a:avLst/>
            <a:gdLst>
              <a:gd name="connsiteX0" fmla="*/ 6585110 w 6585110"/>
              <a:gd name="connsiteY0" fmla="*/ 6858000 h 6858000"/>
              <a:gd name="connsiteX1" fmla="*/ 5068653 w 6585110"/>
              <a:gd name="connsiteY1" fmla="*/ 6858000 h 6858000"/>
              <a:gd name="connsiteX2" fmla="*/ 4839565 w 6585110"/>
              <a:gd name="connsiteY2" fmla="*/ 6858000 h 6858000"/>
              <a:gd name="connsiteX3" fmla="*/ 823379 w 6585110"/>
              <a:gd name="connsiteY3" fmla="*/ 6858000 h 6858000"/>
              <a:gd name="connsiteX4" fmla="*/ 0 w 6585110"/>
              <a:gd name="connsiteY4" fmla="*/ 3429000 h 6858000"/>
              <a:gd name="connsiteX5" fmla="*/ 823379 w 6585110"/>
              <a:gd name="connsiteY5" fmla="*/ 0 h 6858000"/>
              <a:gd name="connsiteX6" fmla="*/ 4839565 w 6585110"/>
              <a:gd name="connsiteY6" fmla="*/ 0 h 6858000"/>
              <a:gd name="connsiteX7" fmla="*/ 5068653 w 6585110"/>
              <a:gd name="connsiteY7" fmla="*/ 0 h 6858000"/>
              <a:gd name="connsiteX8" fmla="*/ 6585110 w 6585110"/>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85110" h="6858000">
                <a:moveTo>
                  <a:pt x="6585110" y="6858000"/>
                </a:moveTo>
                <a:lnTo>
                  <a:pt x="5068653" y="6858000"/>
                </a:lnTo>
                <a:lnTo>
                  <a:pt x="4839565" y="6858000"/>
                </a:lnTo>
                <a:lnTo>
                  <a:pt x="823379" y="6858000"/>
                </a:lnTo>
                <a:lnTo>
                  <a:pt x="0" y="3429000"/>
                </a:lnTo>
                <a:lnTo>
                  <a:pt x="823379" y="0"/>
                </a:lnTo>
                <a:lnTo>
                  <a:pt x="4839565" y="0"/>
                </a:lnTo>
                <a:lnTo>
                  <a:pt x="5068653" y="0"/>
                </a:lnTo>
                <a:lnTo>
                  <a:pt x="6585110" y="0"/>
                </a:lnTo>
                <a:close/>
              </a:path>
            </a:pathLst>
          </a:custGeom>
          <a:gradFill>
            <a:gsLst>
              <a:gs pos="100000">
                <a:schemeClr val="tx2"/>
              </a:gs>
              <a:gs pos="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2116120" rtl="0" eaLnBrk="1" fontAlgn="auto" latinLnBrk="0" hangingPunct="1">
              <a:lnSpc>
                <a:spcPct val="90000"/>
              </a:lnSpc>
              <a:spcBef>
                <a:spcPts val="0"/>
              </a:spcBef>
              <a:spcAft>
                <a:spcPts val="200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2" name="Title 1"/>
          <p:cNvSpPr>
            <a:spLocks noGrp="1"/>
          </p:cNvSpPr>
          <p:nvPr>
            <p:ph type="title" hasCustomPrompt="1"/>
          </p:nvPr>
        </p:nvSpPr>
        <p:spPr>
          <a:xfrm>
            <a:off x="1260001" y="1245607"/>
            <a:ext cx="12461160" cy="664797"/>
          </a:xfrm>
          <a:prstGeom prst="rect">
            <a:avLst/>
          </a:prstGeom>
        </p:spPr>
        <p:txBody>
          <a:bodyPr/>
          <a:lstStyle>
            <a:lvl1pPr>
              <a:defRPr>
                <a:solidFill>
                  <a:srgbClr val="FFFFFF"/>
                </a:solidFill>
                <a:latin typeface="+mj-lt"/>
                <a:ea typeface="+mj-ea"/>
                <a:cs typeface="+mj-cs"/>
                <a:sym typeface="+mj-lt"/>
              </a:defRPr>
            </a:lvl1pPr>
          </a:lstStyle>
          <a:p>
            <a:r>
              <a:rPr lang="en-US" dirty="0"/>
              <a:t>Click to add title</a:t>
            </a:r>
          </a:p>
        </p:txBody>
      </p:sp>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1842357" y="6811343"/>
            <a:ext cx="6842464" cy="6923491"/>
          </a:xfrm>
          <a:custGeom>
            <a:avLst/>
            <a:gdLst>
              <a:gd name="connsiteX0" fmla="*/ 2197214 w 2694666"/>
              <a:gd name="connsiteY0" fmla="*/ 0 h 3461745"/>
              <a:gd name="connsiteX1" fmla="*/ 2694666 w 2694666"/>
              <a:gd name="connsiteY1" fmla="*/ 0 h 3461745"/>
              <a:gd name="connsiteX2" fmla="*/ 2694666 w 2694666"/>
              <a:gd name="connsiteY2" fmla="*/ 3461745 h 3461745"/>
              <a:gd name="connsiteX3" fmla="*/ 1617820 w 2694666"/>
              <a:gd name="connsiteY3" fmla="*/ 3461745 h 3461745"/>
              <a:gd name="connsiteX4" fmla="*/ 0 w 2694666"/>
              <a:gd name="connsiteY4" fmla="*/ 0 h 3461745"/>
              <a:gd name="connsiteX5" fmla="*/ 1857210 w 2694666"/>
              <a:gd name="connsiteY5" fmla="*/ 0 h 3461745"/>
              <a:gd name="connsiteX6" fmla="*/ 1151336 w 2694666"/>
              <a:gd name="connsiteY6" fmla="*/ 3461745 h 3461745"/>
              <a:gd name="connsiteX7" fmla="*/ 0 w 2694666"/>
              <a:gd name="connsiteY7"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61745">
                <a:moveTo>
                  <a:pt x="2197214" y="0"/>
                </a:moveTo>
                <a:lnTo>
                  <a:pt x="2694666" y="0"/>
                </a:lnTo>
                <a:lnTo>
                  <a:pt x="2694666" y="3461745"/>
                </a:lnTo>
                <a:lnTo>
                  <a:pt x="1617820" y="3461745"/>
                </a:lnTo>
                <a:close/>
                <a:moveTo>
                  <a:pt x="0" y="0"/>
                </a:moveTo>
                <a:lnTo>
                  <a:pt x="1857210" y="0"/>
                </a:lnTo>
                <a:lnTo>
                  <a:pt x="1151336" y="3461745"/>
                </a:lnTo>
                <a:lnTo>
                  <a:pt x="0" y="3461745"/>
                </a:lnTo>
                <a:close/>
              </a:path>
            </a:pathLst>
          </a:custGeom>
        </p:spPr>
      </p:pic>
      <p:sp>
        <p:nvSpPr>
          <p:cNvPr id="12" name="Page"/>
          <p:cNvSpPr txBox="1"/>
          <p:nvPr userDrawn="1"/>
        </p:nvSpPr>
        <p:spPr>
          <a:xfrm>
            <a:off x="21966653" y="12810073"/>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lumMod val="50000"/>
                  </a:prstClr>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solidFill>
                <a:prstClr val="white">
                  <a:lumMod val="50000"/>
                </a:prstClr>
              </a:solidFill>
              <a:effectLst/>
              <a:uLnTx/>
              <a:uFillTx/>
              <a:latin typeface="Garamond"/>
              <a:ea typeface="+mn-ea"/>
              <a:cs typeface="+mn-cs"/>
              <a:sym typeface="+mn-lt"/>
            </a:endParaRPr>
          </a:p>
        </p:txBody>
      </p:sp>
      <p:sp>
        <p:nvSpPr>
          <p:cNvPr id="14" name="Date Placeholder 2"/>
          <p:cNvSpPr>
            <a:spLocks noGrp="1"/>
          </p:cNvSpPr>
          <p:nvPr>
            <p:ph type="dt" sz="half" idx="12"/>
          </p:nvPr>
        </p:nvSpPr>
        <p:spPr>
          <a:xfrm>
            <a:off x="20037833" y="12810073"/>
            <a:ext cx="1928824" cy="307777"/>
          </a:xfrm>
          <a:prstGeom prst="rect">
            <a:avLst/>
          </a:prstGeom>
        </p:spPr>
        <p:txBody>
          <a:bodyPr/>
          <a:lstStyle>
            <a:lvl1pPr>
              <a:defRPr>
                <a:solidFill>
                  <a:schemeClr val="bg1">
                    <a:lumMod val="50000"/>
                  </a:schemeClr>
                </a:solidFill>
                <a:latin typeface="+mn-lt"/>
                <a:ea typeface="+mn-ea"/>
                <a:cs typeface="+mn-cs"/>
                <a:sym typeface="+mn-lt"/>
              </a:defRPr>
            </a:lvl1pPr>
          </a:lstStyle>
          <a:p>
            <a:pPr defTabSz="2116120" hangingPunct="1"/>
            <a:fld id="{C88D63D3-79C2-45F3-A91F-10B9D68E40CE}" type="datetime1">
              <a:rPr lang="en-US" b="0" kern="1200" cap="none" smtClean="0">
                <a:solidFill>
                  <a:prstClr val="white">
                    <a:lumMod val="50000"/>
                  </a:prstClr>
                </a:solidFill>
                <a:effectLst/>
              </a:rPr>
              <a:t>5/6/21</a:t>
            </a:fld>
            <a:endParaRPr lang="en-US" b="0" kern="1200" cap="none" dirty="0">
              <a:solidFill>
                <a:prstClr val="white">
                  <a:lumMod val="50000"/>
                </a:prstClr>
              </a:solidFill>
              <a:effectLst/>
            </a:endParaRPr>
          </a:p>
        </p:txBody>
      </p:sp>
      <p:sp>
        <p:nvSpPr>
          <p:cNvPr id="16"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lumMod val="50000"/>
                  </a:prstClr>
                </a:solidFill>
                <a:effectLst/>
                <a:uLnTx/>
                <a:uFillTx/>
                <a:latin typeface="Garamond"/>
                <a:ea typeface="+mn-ea"/>
                <a:cs typeface="+mn-cs"/>
                <a:sym typeface="+mn-lt"/>
              </a:rPr>
              <a:t>Copyright © 2020 by Boston Consulting Group. All rights reserved.</a:t>
            </a:r>
          </a:p>
        </p:txBody>
      </p:sp>
    </p:spTree>
    <p:extLst>
      <p:ext uri="{BB962C8B-B14F-4D97-AF65-F5344CB8AC3E}">
        <p14:creationId xmlns:p14="http://schemas.microsoft.com/office/powerpoint/2010/main" val="4318288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5123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8800"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sp>
        <p:nvSpPr>
          <p:cNvPr id="10" name="Page"/>
          <p:cNvSpPr txBox="1"/>
          <p:nvPr userDrawn="1"/>
        </p:nvSpPr>
        <p:spPr>
          <a:xfrm>
            <a:off x="21966653" y="12810073"/>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7" name="Date Placeholder 4"/>
          <p:cNvSpPr>
            <a:spLocks noGrp="1"/>
          </p:cNvSpPr>
          <p:nvPr>
            <p:ph type="dt" sz="half" idx="10"/>
          </p:nvPr>
        </p:nvSpPr>
        <p:spPr>
          <a:xfrm>
            <a:off x="20037833" y="12810073"/>
            <a:ext cx="1928824" cy="307777"/>
          </a:xfrm>
        </p:spPr>
        <p:txBody>
          <a:bodyPr/>
          <a:lstStyle>
            <a:lvl1pPr>
              <a:defRPr>
                <a:solidFill>
                  <a:schemeClr val="bg1"/>
                </a:solidFill>
                <a:latin typeface="+mn-lt"/>
                <a:ea typeface="+mn-ea"/>
                <a:cs typeface="+mn-cs"/>
                <a:sym typeface="+mn-lt"/>
              </a:defRPr>
            </a:lvl1pPr>
          </a:lstStyle>
          <a:p>
            <a:pPr defTabSz="2116120" hangingPunct="1"/>
            <a:fld id="{73F11428-B0D1-4419-9C57-A6E976BDDEB4}" type="datetime1">
              <a:rPr lang="en-US" b="0" kern="1200" cap="none" smtClean="0">
                <a:solidFill>
                  <a:prstClr val="white"/>
                </a:solidFill>
                <a:effectLst/>
              </a:rPr>
              <a:t>5/6/21</a:t>
            </a:fld>
            <a:endParaRPr lang="en-US" b="0" kern="1200" cap="none" dirty="0">
              <a:solidFill>
                <a:prstClr val="white"/>
              </a:solidFill>
              <a:effectLst/>
            </a:endParaRPr>
          </a:p>
        </p:txBody>
      </p:sp>
      <p:sp>
        <p:nvSpPr>
          <p:cNvPr id="9"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aramond"/>
                <a:ea typeface="+mn-ea"/>
                <a:cs typeface="+mn-cs"/>
                <a:sym typeface="+mn-lt"/>
              </a:rPr>
              <a:t>Copyright © 2020 by Boston Consulting Group. All rights reserved.</a:t>
            </a:r>
          </a:p>
        </p:txBody>
      </p:sp>
      <p:sp>
        <p:nvSpPr>
          <p:cNvPr id="11" name="Title 1"/>
          <p:cNvSpPr>
            <a:spLocks noGrp="1"/>
          </p:cNvSpPr>
          <p:nvPr>
            <p:ph type="title" hasCustomPrompt="1"/>
          </p:nvPr>
        </p:nvSpPr>
        <p:spPr>
          <a:xfrm>
            <a:off x="1599739" y="7652671"/>
            <a:ext cx="21180496" cy="3213101"/>
          </a:xfrm>
        </p:spPr>
        <p:txBody>
          <a:bodyPr anchor="b">
            <a:noAutofit/>
          </a:bodyPr>
          <a:lstStyle>
            <a:lvl1pPr marL="0" algn="l" defTabSz="1828778" rtl="0" eaLnBrk="1" fontAlgn="auto" latinLnBrk="0" hangingPunct="1">
              <a:lnSpc>
                <a:spcPts val="12000"/>
              </a:lnSpc>
              <a:spcBef>
                <a:spcPts val="0"/>
              </a:spcBef>
              <a:spcAft>
                <a:spcPts val="0"/>
              </a:spcAft>
              <a:defRPr lang="en-US" sz="88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2081657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5226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8800"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pPr defTabSz="2116120" hangingPunct="1"/>
            <a:fld id="{B8BA5C24-B210-4937-9C77-D90A6CC58472}" type="datetime1">
              <a:rPr lang="en-US" b="0" kern="1200" cap="none" smtClean="0">
                <a:solidFill>
                  <a:prstClr val="white">
                    <a:lumMod val="50000"/>
                  </a:prstClr>
                </a:solidFill>
                <a:effectLst/>
              </a:rPr>
              <a:t>5/6/21</a:t>
            </a:fld>
            <a:endParaRPr lang="en-US" b="0" kern="1200" cap="none" dirty="0">
              <a:solidFill>
                <a:prstClr val="white">
                  <a:lumMod val="50000"/>
                </a:prstClr>
              </a:solidFill>
              <a:effectLst/>
            </a:endParaRPr>
          </a:p>
        </p:txBody>
      </p:sp>
      <p:sp>
        <p:nvSpPr>
          <p:cNvPr id="11"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lumMod val="50000"/>
                  </a:prstClr>
                </a:solidFill>
                <a:effectLst/>
                <a:uLnTx/>
                <a:uFillTx/>
                <a:latin typeface="Garamond"/>
                <a:ea typeface="+mn-ea"/>
                <a:cs typeface="+mn-cs"/>
                <a:sym typeface="+mn-lt"/>
              </a:rPr>
              <a:t>Copyright © 2020 by Boston Consulting Group. All rights reserved.</a:t>
            </a:r>
          </a:p>
        </p:txBody>
      </p:sp>
      <p:sp>
        <p:nvSpPr>
          <p:cNvPr id="7" name="Title 1"/>
          <p:cNvSpPr>
            <a:spLocks noGrp="1"/>
          </p:cNvSpPr>
          <p:nvPr>
            <p:ph type="title" hasCustomPrompt="1"/>
          </p:nvPr>
        </p:nvSpPr>
        <p:spPr>
          <a:xfrm>
            <a:off x="1599736" y="7652671"/>
            <a:ext cx="21180496" cy="3213101"/>
          </a:xfrm>
          <a:prstGeom prst="rect">
            <a:avLst/>
          </a:prstGeom>
        </p:spPr>
        <p:txBody>
          <a:bodyPr anchor="b">
            <a:noAutofit/>
          </a:bodyPr>
          <a:lstStyle>
            <a:lvl1pPr marL="0" algn="l" defTabSz="1828778" rtl="0" eaLnBrk="1" fontAlgn="auto" latinLnBrk="0" hangingPunct="1">
              <a:lnSpc>
                <a:spcPts val="12000"/>
              </a:lnSpc>
              <a:spcBef>
                <a:spcPts val="0"/>
              </a:spcBef>
              <a:spcAft>
                <a:spcPts val="0"/>
              </a:spcAft>
              <a:defRPr lang="en-US" sz="8800" kern="1200" baseline="0" dirty="0">
                <a:solidFill>
                  <a:schemeClr val="accent4"/>
                </a:solidFill>
                <a:latin typeface="+mj-lt"/>
                <a:ea typeface="+mj-ea"/>
                <a:cs typeface="+mj-cs"/>
                <a:sym typeface="+mj-lt"/>
              </a:defRPr>
            </a:lvl1pPr>
          </a:lstStyle>
          <a:p>
            <a:r>
              <a:rPr lang="en-US" dirty="0"/>
              <a:t>Click to add big statement text</a:t>
            </a:r>
          </a:p>
        </p:txBody>
      </p:sp>
      <p:sp>
        <p:nvSpPr>
          <p:cNvPr id="6" name="Square"/>
          <p:cNvSpPr>
            <a:spLocks/>
          </p:cNvSpPr>
          <p:nvPr userDrawn="1"/>
        </p:nvSpPr>
        <p:spPr bwMode="white">
          <a:xfrm>
            <a:off x="1599736" y="1245600"/>
            <a:ext cx="1828800" cy="18360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aramond"/>
              <a:ea typeface="+mn-ea"/>
              <a:cs typeface="+mn-cs"/>
              <a:sym typeface="+mn-lt"/>
            </a:endParaRPr>
          </a:p>
        </p:txBody>
      </p:sp>
    </p:spTree>
    <p:extLst>
      <p:ext uri="{BB962C8B-B14F-4D97-AF65-F5344CB8AC3E}">
        <p14:creationId xmlns:p14="http://schemas.microsoft.com/office/powerpoint/2010/main" val="19898840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5328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4235" y="4235"/>
                        <a:ext cx="4235" cy="4235"/>
                      </a:xfrm>
                      <a:prstGeom prst="rect">
                        <a:avLst/>
                      </a:prstGeom>
                    </p:spPr>
                  </p:pic>
                </p:oleObj>
              </mc:Fallback>
            </mc:AlternateContent>
          </a:graphicData>
        </a:graphic>
      </p:graphicFrame>
      <p:sp>
        <p:nvSpPr>
          <p:cNvPr id="6" name="Page"/>
          <p:cNvSpPr txBox="1"/>
          <p:nvPr userDrawn="1"/>
        </p:nvSpPr>
        <p:spPr>
          <a:xfrm>
            <a:off x="21966653" y="12810073"/>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pPr defTabSz="2116120" hangingPunct="1"/>
            <a:fld id="{AA164FED-D6AE-4FB1-B46D-F6321A055F91}" type="datetime1">
              <a:rPr lang="en-US" b="0" kern="1200" cap="none" smtClean="0">
                <a:solidFill>
                  <a:prstClr val="white"/>
                </a:solidFill>
                <a:effectLst/>
              </a:rPr>
              <a:t>5/6/21</a:t>
            </a:fld>
            <a:endParaRPr lang="en-US" b="0" kern="1200" cap="none" dirty="0">
              <a:solidFill>
                <a:prstClr val="white"/>
              </a:solidFill>
              <a:effectLst/>
            </a:endParaRPr>
          </a:p>
        </p:txBody>
      </p:sp>
      <p:grpSp>
        <p:nvGrpSpPr>
          <p:cNvPr id="14" name="Bubble"/>
          <p:cNvGrpSpPr/>
          <p:nvPr userDrawn="1"/>
        </p:nvGrpSpPr>
        <p:grpSpPr>
          <a:xfrm>
            <a:off x="3" y="0"/>
            <a:ext cx="24379968" cy="11719771"/>
            <a:chOff x="1" y="0"/>
            <a:chExt cx="9601200" cy="5859885"/>
          </a:xfrm>
        </p:grpSpPr>
        <p:sp>
          <p:nvSpPr>
            <p:cNvPr id="15" name="Rectangle 14"/>
            <p:cNvSpPr/>
            <p:nvPr userDrawn="1"/>
          </p:nvSpPr>
          <p:spPr>
            <a:xfrm>
              <a:off x="1" y="0"/>
              <a:ext cx="9601200" cy="4989600"/>
            </a:xfrm>
            <a:prstGeom prst="rect">
              <a:avLst/>
            </a:pr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3125" b="0" i="0" u="none" strike="noStrike" kern="1200" cap="none" spc="0" normalizeH="0" baseline="0" noProof="0" dirty="0">
                <a:ln>
                  <a:noFill/>
                </a:ln>
                <a:solidFill>
                  <a:srgbClr val="000000"/>
                </a:solidFill>
                <a:effectLst/>
                <a:uLnTx/>
                <a:uFillTx/>
                <a:latin typeface="Garamond"/>
                <a:ea typeface="+mn-ea"/>
                <a:cs typeface="+mn-cs"/>
                <a:sym typeface="+mn-lt"/>
              </a:endParaRPr>
            </a:p>
          </p:txBody>
        </p:sp>
        <p:sp>
          <p:nvSpPr>
            <p:cNvPr id="16" name="Right Triangle 15"/>
            <p:cNvSpPr/>
            <p:nvPr userDrawn="1"/>
          </p:nvSpPr>
          <p:spPr>
            <a:xfrm rot="5400000">
              <a:off x="2109600" y="4820336"/>
              <a:ext cx="1039549" cy="1039549"/>
            </a:xfrm>
            <a:prstGeom prst="rtTriangle">
              <a:avLst/>
            </a:pr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3125" b="0" i="0" u="none" strike="noStrike" kern="1200" cap="none" spc="0" normalizeH="0" baseline="0" noProof="0" dirty="0">
                <a:ln>
                  <a:noFill/>
                </a:ln>
                <a:solidFill>
                  <a:srgbClr val="000000"/>
                </a:solidFill>
                <a:effectLst/>
                <a:uLnTx/>
                <a:uFillTx/>
                <a:latin typeface="Garamond"/>
                <a:ea typeface="+mn-ea"/>
                <a:cs typeface="+mn-cs"/>
                <a:sym typeface="+mn-lt"/>
              </a:endParaRPr>
            </a:p>
          </p:txBody>
        </p:sp>
      </p:grpSp>
      <p:pic>
        <p:nvPicPr>
          <p:cNvPr id="8" name="Picture 7"/>
          <p:cNvPicPr>
            <a:picLocks noChangeAspect="1"/>
          </p:cNvPicPr>
          <p:nvPr userDrawn="1"/>
        </p:nvPicPr>
        <p:blipFill rotWithShape="1">
          <a:blip r:embed="rId6">
            <a:extLst>
              <a:ext uri="{28A0092B-C50C-407E-A947-70E740481C1C}">
                <a14:useLocalDpi xmlns:a14="http://schemas.microsoft.com/office/drawing/2010/main" val="0"/>
              </a:ext>
            </a:extLst>
          </a:blip>
          <a:srcRect l="25898" r="3633" b="26071"/>
          <a:stretch/>
        </p:blipFill>
        <p:spPr>
          <a:xfrm rot="16200000" flipH="1">
            <a:off x="14296809" y="1020076"/>
            <a:ext cx="1125064" cy="19049320"/>
          </a:xfrm>
          <a:custGeom>
            <a:avLst/>
            <a:gdLst>
              <a:gd name="connsiteX0" fmla="*/ 0 w 562532"/>
              <a:gd name="connsiteY0" fmla="*/ 0 h 7501910"/>
              <a:gd name="connsiteX1" fmla="*/ 0 w 562532"/>
              <a:gd name="connsiteY1" fmla="*/ 7501910 h 7501910"/>
              <a:gd name="connsiteX2" fmla="*/ 562532 w 562532"/>
              <a:gd name="connsiteY2" fmla="*/ 7501910 h 7501910"/>
              <a:gd name="connsiteX3" fmla="*/ 562532 w 562532"/>
              <a:gd name="connsiteY3" fmla="*/ 0 h 7501910"/>
            </a:gdLst>
            <a:ahLst/>
            <a:cxnLst>
              <a:cxn ang="0">
                <a:pos x="connsiteX0" y="connsiteY0"/>
              </a:cxn>
              <a:cxn ang="0">
                <a:pos x="connsiteX1" y="connsiteY1"/>
              </a:cxn>
              <a:cxn ang="0">
                <a:pos x="connsiteX2" y="connsiteY2"/>
              </a:cxn>
              <a:cxn ang="0">
                <a:pos x="connsiteX3" y="connsiteY3"/>
              </a:cxn>
            </a:cxnLst>
            <a:rect l="l" t="t" r="r" b="b"/>
            <a:pathLst>
              <a:path w="562532" h="7501910">
                <a:moveTo>
                  <a:pt x="0" y="0"/>
                </a:moveTo>
                <a:lnTo>
                  <a:pt x="0" y="7501910"/>
                </a:lnTo>
                <a:lnTo>
                  <a:pt x="562532" y="7501910"/>
                </a:lnTo>
                <a:lnTo>
                  <a:pt x="562532" y="0"/>
                </a:lnTo>
                <a:close/>
              </a:path>
            </a:pathLst>
          </a:custGeom>
        </p:spPr>
      </p:pic>
    </p:spTree>
    <p:extLst>
      <p:ext uri="{BB962C8B-B14F-4D97-AF65-F5344CB8AC3E}">
        <p14:creationId xmlns:p14="http://schemas.microsoft.com/office/powerpoint/2010/main" val="1358908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54308"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sp>
        <p:nvSpPr>
          <p:cNvPr id="5" name="Page"/>
          <p:cNvSpPr txBox="1"/>
          <p:nvPr/>
        </p:nvSpPr>
        <p:spPr bwMode="white">
          <a:xfrm>
            <a:off x="21966653" y="12808801"/>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pPr defTabSz="2116120" hangingPunct="1"/>
            <a:fld id="{FF221F9E-7C36-4578-B316-143C1B7E4AAB}" type="datetime1">
              <a:rPr lang="en-US" b="0" kern="1200" cap="none" smtClean="0">
                <a:solidFill>
                  <a:prstClr val="white"/>
                </a:solidFill>
                <a:effectLst/>
              </a:rPr>
              <a:t>5/6/21</a:t>
            </a:fld>
            <a:endParaRPr lang="en-US" b="0" kern="1200" cap="none" dirty="0">
              <a:solidFill>
                <a:prstClr val="white"/>
              </a:solidFill>
              <a:effectLst/>
            </a:endParaRPr>
          </a:p>
        </p:txBody>
      </p:sp>
      <p:sp>
        <p:nvSpPr>
          <p:cNvPr id="11"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aramond"/>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1260002" y="1245607"/>
            <a:ext cx="21866701" cy="664797"/>
          </a:xfrm>
        </p:spPr>
        <p:txBody>
          <a:bodyPr/>
          <a:lstStyle>
            <a:lvl1pPr>
              <a:defRPr>
                <a:solidFill>
                  <a:schemeClr val="bg1"/>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4498193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55332"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4235" y="4235"/>
                        <a:ext cx="4235" cy="4235"/>
                      </a:xfrm>
                      <a:prstGeom prst="rect">
                        <a:avLst/>
                      </a:prstGeom>
                    </p:spPr>
                  </p:pic>
                </p:oleObj>
              </mc:Fallback>
            </mc:AlternateContent>
          </a:graphicData>
        </a:graphic>
      </p:graphicFrame>
      <p:sp>
        <p:nvSpPr>
          <p:cNvPr id="64" name="ArrowPanelWhite"/>
          <p:cNvSpPr/>
          <p:nvPr userDrawn="1"/>
        </p:nvSpPr>
        <p:spPr bwMode="ltGray">
          <a:xfrm>
            <a:off x="3" y="4"/>
            <a:ext cx="8274133" cy="13718621"/>
          </a:xfrm>
          <a:custGeom>
            <a:avLst/>
            <a:gdLst>
              <a:gd name="connsiteX0" fmla="*/ 0 w 3258479"/>
              <a:gd name="connsiteY0" fmla="*/ 0 h 6859310"/>
              <a:gd name="connsiteX1" fmla="*/ 156629 w 3258479"/>
              <a:gd name="connsiteY1" fmla="*/ 0 h 6859310"/>
              <a:gd name="connsiteX2" fmla="*/ 156629 w 3258479"/>
              <a:gd name="connsiteY2" fmla="*/ 1310 h 6859310"/>
              <a:gd name="connsiteX3" fmla="*/ 2435100 w 3258479"/>
              <a:gd name="connsiteY3" fmla="*/ 1310 h 6859310"/>
              <a:gd name="connsiteX4" fmla="*/ 3258479 w 3258479"/>
              <a:gd name="connsiteY4" fmla="*/ 3430310 h 6859310"/>
              <a:gd name="connsiteX5" fmla="*/ 2435100 w 3258479"/>
              <a:gd name="connsiteY5" fmla="*/ 6859310 h 6859310"/>
              <a:gd name="connsiteX6" fmla="*/ 0 w 3258479"/>
              <a:gd name="connsiteY6" fmla="*/ 685931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58479" h="6859310">
                <a:moveTo>
                  <a:pt x="0" y="0"/>
                </a:moveTo>
                <a:lnTo>
                  <a:pt x="156629" y="0"/>
                </a:lnTo>
                <a:lnTo>
                  <a:pt x="156629" y="1310"/>
                </a:lnTo>
                <a:lnTo>
                  <a:pt x="2435100" y="1310"/>
                </a:lnTo>
                <a:lnTo>
                  <a:pt x="3258479" y="3430310"/>
                </a:lnTo>
                <a:lnTo>
                  <a:pt x="2435100" y="6859310"/>
                </a:lnTo>
                <a:lnTo>
                  <a:pt x="0" y="685931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2116120" rtl="0" eaLnBrk="1" fontAlgn="auto" latinLnBrk="0" hangingPunct="1">
              <a:lnSpc>
                <a:spcPct val="90000"/>
              </a:lnSpc>
              <a:spcBef>
                <a:spcPts val="0"/>
              </a:spcBef>
              <a:spcAft>
                <a:spcPts val="200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19" name="Page"/>
          <p:cNvSpPr txBox="1"/>
          <p:nvPr userDrawn="1"/>
        </p:nvSpPr>
        <p:spPr>
          <a:xfrm>
            <a:off x="21966653" y="12810073"/>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15" name="Date Placeholder 4"/>
          <p:cNvSpPr>
            <a:spLocks noGrp="1"/>
          </p:cNvSpPr>
          <p:nvPr>
            <p:ph type="dt" sz="half" idx="10"/>
          </p:nvPr>
        </p:nvSpPr>
        <p:spPr>
          <a:xfrm>
            <a:off x="20037833" y="12810073"/>
            <a:ext cx="1928824" cy="307777"/>
          </a:xfrm>
        </p:spPr>
        <p:txBody>
          <a:bodyPr/>
          <a:lstStyle>
            <a:lvl1pPr>
              <a:defRPr>
                <a:solidFill>
                  <a:schemeClr val="bg1"/>
                </a:solidFill>
                <a:latin typeface="+mn-lt"/>
                <a:ea typeface="+mn-ea"/>
                <a:cs typeface="+mn-cs"/>
                <a:sym typeface="+mn-lt"/>
              </a:defRPr>
            </a:lvl1pPr>
          </a:lstStyle>
          <a:p>
            <a:pPr defTabSz="2116120" hangingPunct="1"/>
            <a:fld id="{922F8108-C4CA-42A4-AEA5-6DDBEC221864}" type="datetime1">
              <a:rPr lang="en-US" b="0" kern="1200" cap="none" smtClean="0">
                <a:solidFill>
                  <a:prstClr val="white"/>
                </a:solidFill>
                <a:effectLst/>
              </a:rPr>
              <a:t>5/6/21</a:t>
            </a:fld>
            <a:endParaRPr lang="en-US" b="0" kern="1200" cap="none" dirty="0">
              <a:solidFill>
                <a:prstClr val="white"/>
              </a:solidFill>
              <a:effectLst/>
            </a:endParaRPr>
          </a:p>
        </p:txBody>
      </p:sp>
      <p:sp>
        <p:nvSpPr>
          <p:cNvPr id="24"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aramond"/>
                <a:ea typeface="+mn-ea"/>
                <a:cs typeface="+mn-cs"/>
                <a:sym typeface="+mn-lt"/>
              </a:rPr>
              <a:t>Copyright © 2020 by Boston Consulting Group. All rights reserved.</a:t>
            </a:r>
          </a:p>
        </p:txBody>
      </p:sp>
      <p:sp>
        <p:nvSpPr>
          <p:cNvPr id="20" name="TextBox 19"/>
          <p:cNvSpPr txBox="1"/>
          <p:nvPr userDrawn="1"/>
        </p:nvSpPr>
        <p:spPr>
          <a:xfrm>
            <a:off x="1260001" y="5085218"/>
            <a:ext cx="5674200" cy="3545586"/>
          </a:xfrm>
          <a:prstGeom prst="rect">
            <a:avLst/>
          </a:prstGeom>
          <a:noFill/>
        </p:spPr>
        <p:txBody>
          <a:bodyPr wrap="square" lIns="0" tIns="0" rIns="0" bIns="0" rtlCol="0" anchor="ctr">
            <a:spAutoFit/>
          </a:bodyPr>
          <a:lstStyle/>
          <a:p>
            <a:pPr marL="0" marR="0" lvl="0" indent="0" algn="l" defTabSz="1828778" rtl="0" eaLnBrk="1" fontAlgn="auto" latinLnBrk="0" hangingPunct="1">
              <a:lnSpc>
                <a:spcPct val="90000"/>
              </a:lnSpc>
              <a:spcBef>
                <a:spcPct val="0"/>
              </a:spcBef>
              <a:spcAft>
                <a:spcPts val="1400"/>
              </a:spcAft>
              <a:buClrTx/>
              <a:buSzTx/>
              <a:buFontTx/>
              <a:buNone/>
              <a:tabLst/>
              <a:defRPr/>
            </a:pPr>
            <a:r>
              <a:rPr kumimoji="0" lang="en-US" sz="12800" b="0" i="0" u="none" strike="noStrike" kern="1200" cap="none" spc="0" normalizeH="0" baseline="0" noProof="0" dirty="0">
                <a:ln>
                  <a:noFill/>
                </a:ln>
                <a:solidFill>
                  <a:srgbClr val="002060"/>
                </a:solidFill>
                <a:effectLst/>
                <a:uLnTx/>
                <a:uFillTx/>
                <a:latin typeface="Garamond"/>
                <a:ea typeface="+mn-ea"/>
                <a:cs typeface="+mn-cs"/>
                <a:sym typeface="+mn-lt"/>
              </a:rPr>
              <a:t>Table of contents</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848111" y="7183992"/>
            <a:ext cx="3466728" cy="6765925"/>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42174 w 1365250"/>
              <a:gd name="connsiteY5" fmla="*/ 3265653 h 3382962"/>
              <a:gd name="connsiteX6" fmla="*/ 11501 w 1365250"/>
              <a:gd name="connsiteY6" fmla="*/ 3299343 h 3382962"/>
              <a:gd name="connsiteX7" fmla="*/ 113895 w 1365250"/>
              <a:gd name="connsiteY7" fmla="*/ 3306486 h 3382962"/>
              <a:gd name="connsiteX8" fmla="*/ 123928 w 1365250"/>
              <a:gd name="connsiteY8" fmla="*/ 3267469 h 3382962"/>
              <a:gd name="connsiteX9" fmla="*/ 129871 w 1365250"/>
              <a:gd name="connsiteY9" fmla="*/ 3267601 h 3382962"/>
              <a:gd name="connsiteX10" fmla="*/ 0 w 1365250"/>
              <a:gd name="connsiteY10" fmla="*/ 0 h 3382962"/>
              <a:gd name="connsiteX11" fmla="*/ 909386 w 1365250"/>
              <a:gd name="connsiteY11" fmla="*/ 0 h 3382962"/>
              <a:gd name="connsiteX12" fmla="*/ 0 w 1365250"/>
              <a:gd name="connsiteY12"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65250" h="3382962">
                <a:moveTo>
                  <a:pt x="919541" y="0"/>
                </a:moveTo>
                <a:lnTo>
                  <a:pt x="1365250" y="0"/>
                </a:lnTo>
                <a:lnTo>
                  <a:pt x="1365250" y="3382962"/>
                </a:lnTo>
                <a:lnTo>
                  <a:pt x="0" y="3382962"/>
                </a:lnTo>
                <a:lnTo>
                  <a:pt x="0" y="3264716"/>
                </a:lnTo>
                <a:lnTo>
                  <a:pt x="42174" y="3265653"/>
                </a:lnTo>
                <a:lnTo>
                  <a:pt x="11501" y="3299343"/>
                </a:lnTo>
                <a:lnTo>
                  <a:pt x="113895" y="3306486"/>
                </a:lnTo>
                <a:lnTo>
                  <a:pt x="123928" y="3267469"/>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5069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56356"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4235" y="4235"/>
                        <a:ext cx="4235" cy="4235"/>
                      </a:xfrm>
                      <a:prstGeom prst="rect">
                        <a:avLst/>
                      </a:prstGeom>
                    </p:spPr>
                  </p:pic>
                </p:oleObj>
              </mc:Fallback>
            </mc:AlternateContent>
          </a:graphicData>
        </a:graphic>
      </p:graphicFrame>
      <p:sp>
        <p:nvSpPr>
          <p:cNvPr id="11" name="Page"/>
          <p:cNvSpPr txBox="1"/>
          <p:nvPr userDrawn="1"/>
        </p:nvSpPr>
        <p:spPr>
          <a:xfrm>
            <a:off x="21966653" y="12810073"/>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6" name="Date Placeholder 4"/>
          <p:cNvSpPr>
            <a:spLocks noGrp="1"/>
          </p:cNvSpPr>
          <p:nvPr>
            <p:ph type="dt" sz="half" idx="10"/>
          </p:nvPr>
        </p:nvSpPr>
        <p:spPr>
          <a:xfrm>
            <a:off x="20037833" y="12810073"/>
            <a:ext cx="1928824" cy="307777"/>
          </a:xfrm>
        </p:spPr>
        <p:txBody>
          <a:bodyPr/>
          <a:lstStyle>
            <a:lvl1pPr>
              <a:defRPr>
                <a:solidFill>
                  <a:schemeClr val="bg1"/>
                </a:solidFill>
                <a:latin typeface="+mn-lt"/>
                <a:ea typeface="+mn-ea"/>
                <a:cs typeface="+mn-cs"/>
                <a:sym typeface="+mn-lt"/>
              </a:defRPr>
            </a:lvl1pPr>
          </a:lstStyle>
          <a:p>
            <a:pPr defTabSz="2116120" hangingPunct="1"/>
            <a:fld id="{220FBAF2-009F-4FA2-969E-B451A4FAF555}" type="datetime1">
              <a:rPr lang="en-US" b="0" kern="1200" cap="none" smtClean="0">
                <a:solidFill>
                  <a:prstClr val="white"/>
                </a:solidFill>
                <a:effectLst/>
              </a:rPr>
              <a:t>5/6/21</a:t>
            </a:fld>
            <a:endParaRPr lang="en-US" b="0" kern="1200" cap="none" dirty="0">
              <a:solidFill>
                <a:prstClr val="white"/>
              </a:solidFill>
              <a:effectLst/>
            </a:endParaRPr>
          </a:p>
        </p:txBody>
      </p:sp>
      <p:sp>
        <p:nvSpPr>
          <p:cNvPr id="9"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aramond"/>
                <a:ea typeface="+mn-ea"/>
                <a:cs typeface="+mn-cs"/>
                <a:sym typeface="+mn-lt"/>
              </a:rPr>
              <a:t>Copyright © 2020 by Boston Consulting Group. All rights reserved.</a:t>
            </a:r>
          </a:p>
        </p:txBody>
      </p:sp>
    </p:spTree>
    <p:extLst>
      <p:ext uri="{BB962C8B-B14F-4D97-AF65-F5344CB8AC3E}">
        <p14:creationId xmlns:p14="http://schemas.microsoft.com/office/powerpoint/2010/main" val="11867866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4032" y="3177"/>
          <a:ext cx="4032" cy="3176"/>
        </p:xfrm>
        <a:graphic>
          <a:graphicData uri="http://schemas.openxmlformats.org/presentationml/2006/ole">
            <mc:AlternateContent xmlns:mc="http://schemas.openxmlformats.org/markup-compatibility/2006">
              <mc:Choice xmlns:v="urn:schemas-microsoft-com:vml" Requires="v">
                <p:oleObj spid="_x0000_s208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4032" y="3177"/>
                        <a:ext cx="4032" cy="3176"/>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8533"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sp>
        <p:nvSpPr>
          <p:cNvPr id="21" name="Rectangle 20"/>
          <p:cNvSpPr/>
          <p:nvPr userDrawn="1"/>
        </p:nvSpPr>
        <p:spPr>
          <a:xfrm flipV="1">
            <a:off x="186268" y="3678768"/>
            <a:ext cx="24036867" cy="182032"/>
          </a:xfrm>
          <a:prstGeom prst="rect">
            <a:avLst/>
          </a:prstGeom>
          <a:solidFill>
            <a:srgbClr val="4F81BD">
              <a:alpha val="100000"/>
            </a:srgbClr>
          </a:solidFill>
          <a:ln w="19050" cap="sq" cmpd="sng" algn="ctr">
            <a:noFill/>
            <a:prstDash val="solid"/>
          </a:ln>
          <a:effectLst/>
        </p:spPr>
        <p:txBody>
          <a:bodyPr anchor="ctr"/>
          <a:lstStyle/>
          <a:p>
            <a:pPr marL="0" marR="0" lvl="0" indent="0" algn="ctr" defTabSz="2438430" rtl="0" eaLnBrk="1" fontAlgn="base" latinLnBrk="0" hangingPunct="1">
              <a:lnSpc>
                <a:spcPct val="100000"/>
              </a:lnSpc>
              <a:spcBef>
                <a:spcPct val="0"/>
              </a:spcBef>
              <a:spcAft>
                <a:spcPct val="0"/>
              </a:spcAft>
              <a:buClrTx/>
              <a:buSzTx/>
              <a:buFontTx/>
              <a:buNone/>
              <a:tabLst/>
              <a:defRPr/>
            </a:pPr>
            <a:endParaRPr kumimoji="0" lang="en-US" sz="4800" b="0" i="0" u="none" strike="noStrike" kern="0" cap="none" spc="0" normalizeH="0" baseline="0" noProof="0" dirty="0">
              <a:ln>
                <a:noFill/>
              </a:ln>
              <a:solidFill>
                <a:prstClr val="white"/>
              </a:solidFill>
              <a:effectLst/>
              <a:uLnTx/>
              <a:uFillTx/>
              <a:latin typeface="Calibri"/>
              <a:ea typeface="+mn-ea"/>
              <a:cs typeface="+mn-cs"/>
            </a:endParaRPr>
          </a:p>
        </p:txBody>
      </p:sp>
      <p:sp>
        <p:nvSpPr>
          <p:cNvPr id="22" name="Rectangle 21"/>
          <p:cNvSpPr/>
          <p:nvPr userDrawn="1"/>
        </p:nvSpPr>
        <p:spPr>
          <a:xfrm>
            <a:off x="186268" y="3606802"/>
            <a:ext cx="24036867" cy="93133"/>
          </a:xfrm>
          <a:prstGeom prst="rect">
            <a:avLst/>
          </a:prstGeom>
          <a:solidFill>
            <a:srgbClr val="4F81BD">
              <a:tint val="60000"/>
            </a:srgbClr>
          </a:solidFill>
          <a:ln w="19050" cap="sq" cmpd="sng" algn="ctr">
            <a:noFill/>
            <a:prstDash val="solid"/>
          </a:ln>
          <a:effectLst/>
        </p:spPr>
        <p:txBody>
          <a:bodyPr anchor="ctr"/>
          <a:lstStyle/>
          <a:p>
            <a:pPr marL="0" marR="0" lvl="0" indent="0" algn="ctr" defTabSz="2438430" rtl="0" eaLnBrk="1" fontAlgn="base" latinLnBrk="0" hangingPunct="1">
              <a:lnSpc>
                <a:spcPct val="100000"/>
              </a:lnSpc>
              <a:spcBef>
                <a:spcPct val="0"/>
              </a:spcBef>
              <a:spcAft>
                <a:spcPct val="0"/>
              </a:spcAft>
              <a:buClrTx/>
              <a:buSzTx/>
              <a:buFontTx/>
              <a:buNone/>
              <a:tabLst/>
              <a:defRPr/>
            </a:pPr>
            <a:endParaRPr kumimoji="0" lang="en-US" sz="4800" b="0" i="0" u="none" strike="noStrike" kern="0" cap="none" spc="0" normalizeH="0" baseline="0" noProof="0" dirty="0">
              <a:ln>
                <a:noFill/>
              </a:ln>
              <a:solidFill>
                <a:prstClr val="white"/>
              </a:solidFill>
              <a:effectLst/>
              <a:uLnTx/>
              <a:uFillTx/>
              <a:latin typeface="Calibri"/>
              <a:ea typeface="+mn-ea"/>
              <a:cs typeface="+mn-cs"/>
            </a:endParaRPr>
          </a:p>
        </p:txBody>
      </p:sp>
      <p:sp>
        <p:nvSpPr>
          <p:cNvPr id="23" name="Rectangle 22"/>
          <p:cNvSpPr/>
          <p:nvPr userDrawn="1"/>
        </p:nvSpPr>
        <p:spPr>
          <a:xfrm>
            <a:off x="182035" y="3750735"/>
            <a:ext cx="24041099" cy="93133"/>
          </a:xfrm>
          <a:prstGeom prst="rect">
            <a:avLst/>
          </a:prstGeom>
          <a:solidFill>
            <a:srgbClr val="4BACC6"/>
          </a:solidFill>
          <a:ln w="19050" cap="sq" cmpd="sng" algn="ctr">
            <a:noFill/>
            <a:prstDash val="solid"/>
          </a:ln>
          <a:effectLst/>
        </p:spPr>
        <p:txBody>
          <a:bodyPr anchor="ctr"/>
          <a:lstStyle/>
          <a:p>
            <a:pPr marL="0" marR="0" lvl="0" indent="0" algn="ctr" defTabSz="2438430" rtl="0" eaLnBrk="1" fontAlgn="base" latinLnBrk="0" hangingPunct="1">
              <a:lnSpc>
                <a:spcPct val="100000"/>
              </a:lnSpc>
              <a:spcBef>
                <a:spcPct val="0"/>
              </a:spcBef>
              <a:spcAft>
                <a:spcPct val="0"/>
              </a:spcAft>
              <a:buClrTx/>
              <a:buSzTx/>
              <a:buFontTx/>
              <a:buNone/>
              <a:tabLst/>
              <a:defRPr/>
            </a:pPr>
            <a:endParaRPr kumimoji="0" lang="en-US" sz="4800" b="0" i="0" u="none" strike="noStrike" kern="0" cap="none" spc="0" normalizeH="0" baseline="0" noProof="0" dirty="0">
              <a:ln>
                <a:noFill/>
              </a:ln>
              <a:solidFill>
                <a:prstClr val="white"/>
              </a:solidFill>
              <a:effectLst/>
              <a:uLnTx/>
              <a:uFillTx/>
              <a:latin typeface="Calibri"/>
              <a:ea typeface="+mn-ea"/>
              <a:cs typeface="+mn-cs"/>
            </a:endParaRPr>
          </a:p>
        </p:txBody>
      </p:sp>
      <p:sp>
        <p:nvSpPr>
          <p:cNvPr id="15" name="Rounded Rectangle 14"/>
          <p:cNvSpPr/>
          <p:nvPr userDrawn="1"/>
        </p:nvSpPr>
        <p:spPr>
          <a:xfrm>
            <a:off x="174168" y="139511"/>
            <a:ext cx="24035659" cy="13384403"/>
          </a:xfrm>
          <a:prstGeom prst="roundRect">
            <a:avLst>
              <a:gd name="adj" fmla="val 4929"/>
            </a:avLst>
          </a:prstGeom>
          <a:noFill/>
          <a:ln w="6350" cap="sq" cmpd="sng" algn="ctr">
            <a:solidFill>
              <a:schemeClr val="tx1">
                <a:alpha val="100000"/>
              </a:schemeClr>
            </a:solidFill>
            <a:prstDash val="solid"/>
          </a:ln>
          <a:effectLst/>
        </p:spPr>
        <p:style>
          <a:lnRef idx="3">
            <a:schemeClr val="lt1"/>
          </a:lnRef>
          <a:fillRef idx="1003">
            <a:schemeClr val="lt1"/>
          </a:fillRef>
          <a:effectRef idx="1">
            <a:schemeClr val="accent1"/>
          </a:effectRef>
          <a:fontRef idx="minor">
            <a:schemeClr val="lt1"/>
          </a:fontRef>
        </p:style>
        <p:txBody>
          <a:bodyPr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4165"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16" name="Title 15"/>
          <p:cNvSpPr>
            <a:spLocks noGrp="1"/>
          </p:cNvSpPr>
          <p:nvPr>
            <p:ph type="title"/>
          </p:nvPr>
        </p:nvSpPr>
        <p:spPr>
          <a:xfrm>
            <a:off x="2463801" y="5657470"/>
            <a:ext cx="19481800" cy="1181861"/>
          </a:xfrm>
        </p:spPr>
        <p:txBody>
          <a:bodyPr anchor="ctr"/>
          <a:lstStyle>
            <a:lvl1pPr algn="ctr">
              <a:defRPr sz="8533">
                <a:solidFill>
                  <a:srgbClr val="376092"/>
                </a:solidFill>
                <a:latin typeface="+mj-lt"/>
                <a:ea typeface="+mj-ea"/>
                <a:cs typeface="+mj-cs"/>
                <a:sym typeface="+mj-lt"/>
              </a:defRPr>
            </a:lvl1pPr>
          </a:lstStyle>
          <a:p>
            <a:r>
              <a:rPr lang="en-US"/>
              <a:t>Click to edit Master title style</a:t>
            </a:r>
            <a:endParaRPr lang="en-US" dirty="0"/>
          </a:p>
        </p:txBody>
      </p:sp>
      <p:sp>
        <p:nvSpPr>
          <p:cNvPr id="17" name="Text Placeholder 19"/>
          <p:cNvSpPr>
            <a:spLocks noGrp="1"/>
          </p:cNvSpPr>
          <p:nvPr>
            <p:ph type="body" sz="quarter" idx="11" hasCustomPrompt="1"/>
          </p:nvPr>
        </p:nvSpPr>
        <p:spPr>
          <a:xfrm>
            <a:off x="2463801" y="10312400"/>
            <a:ext cx="19481800" cy="1219200"/>
          </a:xfrm>
        </p:spPr>
        <p:txBody>
          <a:bodyPr anchor="ctr"/>
          <a:lstStyle>
            <a:lvl1pPr marL="0" indent="0" algn="ctr">
              <a:buNone/>
              <a:defRPr sz="2933">
                <a:latin typeface="+mn-lt"/>
                <a:ea typeface="+mn-ea"/>
                <a:cs typeface="+mn-cs"/>
                <a:sym typeface="+mn-lt"/>
              </a:defRPr>
            </a:lvl1pPr>
          </a:lstStyle>
          <a:p>
            <a:pPr lvl="0"/>
            <a:r>
              <a:rPr lang="en-US" dirty="0"/>
              <a:t>Date</a:t>
            </a:r>
          </a:p>
        </p:txBody>
      </p:sp>
      <p:pic>
        <p:nvPicPr>
          <p:cNvPr id="18" name="Picture 2" descr="21st Century Lagos — Health &amp; Environment - Biodun Awosusi - Medium"/>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20701" y="355600"/>
            <a:ext cx="1828800" cy="1828800"/>
          </a:xfrm>
          <a:prstGeom prst="rect">
            <a:avLst/>
          </a:prstGeom>
          <a:noFill/>
          <a:extLst>
            <a:ext uri="{909E8E84-426E-40DD-AFC4-6F175D3DCCD1}">
              <a14:hiddenFill xmlns:a14="http://schemas.microsoft.com/office/drawing/2010/main">
                <a:solidFill>
                  <a:srgbClr val="FFFFFF"/>
                </a:solidFill>
              </a14:hiddenFill>
            </a:ext>
          </a:extLst>
        </p:spPr>
      </p:pic>
      <p:sp>
        <p:nvSpPr>
          <p:cNvPr id="19" name="Text Placeholder 17"/>
          <p:cNvSpPr>
            <a:spLocks noGrp="1"/>
          </p:cNvSpPr>
          <p:nvPr>
            <p:ph type="body" sz="quarter" idx="10" hasCustomPrompt="1"/>
          </p:nvPr>
        </p:nvSpPr>
        <p:spPr>
          <a:xfrm>
            <a:off x="2463801" y="8890000"/>
            <a:ext cx="19481800" cy="1219200"/>
          </a:xfrm>
        </p:spPr>
        <p:txBody>
          <a:bodyPr anchor="ctr"/>
          <a:lstStyle>
            <a:lvl1pPr marL="0" indent="0" algn="ctr">
              <a:buNone/>
              <a:defRPr sz="3733">
                <a:latin typeface="+mn-lt"/>
                <a:ea typeface="+mn-ea"/>
                <a:cs typeface="+mn-cs"/>
                <a:sym typeface="+mn-lt"/>
              </a:defRPr>
            </a:lvl1pPr>
            <a:lvl2pPr algn="ctr">
              <a:defRPr/>
            </a:lvl2pPr>
            <a:lvl3pPr algn="ctr">
              <a:defRPr/>
            </a:lvl3pPr>
            <a:lvl4pPr algn="ctr">
              <a:defRPr/>
            </a:lvl4pPr>
            <a:lvl5pPr algn="ctr">
              <a:defRPr/>
            </a:lvl5pPr>
          </a:lstStyle>
          <a:p>
            <a:pPr lvl="0"/>
            <a:r>
              <a:rPr lang="en-US" dirty="0"/>
              <a:t>Subtitle</a:t>
            </a:r>
          </a:p>
        </p:txBody>
      </p:sp>
      <p:sp>
        <p:nvSpPr>
          <p:cNvPr id="20" name="Text Placeholder 22"/>
          <p:cNvSpPr>
            <a:spLocks noGrp="1"/>
          </p:cNvSpPr>
          <p:nvPr>
            <p:ph type="body" sz="quarter" idx="12" hasCustomPrompt="1"/>
          </p:nvPr>
        </p:nvSpPr>
        <p:spPr>
          <a:xfrm>
            <a:off x="2463801" y="1168400"/>
            <a:ext cx="19481800" cy="2438400"/>
          </a:xfrm>
        </p:spPr>
        <p:txBody>
          <a:bodyPr anchor="ctr"/>
          <a:lstStyle>
            <a:lvl1pPr marL="0" indent="0" algn="ctr">
              <a:buNone/>
              <a:defRPr sz="4800">
                <a:solidFill>
                  <a:srgbClr val="00B050"/>
                </a:solidFill>
                <a:latin typeface="+mn-lt"/>
                <a:ea typeface="+mn-ea"/>
                <a:cs typeface="+mn-cs"/>
                <a:sym typeface="+mn-lt"/>
              </a:defRPr>
            </a:lvl1pPr>
            <a:lvl2pPr>
              <a:defRPr sz="4800"/>
            </a:lvl2pPr>
            <a:lvl3pPr>
              <a:defRPr sz="4800"/>
            </a:lvl3pPr>
            <a:lvl4pPr>
              <a:defRPr sz="4800"/>
            </a:lvl4pPr>
            <a:lvl5pPr>
              <a:defRPr sz="4800"/>
            </a:lvl5pPr>
          </a:lstStyle>
          <a:p>
            <a:pPr lvl="0"/>
            <a:r>
              <a:rPr lang="en-US" dirty="0"/>
              <a:t>Click to add title</a:t>
            </a:r>
          </a:p>
        </p:txBody>
      </p:sp>
    </p:spTree>
    <p:extLst>
      <p:ext uri="{BB962C8B-B14F-4D97-AF65-F5344CB8AC3E}">
        <p14:creationId xmlns:p14="http://schemas.microsoft.com/office/powerpoint/2010/main" val="4136940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57380"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4235" y="4235"/>
                        <a:ext cx="4235" cy="4235"/>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pPr defTabSz="2116120" hangingPunct="1"/>
            <a:fld id="{AC74E245-2CB9-48AE-9E1A-0BF3C127DA8C}" type="datetime1">
              <a:rPr lang="en-US" b="0" kern="1200" cap="none" smtClean="0">
                <a:solidFill>
                  <a:prstClr val="white">
                    <a:lumMod val="50000"/>
                  </a:prstClr>
                </a:solidFill>
                <a:effectLst/>
              </a:rPr>
              <a:t>5/6/21</a:t>
            </a:fld>
            <a:endParaRPr lang="en-US" b="0" kern="1200" cap="none" dirty="0">
              <a:solidFill>
                <a:prstClr val="white">
                  <a:lumMod val="50000"/>
                </a:prstClr>
              </a:solidFill>
              <a:effectLst/>
            </a:endParaRPr>
          </a:p>
        </p:txBody>
      </p:sp>
      <p:sp>
        <p:nvSpPr>
          <p:cNvPr id="5"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lumMod val="50000"/>
                  </a:prstClr>
                </a:solidFill>
                <a:effectLst/>
                <a:uLnTx/>
                <a:uFillTx/>
                <a:latin typeface="Garamond"/>
                <a:ea typeface="+mn-ea"/>
                <a:cs typeface="+mn-cs"/>
                <a:sym typeface="+mn-lt"/>
              </a:rPr>
              <a:t>Copyright © 2020 by Boston Consulting Group. All rights reserved.</a:t>
            </a:r>
          </a:p>
        </p:txBody>
      </p:sp>
    </p:spTree>
    <p:extLst>
      <p:ext uri="{BB962C8B-B14F-4D97-AF65-F5344CB8AC3E}">
        <p14:creationId xmlns:p14="http://schemas.microsoft.com/office/powerpoint/2010/main" val="8998934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58404"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4235" y="4235"/>
                        <a:ext cx="4235" cy="4235"/>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pPr defTabSz="2116120" hangingPunct="1"/>
            <a:fld id="{9CD5DB58-E73C-43B8-83D9-A0F70F4E7ABC}" type="datetime1">
              <a:rPr lang="en-US" b="0" kern="1200" cap="none" smtClean="0">
                <a:solidFill>
                  <a:prstClr val="white">
                    <a:lumMod val="50000"/>
                  </a:prstClr>
                </a:solidFill>
                <a:effectLst/>
              </a:rPr>
              <a:t>5/6/21</a:t>
            </a:fld>
            <a:endParaRPr lang="en-US" b="0" kern="1200" cap="none" dirty="0">
              <a:solidFill>
                <a:prstClr val="white">
                  <a:lumMod val="50000"/>
                </a:prstClr>
              </a:solidFill>
              <a:effectLst/>
            </a:endParaRPr>
          </a:p>
        </p:txBody>
      </p:sp>
      <p:sp>
        <p:nvSpPr>
          <p:cNvPr id="10"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lumMod val="50000"/>
                  </a:prstClr>
                </a:solidFill>
                <a:effectLst/>
                <a:uLnTx/>
                <a:uFillTx/>
                <a:latin typeface="Garamond"/>
                <a:ea typeface="+mn-ea"/>
                <a:cs typeface="+mn-cs"/>
                <a:sym typeface="+mn-lt"/>
              </a:rPr>
              <a:t>Copyright © 2020 by Boston Consulting Group. All rights reserved.</a:t>
            </a:r>
          </a:p>
        </p:txBody>
      </p:sp>
    </p:spTree>
    <p:extLst>
      <p:ext uri="{BB962C8B-B14F-4D97-AF65-F5344CB8AC3E}">
        <p14:creationId xmlns:p14="http://schemas.microsoft.com/office/powerpoint/2010/main" val="1660278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59428"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4235" y="4235"/>
                        <a:ext cx="4235" cy="4235"/>
                      </a:xfrm>
                      <a:prstGeom prst="rect">
                        <a:avLst/>
                      </a:prstGeom>
                    </p:spPr>
                  </p:pic>
                </p:oleObj>
              </mc:Fallback>
            </mc:AlternateContent>
          </a:graphicData>
        </a:graphic>
      </p:graphicFrame>
      <p:pic>
        <p:nvPicPr>
          <p:cNvPr id="7" name="Picture 2" descr="21st Century Lagos — Health &amp; Environment - Biodun Awosusi - Medium"/>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736840" y="2402840"/>
            <a:ext cx="8910320" cy="89103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1687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60452"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4235" y="4235"/>
                        <a:ext cx="4235" cy="4235"/>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pPr defTabSz="2116120" hangingPunct="1"/>
            <a:fld id="{54A590F6-02AE-43F8-87FB-C62C89BB15F1}" type="datetime1">
              <a:rPr lang="en-US" b="0" kern="1200" cap="none" smtClean="0">
                <a:solidFill>
                  <a:prstClr val="white">
                    <a:lumMod val="50000"/>
                  </a:prstClr>
                </a:solidFill>
                <a:effectLst/>
              </a:rPr>
              <a:t>5/6/21</a:t>
            </a:fld>
            <a:endParaRPr lang="en-US" b="0" kern="1200" cap="none" dirty="0">
              <a:solidFill>
                <a:prstClr val="white">
                  <a:lumMod val="50000"/>
                </a:prstClr>
              </a:solidFill>
              <a:effectLst/>
            </a:endParaRPr>
          </a:p>
        </p:txBody>
      </p:sp>
      <p:sp>
        <p:nvSpPr>
          <p:cNvPr id="56" name="Copyright" hidden="1"/>
          <p:cNvSpPr txBox="1"/>
          <p:nvPr/>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lumMod val="50000"/>
                  </a:prstClr>
                </a:solidFill>
                <a:effectLst/>
                <a:uLnTx/>
                <a:uFillTx/>
                <a:latin typeface="Garamond"/>
                <a:ea typeface="+mn-ea"/>
                <a:cs typeface="+mn-cs"/>
                <a:sym typeface="+mn-lt"/>
              </a:rPr>
              <a:t>Copyright © 2020 by Boston Consulting Group. All rights reserved.</a:t>
            </a:r>
          </a:p>
        </p:txBody>
      </p:sp>
      <p:grpSp>
        <p:nvGrpSpPr>
          <p:cNvPr id="147" name="Group 146"/>
          <p:cNvGrpSpPr/>
          <p:nvPr userDrawn="1"/>
        </p:nvGrpSpPr>
        <p:grpSpPr>
          <a:xfrm>
            <a:off x="3" y="1"/>
            <a:ext cx="24384000" cy="13716003"/>
            <a:chOff x="1" y="0"/>
            <a:chExt cx="9144000" cy="5143501"/>
          </a:xfrm>
        </p:grpSpPr>
        <p:sp>
          <p:nvSpPr>
            <p:cNvPr id="148" name="Slide edges"/>
            <p:cNvSpPr>
              <a:spLocks noChangeAspect="1"/>
            </p:cNvSpPr>
            <p:nvPr/>
          </p:nvSpPr>
          <p:spPr bwMode="auto">
            <a:xfrm>
              <a:off x="758" y="1"/>
              <a:ext cx="9142488"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lumMod val="100000"/>
              </a:schemeClr>
            </a:solidFill>
            <a:ln>
              <a:noFill/>
            </a:ln>
          </p:spPr>
          <p:txBody>
            <a:bodyPr vert="horz" wrap="square" lIns="68580" tIns="34290" rIns="68580" bIns="34290" numCol="1" anchor="t" anchorCtr="0" compatLnSpc="1">
              <a:prstTxWarp prst="textNoShape">
                <a:avLst/>
              </a:prstTxWarp>
            </a:bodyPr>
            <a:lstStyle/>
            <a:p>
              <a:pPr marL="0" marR="0" lvl="0" indent="0" algn="l" defTabSz="1828823"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149" name="Freeform 148"/>
            <p:cNvSpPr/>
            <p:nvPr/>
          </p:nvSpPr>
          <p:spPr>
            <a:xfrm>
              <a:off x="1" y="0"/>
              <a:ext cx="9144000" cy="5143500"/>
            </a:xfrm>
            <a:custGeom>
              <a:avLst/>
              <a:gdLst>
                <a:gd name="connsiteX0" fmla="*/ 599902 w 9144000"/>
                <a:gd name="connsiteY0" fmla="*/ 467100 h 5143500"/>
                <a:gd name="connsiteX1" fmla="*/ 599902 w 9144000"/>
                <a:gd name="connsiteY1" fmla="*/ 467315 h 5143500"/>
                <a:gd name="connsiteX2" fmla="*/ 472499 w 9144000"/>
                <a:gd name="connsiteY2" fmla="*/ 467315 h 5143500"/>
                <a:gd name="connsiteX3" fmla="*/ 472499 w 9144000"/>
                <a:gd name="connsiteY3" fmla="*/ 4428330 h 5143500"/>
                <a:gd name="connsiteX4" fmla="*/ 599902 w 9144000"/>
                <a:gd name="connsiteY4" fmla="*/ 4428330 h 5143500"/>
                <a:gd name="connsiteX5" fmla="*/ 599902 w 9144000"/>
                <a:gd name="connsiteY5" fmla="*/ 4436324 h 5143500"/>
                <a:gd name="connsiteX6" fmla="*/ 8544099 w 9144000"/>
                <a:gd name="connsiteY6" fmla="*/ 4436324 h 5143500"/>
                <a:gd name="connsiteX7" fmla="*/ 8544099 w 9144000"/>
                <a:gd name="connsiteY7" fmla="*/ 4428330 h 5143500"/>
                <a:gd name="connsiteX8" fmla="*/ 8672321 w 9144000"/>
                <a:gd name="connsiteY8" fmla="*/ 4428330 h 5143500"/>
                <a:gd name="connsiteX9" fmla="*/ 8672321 w 9144000"/>
                <a:gd name="connsiteY9" fmla="*/ 467315 h 5143500"/>
                <a:gd name="connsiteX10" fmla="*/ 8544099 w 9144000"/>
                <a:gd name="connsiteY10" fmla="*/ 467315 h 5143500"/>
                <a:gd name="connsiteX11" fmla="*/ 8544099 w 9144000"/>
                <a:gd name="connsiteY11" fmla="*/ 467100 h 5143500"/>
                <a:gd name="connsiteX12" fmla="*/ 0 w 9144000"/>
                <a:gd name="connsiteY12" fmla="*/ 0 h 5143500"/>
                <a:gd name="connsiteX13" fmla="*/ 599902 w 9144000"/>
                <a:gd name="connsiteY13" fmla="*/ 0 h 5143500"/>
                <a:gd name="connsiteX14" fmla="*/ 8544099 w 9144000"/>
                <a:gd name="connsiteY14" fmla="*/ 0 h 5143500"/>
                <a:gd name="connsiteX15" fmla="*/ 9144000 w 9144000"/>
                <a:gd name="connsiteY15" fmla="*/ 0 h 5143500"/>
                <a:gd name="connsiteX16" fmla="*/ 9144000 w 9144000"/>
                <a:gd name="connsiteY16" fmla="*/ 467100 h 5143500"/>
                <a:gd name="connsiteX17" fmla="*/ 9144000 w 9144000"/>
                <a:gd name="connsiteY17" fmla="*/ 4436324 h 5143500"/>
                <a:gd name="connsiteX18" fmla="*/ 9144000 w 9144000"/>
                <a:gd name="connsiteY18" fmla="*/ 4617000 h 5143500"/>
                <a:gd name="connsiteX19" fmla="*/ 9144000 w 9144000"/>
                <a:gd name="connsiteY19" fmla="*/ 5143500 h 5143500"/>
                <a:gd name="connsiteX20" fmla="*/ 8544099 w 9144000"/>
                <a:gd name="connsiteY20" fmla="*/ 5143500 h 5143500"/>
                <a:gd name="connsiteX21" fmla="*/ 599902 w 9144000"/>
                <a:gd name="connsiteY21" fmla="*/ 5143500 h 5143500"/>
                <a:gd name="connsiteX22" fmla="*/ 0 w 9144000"/>
                <a:gd name="connsiteY22" fmla="*/ 5143500 h 5143500"/>
                <a:gd name="connsiteX23" fmla="*/ 0 w 9144000"/>
                <a:gd name="connsiteY23" fmla="*/ 4617000 h 5143500"/>
                <a:gd name="connsiteX24" fmla="*/ 0 w 9144000"/>
                <a:gd name="connsiteY24" fmla="*/ 4436324 h 5143500"/>
                <a:gd name="connsiteX25" fmla="*/ 0 w 9144000"/>
                <a:gd name="connsiteY25" fmla="*/ 4671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144000" h="5143500">
                  <a:moveTo>
                    <a:pt x="599902" y="467100"/>
                  </a:moveTo>
                  <a:lnTo>
                    <a:pt x="599902" y="467315"/>
                  </a:lnTo>
                  <a:lnTo>
                    <a:pt x="472499" y="467315"/>
                  </a:lnTo>
                  <a:lnTo>
                    <a:pt x="472499" y="4428330"/>
                  </a:lnTo>
                  <a:lnTo>
                    <a:pt x="599902" y="4428330"/>
                  </a:lnTo>
                  <a:lnTo>
                    <a:pt x="599902" y="4436324"/>
                  </a:lnTo>
                  <a:lnTo>
                    <a:pt x="8544099" y="4436324"/>
                  </a:lnTo>
                  <a:lnTo>
                    <a:pt x="8544099" y="4428330"/>
                  </a:lnTo>
                  <a:lnTo>
                    <a:pt x="8672321" y="4428330"/>
                  </a:lnTo>
                  <a:lnTo>
                    <a:pt x="8672321" y="467315"/>
                  </a:lnTo>
                  <a:lnTo>
                    <a:pt x="8544099" y="467315"/>
                  </a:lnTo>
                  <a:lnTo>
                    <a:pt x="8544099" y="467100"/>
                  </a:lnTo>
                  <a:close/>
                  <a:moveTo>
                    <a:pt x="0" y="0"/>
                  </a:moveTo>
                  <a:lnTo>
                    <a:pt x="599902" y="0"/>
                  </a:lnTo>
                  <a:lnTo>
                    <a:pt x="8544099" y="0"/>
                  </a:lnTo>
                  <a:lnTo>
                    <a:pt x="9144000" y="0"/>
                  </a:lnTo>
                  <a:lnTo>
                    <a:pt x="9144000" y="467100"/>
                  </a:lnTo>
                  <a:lnTo>
                    <a:pt x="9144000" y="4436324"/>
                  </a:lnTo>
                  <a:lnTo>
                    <a:pt x="9144000" y="4617000"/>
                  </a:lnTo>
                  <a:lnTo>
                    <a:pt x="9144000" y="5143500"/>
                  </a:lnTo>
                  <a:lnTo>
                    <a:pt x="8544099" y="5143500"/>
                  </a:lnTo>
                  <a:lnTo>
                    <a:pt x="599902" y="5143500"/>
                  </a:lnTo>
                  <a:lnTo>
                    <a:pt x="0" y="5143500"/>
                  </a:lnTo>
                  <a:lnTo>
                    <a:pt x="0" y="4617000"/>
                  </a:lnTo>
                  <a:lnTo>
                    <a:pt x="0" y="4436324"/>
                  </a:lnTo>
                  <a:lnTo>
                    <a:pt x="0" y="467100"/>
                  </a:lnTo>
                  <a:close/>
                </a:path>
              </a:pathLst>
            </a:custGeom>
            <a:solidFill>
              <a:srgbClr val="FFEFEF">
                <a:alpha val="40000"/>
              </a:srgbClr>
            </a:solidFill>
            <a:ln>
              <a:noFill/>
            </a:ln>
          </p:spPr>
          <p:txBody>
            <a:bodyPr vert="horz" wrap="square" lIns="68580" tIns="34290" rIns="68580" bIns="34290" numCol="1" anchor="t" anchorCtr="0" compatLnSpc="1">
              <a:prstTxWarp prst="textNoShape">
                <a:avLst/>
              </a:prstTxWarp>
              <a:noAutofit/>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150" name="Footnote measure"/>
            <p:cNvSpPr>
              <a:spLocks noChangeAspect="1" noChangeArrowheads="1"/>
            </p:cNvSpPr>
            <p:nvPr/>
          </p:nvSpPr>
          <p:spPr bwMode="auto">
            <a:xfrm>
              <a:off x="472691" y="4428331"/>
              <a:ext cx="8199631" cy="471642"/>
            </a:xfrm>
            <a:prstGeom prst="rect">
              <a:avLst/>
            </a:prstGeom>
            <a:solidFill>
              <a:srgbClr val="EEA346">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151" name="Line 20"/>
            <p:cNvSpPr>
              <a:spLocks noChangeShapeType="1"/>
            </p:cNvSpPr>
            <p:nvPr/>
          </p:nvSpPr>
          <p:spPr bwMode="auto">
            <a:xfrm>
              <a:off x="1657" y="4428330"/>
              <a:ext cx="91415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152" name="Line 19"/>
            <p:cNvSpPr>
              <a:spLocks noChangeShapeType="1"/>
            </p:cNvSpPr>
            <p:nvPr/>
          </p:nvSpPr>
          <p:spPr bwMode="auto">
            <a:xfrm>
              <a:off x="1657" y="4248281"/>
              <a:ext cx="91415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153" name="Line 18"/>
            <p:cNvSpPr>
              <a:spLocks noChangeShapeType="1"/>
            </p:cNvSpPr>
            <p:nvPr/>
          </p:nvSpPr>
          <p:spPr bwMode="auto">
            <a:xfrm>
              <a:off x="1657" y="3888189"/>
              <a:ext cx="91415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154" name="Line 17"/>
            <p:cNvSpPr>
              <a:spLocks noChangeShapeType="1"/>
            </p:cNvSpPr>
            <p:nvPr/>
          </p:nvSpPr>
          <p:spPr bwMode="auto">
            <a:xfrm>
              <a:off x="1657" y="3708143"/>
              <a:ext cx="91415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155" name="Line 16"/>
            <p:cNvSpPr>
              <a:spLocks noChangeShapeType="1"/>
            </p:cNvSpPr>
            <p:nvPr/>
          </p:nvSpPr>
          <p:spPr bwMode="auto">
            <a:xfrm>
              <a:off x="1657" y="3528097"/>
              <a:ext cx="91415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156" name="Line 15"/>
            <p:cNvSpPr>
              <a:spLocks noChangeShapeType="1"/>
            </p:cNvSpPr>
            <p:nvPr/>
          </p:nvSpPr>
          <p:spPr bwMode="auto">
            <a:xfrm>
              <a:off x="1657" y="3348051"/>
              <a:ext cx="91415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157" name="Line 14"/>
            <p:cNvSpPr>
              <a:spLocks noChangeShapeType="1"/>
            </p:cNvSpPr>
            <p:nvPr/>
          </p:nvSpPr>
          <p:spPr bwMode="auto">
            <a:xfrm>
              <a:off x="1657" y="3168005"/>
              <a:ext cx="91415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158" name="Line 13"/>
            <p:cNvSpPr>
              <a:spLocks noChangeShapeType="1"/>
            </p:cNvSpPr>
            <p:nvPr/>
          </p:nvSpPr>
          <p:spPr bwMode="auto">
            <a:xfrm>
              <a:off x="1657" y="2987959"/>
              <a:ext cx="91415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159" name="Line 12"/>
            <p:cNvSpPr>
              <a:spLocks noChangeShapeType="1"/>
            </p:cNvSpPr>
            <p:nvPr/>
          </p:nvSpPr>
          <p:spPr bwMode="auto">
            <a:xfrm>
              <a:off x="1657" y="2807913"/>
              <a:ext cx="91415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160" name="Line 11"/>
            <p:cNvSpPr>
              <a:spLocks noChangeShapeType="1"/>
            </p:cNvSpPr>
            <p:nvPr/>
          </p:nvSpPr>
          <p:spPr bwMode="auto">
            <a:xfrm>
              <a:off x="1657" y="2627867"/>
              <a:ext cx="91415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161" name="Line 10"/>
            <p:cNvSpPr>
              <a:spLocks noChangeShapeType="1"/>
            </p:cNvSpPr>
            <p:nvPr/>
          </p:nvSpPr>
          <p:spPr bwMode="auto">
            <a:xfrm>
              <a:off x="1657" y="2447821"/>
              <a:ext cx="91415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162" name="Line 9"/>
            <p:cNvSpPr>
              <a:spLocks noChangeShapeType="1"/>
            </p:cNvSpPr>
            <p:nvPr/>
          </p:nvSpPr>
          <p:spPr bwMode="auto">
            <a:xfrm>
              <a:off x="1657" y="2267775"/>
              <a:ext cx="91415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163" name="Line 8"/>
            <p:cNvSpPr>
              <a:spLocks noChangeShapeType="1"/>
            </p:cNvSpPr>
            <p:nvPr/>
          </p:nvSpPr>
          <p:spPr bwMode="auto">
            <a:xfrm>
              <a:off x="1657" y="2087729"/>
              <a:ext cx="91415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164" name="Line 7"/>
            <p:cNvSpPr>
              <a:spLocks noChangeShapeType="1"/>
            </p:cNvSpPr>
            <p:nvPr/>
          </p:nvSpPr>
          <p:spPr bwMode="auto">
            <a:xfrm>
              <a:off x="1657" y="1907683"/>
              <a:ext cx="91415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165" name="Line 6"/>
            <p:cNvSpPr>
              <a:spLocks noChangeShapeType="1"/>
            </p:cNvSpPr>
            <p:nvPr/>
          </p:nvSpPr>
          <p:spPr bwMode="auto">
            <a:xfrm>
              <a:off x="1657" y="1727637"/>
              <a:ext cx="91415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166" name="Line 5"/>
            <p:cNvSpPr>
              <a:spLocks noChangeShapeType="1"/>
            </p:cNvSpPr>
            <p:nvPr/>
          </p:nvSpPr>
          <p:spPr bwMode="auto">
            <a:xfrm>
              <a:off x="1657" y="1187499"/>
              <a:ext cx="91415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167" name="Line 4"/>
            <p:cNvSpPr>
              <a:spLocks noChangeShapeType="1"/>
            </p:cNvSpPr>
            <p:nvPr/>
          </p:nvSpPr>
          <p:spPr bwMode="auto">
            <a:xfrm>
              <a:off x="1657" y="1007453"/>
              <a:ext cx="91415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168" name="Line 3"/>
            <p:cNvSpPr>
              <a:spLocks noChangeShapeType="1"/>
            </p:cNvSpPr>
            <p:nvPr/>
          </p:nvSpPr>
          <p:spPr bwMode="auto">
            <a:xfrm>
              <a:off x="1657" y="827407"/>
              <a:ext cx="91415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169" name="Line 2"/>
            <p:cNvSpPr>
              <a:spLocks noChangeShapeType="1"/>
            </p:cNvSpPr>
            <p:nvPr/>
          </p:nvSpPr>
          <p:spPr bwMode="auto">
            <a:xfrm>
              <a:off x="1657" y="647361"/>
              <a:ext cx="91415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170" name="Line 1"/>
            <p:cNvSpPr>
              <a:spLocks noChangeShapeType="1"/>
            </p:cNvSpPr>
            <p:nvPr/>
          </p:nvSpPr>
          <p:spPr bwMode="auto">
            <a:xfrm>
              <a:off x="757" y="467315"/>
              <a:ext cx="91424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171" name="Footnote example"/>
            <p:cNvSpPr txBox="1">
              <a:spLocks noChangeAspect="1"/>
            </p:cNvSpPr>
            <p:nvPr userDrawn="1"/>
          </p:nvSpPr>
          <p:spPr>
            <a:xfrm>
              <a:off x="472500" y="4587628"/>
              <a:ext cx="7117020" cy="332327"/>
            </a:xfrm>
            <a:prstGeom prst="rect">
              <a:avLst/>
            </a:prstGeom>
            <a:noFill/>
          </p:spPr>
          <p:txBody>
            <a:bodyPr wrap="square" lIns="0" tIns="0" rIns="0" bIns="0" rtlCol="0" anchor="b">
              <a:spAutoFit/>
            </a:bodyPr>
            <a:lstStyle/>
            <a:p>
              <a:pPr marL="0" marR="0" lvl="0" indent="0" algn="l" defTabSz="2116120" rtl="0" eaLnBrk="1" fontAlgn="auto" latinLnBrk="0" hangingPunct="1">
                <a:lnSpc>
                  <a:spcPct val="90000"/>
                </a:lnSpc>
                <a:spcBef>
                  <a:spcPts val="0"/>
                </a:spcBef>
                <a:spcAft>
                  <a:spcPts val="0"/>
                </a:spcAft>
                <a:buClrTx/>
                <a:buSzTx/>
                <a:buFontTx/>
                <a:buNone/>
                <a:tabLst/>
                <a:defRPr/>
              </a:pPr>
              <a:r>
                <a:rPr kumimoji="0" lang="en-US" sz="2133" b="0" i="0" u="none" strike="noStrike" kern="1200" cap="none" spc="0" normalizeH="0" baseline="0" noProof="0" dirty="0">
                  <a:ln>
                    <a:noFill/>
                  </a:ln>
                  <a:solidFill>
                    <a:prstClr val="white">
                      <a:lumMod val="65000"/>
                    </a:prstClr>
                  </a:solidFill>
                  <a:effectLst/>
                  <a:uLnTx/>
                  <a:uFillTx/>
                  <a:latin typeface="Garamond"/>
                  <a:ea typeface="+mn-ea"/>
                  <a:cs typeface="+mn-cs"/>
                  <a:sym typeface="Trebuchet MS" panose="020B0603020202020204" pitchFamily="34" charset="0"/>
                </a:rPr>
                <a:t>1. xxxx  2. xxxx  3. xxxx </a:t>
              </a:r>
            </a:p>
            <a:p>
              <a:pPr marL="0" marR="0" lvl="0" indent="0" algn="l" defTabSz="2116120" rtl="0" eaLnBrk="1" fontAlgn="auto" latinLnBrk="0" hangingPunct="1">
                <a:lnSpc>
                  <a:spcPct val="90000"/>
                </a:lnSpc>
                <a:spcBef>
                  <a:spcPts val="0"/>
                </a:spcBef>
                <a:spcAft>
                  <a:spcPts val="0"/>
                </a:spcAft>
                <a:buClrTx/>
                <a:buSzTx/>
                <a:buFontTx/>
                <a:buNone/>
                <a:tabLst/>
                <a:defRPr/>
              </a:pPr>
              <a:r>
                <a:rPr kumimoji="0" lang="en-US" sz="2133" b="0" i="0" u="none" strike="noStrike" kern="1200" cap="none" spc="0" normalizeH="0" baseline="0" noProof="0" dirty="0">
                  <a:ln>
                    <a:noFill/>
                  </a:ln>
                  <a:solidFill>
                    <a:prstClr val="white">
                      <a:lumMod val="65000"/>
                    </a:prstClr>
                  </a:solidFill>
                  <a:effectLst/>
                  <a:uLnTx/>
                  <a:uFillTx/>
                  <a:latin typeface="Garamond"/>
                  <a:ea typeface="+mn-ea"/>
                  <a:cs typeface="+mn-cs"/>
                  <a:sym typeface="Trebuchet MS" panose="020B0603020202020204" pitchFamily="34" charset="0"/>
                </a:rPr>
                <a:t>Note: List footnotes in numerical order. Footnote numbers are not bracketed. Use 8pt font. Do not put a period at the end of the note or the source</a:t>
              </a:r>
            </a:p>
            <a:p>
              <a:pPr marL="0" marR="0" lvl="0" indent="0" algn="l" defTabSz="2116120" rtl="0" eaLnBrk="1" fontAlgn="auto" latinLnBrk="0" hangingPunct="1">
                <a:lnSpc>
                  <a:spcPct val="90000"/>
                </a:lnSpc>
                <a:spcBef>
                  <a:spcPts val="0"/>
                </a:spcBef>
                <a:spcAft>
                  <a:spcPts val="0"/>
                </a:spcAft>
                <a:buClrTx/>
                <a:buSzTx/>
                <a:buFontTx/>
                <a:buNone/>
                <a:tabLst/>
                <a:defRPr/>
              </a:pPr>
              <a:r>
                <a:rPr kumimoji="0" lang="en-US" sz="2133" b="0" i="0" u="none" strike="noStrike" kern="1200" cap="none" spc="0" normalizeH="0" baseline="0" noProof="0" dirty="0">
                  <a:ln>
                    <a:noFill/>
                  </a:ln>
                  <a:solidFill>
                    <a:prstClr val="white">
                      <a:lumMod val="65000"/>
                    </a:prstClr>
                  </a:solidFill>
                  <a:effectLst/>
                  <a:uLnTx/>
                  <a:uFillTx/>
                  <a:latin typeface="Garamond"/>
                  <a:ea typeface="+mn-ea"/>
                  <a:cs typeface="+mn-cs"/>
                  <a:sym typeface="Trebuchet MS" panose="020B0603020202020204" pitchFamily="34" charset="0"/>
                </a:rPr>
                <a:t>Source: Include a source for every chart that you use. Separate sources with a semicolon; BCG-related sources go at the end</a:t>
              </a:r>
            </a:p>
          </p:txBody>
        </p:sp>
        <p:sp>
          <p:nvSpPr>
            <p:cNvPr id="172" name="Whitespace measure"/>
            <p:cNvSpPr>
              <a:spLocks noChangeAspect="1" noChangeArrowheads="1"/>
            </p:cNvSpPr>
            <p:nvPr/>
          </p:nvSpPr>
          <p:spPr bwMode="auto">
            <a:xfrm>
              <a:off x="472500" y="1015448"/>
              <a:ext cx="8199822" cy="353783"/>
            </a:xfrm>
            <a:prstGeom prst="rect">
              <a:avLst/>
            </a:prstGeom>
            <a:solidFill>
              <a:srgbClr val="EEA346">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grpSp>
          <p:nvGrpSpPr>
            <p:cNvPr id="173" name="Group 172"/>
            <p:cNvGrpSpPr/>
            <p:nvPr/>
          </p:nvGrpSpPr>
          <p:grpSpPr>
            <a:xfrm>
              <a:off x="472500" y="1369230"/>
              <a:ext cx="8200013" cy="3059100"/>
              <a:chOff x="472500" y="1369230"/>
              <a:chExt cx="8200013" cy="3059100"/>
            </a:xfrm>
          </p:grpSpPr>
          <p:grpSp>
            <p:nvGrpSpPr>
              <p:cNvPr id="189" name="Five column measure"/>
              <p:cNvGrpSpPr/>
              <p:nvPr/>
            </p:nvGrpSpPr>
            <p:grpSpPr>
              <a:xfrm>
                <a:off x="472500" y="4291440"/>
                <a:ext cx="8200013" cy="50006"/>
                <a:chOff x="630600" y="5977078"/>
                <a:chExt cx="8341588" cy="66674"/>
              </a:xfrm>
            </p:grpSpPr>
            <p:sp>
              <p:nvSpPr>
                <p:cNvPr id="191" name="Column 5"/>
                <p:cNvSpPr>
                  <a:spLocks/>
                </p:cNvSpPr>
                <p:nvPr/>
              </p:nvSpPr>
              <p:spPr bwMode="auto">
                <a:xfrm>
                  <a:off x="7488988" y="5977078"/>
                  <a:ext cx="1483200" cy="66674"/>
                </a:xfrm>
                <a:custGeom>
                  <a:avLst/>
                  <a:gdLst>
                    <a:gd name="T0" fmla="*/ 0 w 1104"/>
                    <a:gd name="T1" fmla="*/ 0 h 42"/>
                    <a:gd name="T2" fmla="*/ 0 w 1104"/>
                    <a:gd name="T3" fmla="*/ 42 h 42"/>
                    <a:gd name="T4" fmla="*/ 1104 w 1104"/>
                    <a:gd name="T5" fmla="*/ 42 h 42"/>
                    <a:gd name="T6" fmla="*/ 1104 w 1104"/>
                    <a:gd name="T7" fmla="*/ 0 h 42"/>
                    <a:gd name="T8" fmla="*/ 0 w 1104"/>
                    <a:gd name="T9" fmla="*/ 0 h 42"/>
                    <a:gd name="T10" fmla="*/ 0 w 1104"/>
                    <a:gd name="T11" fmla="*/ 0 h 42"/>
                  </a:gdLst>
                  <a:ahLst/>
                  <a:cxnLst>
                    <a:cxn ang="0">
                      <a:pos x="T0" y="T1"/>
                    </a:cxn>
                    <a:cxn ang="0">
                      <a:pos x="T2" y="T3"/>
                    </a:cxn>
                    <a:cxn ang="0">
                      <a:pos x="T4" y="T5"/>
                    </a:cxn>
                    <a:cxn ang="0">
                      <a:pos x="T6" y="T7"/>
                    </a:cxn>
                    <a:cxn ang="0">
                      <a:pos x="T8" y="T9"/>
                    </a:cxn>
                    <a:cxn ang="0">
                      <a:pos x="T10" y="T11"/>
                    </a:cxn>
                  </a:cxnLst>
                  <a:rect l="0" t="0" r="r" b="b"/>
                  <a:pathLst>
                    <a:path w="1104" h="42">
                      <a:moveTo>
                        <a:pt x="0" y="0"/>
                      </a:moveTo>
                      <a:lnTo>
                        <a:pt x="0" y="42"/>
                      </a:lnTo>
                      <a:lnTo>
                        <a:pt x="1104" y="42"/>
                      </a:lnTo>
                      <a:lnTo>
                        <a:pt x="1104" y="0"/>
                      </a:lnTo>
                      <a:lnTo>
                        <a:pt x="0" y="0"/>
                      </a:lnTo>
                      <a:lnTo>
                        <a:pt x="0" y="0"/>
                      </a:lnTo>
                      <a:close/>
                    </a:path>
                  </a:pathLst>
                </a:custGeom>
                <a:solidFill>
                  <a:schemeClr val="accent5">
                    <a:lumMod val="100000"/>
                    <a:alpha val="15000"/>
                  </a:schemeClr>
                </a:solidFill>
                <a:ln>
                  <a:noFill/>
                </a:ln>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192" name="Column 4"/>
                <p:cNvSpPr>
                  <a:spLocks/>
                </p:cNvSpPr>
                <p:nvPr/>
              </p:nvSpPr>
              <p:spPr bwMode="auto">
                <a:xfrm>
                  <a:off x="5774391" y="5977078"/>
                  <a:ext cx="1483200" cy="66674"/>
                </a:xfrm>
                <a:custGeom>
                  <a:avLst/>
                  <a:gdLst>
                    <a:gd name="T0" fmla="*/ 0 w 1104"/>
                    <a:gd name="T1" fmla="*/ 0 h 42"/>
                    <a:gd name="T2" fmla="*/ 0 w 1104"/>
                    <a:gd name="T3" fmla="*/ 42 h 42"/>
                    <a:gd name="T4" fmla="*/ 1104 w 1104"/>
                    <a:gd name="T5" fmla="*/ 42 h 42"/>
                    <a:gd name="T6" fmla="*/ 1104 w 1104"/>
                    <a:gd name="T7" fmla="*/ 0 h 42"/>
                    <a:gd name="T8" fmla="*/ 0 w 1104"/>
                    <a:gd name="T9" fmla="*/ 0 h 42"/>
                    <a:gd name="T10" fmla="*/ 0 w 1104"/>
                    <a:gd name="T11" fmla="*/ 0 h 42"/>
                  </a:gdLst>
                  <a:ahLst/>
                  <a:cxnLst>
                    <a:cxn ang="0">
                      <a:pos x="T0" y="T1"/>
                    </a:cxn>
                    <a:cxn ang="0">
                      <a:pos x="T2" y="T3"/>
                    </a:cxn>
                    <a:cxn ang="0">
                      <a:pos x="T4" y="T5"/>
                    </a:cxn>
                    <a:cxn ang="0">
                      <a:pos x="T6" y="T7"/>
                    </a:cxn>
                    <a:cxn ang="0">
                      <a:pos x="T8" y="T9"/>
                    </a:cxn>
                    <a:cxn ang="0">
                      <a:pos x="T10" y="T11"/>
                    </a:cxn>
                  </a:cxnLst>
                  <a:rect l="0" t="0" r="r" b="b"/>
                  <a:pathLst>
                    <a:path w="1104" h="42">
                      <a:moveTo>
                        <a:pt x="0" y="0"/>
                      </a:moveTo>
                      <a:lnTo>
                        <a:pt x="0" y="42"/>
                      </a:lnTo>
                      <a:lnTo>
                        <a:pt x="1104" y="42"/>
                      </a:lnTo>
                      <a:lnTo>
                        <a:pt x="1104" y="0"/>
                      </a:lnTo>
                      <a:lnTo>
                        <a:pt x="0" y="0"/>
                      </a:lnTo>
                      <a:lnTo>
                        <a:pt x="0" y="0"/>
                      </a:lnTo>
                      <a:close/>
                    </a:path>
                  </a:pathLst>
                </a:custGeom>
                <a:solidFill>
                  <a:schemeClr val="accent5">
                    <a:lumMod val="100000"/>
                    <a:alpha val="15000"/>
                  </a:schemeClr>
                </a:solidFill>
                <a:ln>
                  <a:noFill/>
                </a:ln>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193" name="Column 3"/>
                <p:cNvSpPr>
                  <a:spLocks/>
                </p:cNvSpPr>
                <p:nvPr/>
              </p:nvSpPr>
              <p:spPr bwMode="auto">
                <a:xfrm>
                  <a:off x="4059794" y="5977078"/>
                  <a:ext cx="1483200" cy="66674"/>
                </a:xfrm>
                <a:custGeom>
                  <a:avLst/>
                  <a:gdLst>
                    <a:gd name="T0" fmla="*/ 0 w 1102"/>
                    <a:gd name="T1" fmla="*/ 0 h 42"/>
                    <a:gd name="T2" fmla="*/ 0 w 1102"/>
                    <a:gd name="T3" fmla="*/ 42 h 42"/>
                    <a:gd name="T4" fmla="*/ 1102 w 1102"/>
                    <a:gd name="T5" fmla="*/ 42 h 42"/>
                    <a:gd name="T6" fmla="*/ 1102 w 1102"/>
                    <a:gd name="T7" fmla="*/ 0 h 42"/>
                    <a:gd name="T8" fmla="*/ 0 w 1102"/>
                    <a:gd name="T9" fmla="*/ 0 h 42"/>
                    <a:gd name="T10" fmla="*/ 0 w 1102"/>
                    <a:gd name="T11" fmla="*/ 0 h 42"/>
                  </a:gdLst>
                  <a:ahLst/>
                  <a:cxnLst>
                    <a:cxn ang="0">
                      <a:pos x="T0" y="T1"/>
                    </a:cxn>
                    <a:cxn ang="0">
                      <a:pos x="T2" y="T3"/>
                    </a:cxn>
                    <a:cxn ang="0">
                      <a:pos x="T4" y="T5"/>
                    </a:cxn>
                    <a:cxn ang="0">
                      <a:pos x="T6" y="T7"/>
                    </a:cxn>
                    <a:cxn ang="0">
                      <a:pos x="T8" y="T9"/>
                    </a:cxn>
                    <a:cxn ang="0">
                      <a:pos x="T10" y="T11"/>
                    </a:cxn>
                  </a:cxnLst>
                  <a:rect l="0" t="0" r="r" b="b"/>
                  <a:pathLst>
                    <a:path w="1102" h="42">
                      <a:moveTo>
                        <a:pt x="0" y="0"/>
                      </a:moveTo>
                      <a:lnTo>
                        <a:pt x="0" y="42"/>
                      </a:lnTo>
                      <a:lnTo>
                        <a:pt x="1102" y="42"/>
                      </a:lnTo>
                      <a:lnTo>
                        <a:pt x="1102" y="0"/>
                      </a:lnTo>
                      <a:lnTo>
                        <a:pt x="0" y="0"/>
                      </a:lnTo>
                      <a:lnTo>
                        <a:pt x="0" y="0"/>
                      </a:lnTo>
                      <a:close/>
                    </a:path>
                  </a:pathLst>
                </a:custGeom>
                <a:solidFill>
                  <a:schemeClr val="accent5">
                    <a:lumMod val="100000"/>
                    <a:alpha val="15000"/>
                  </a:schemeClr>
                </a:solidFill>
                <a:ln>
                  <a:noFill/>
                </a:ln>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194" name="Column 2"/>
                <p:cNvSpPr>
                  <a:spLocks/>
                </p:cNvSpPr>
                <p:nvPr/>
              </p:nvSpPr>
              <p:spPr bwMode="auto">
                <a:xfrm>
                  <a:off x="2345197" y="5977078"/>
                  <a:ext cx="1483200" cy="66674"/>
                </a:xfrm>
                <a:custGeom>
                  <a:avLst/>
                  <a:gdLst>
                    <a:gd name="T0" fmla="*/ 0 w 1103"/>
                    <a:gd name="T1" fmla="*/ 0 h 42"/>
                    <a:gd name="T2" fmla="*/ 1103 w 1103"/>
                    <a:gd name="T3" fmla="*/ 0 h 42"/>
                    <a:gd name="T4" fmla="*/ 1103 w 1103"/>
                    <a:gd name="T5" fmla="*/ 42 h 42"/>
                    <a:gd name="T6" fmla="*/ 0 w 1103"/>
                    <a:gd name="T7" fmla="*/ 42 h 42"/>
                    <a:gd name="T8" fmla="*/ 0 w 1103"/>
                    <a:gd name="T9" fmla="*/ 0 h 42"/>
                    <a:gd name="T10" fmla="*/ 0 w 1103"/>
                    <a:gd name="T11" fmla="*/ 0 h 42"/>
                  </a:gdLst>
                  <a:ahLst/>
                  <a:cxnLst>
                    <a:cxn ang="0">
                      <a:pos x="T0" y="T1"/>
                    </a:cxn>
                    <a:cxn ang="0">
                      <a:pos x="T2" y="T3"/>
                    </a:cxn>
                    <a:cxn ang="0">
                      <a:pos x="T4" y="T5"/>
                    </a:cxn>
                    <a:cxn ang="0">
                      <a:pos x="T6" y="T7"/>
                    </a:cxn>
                    <a:cxn ang="0">
                      <a:pos x="T8" y="T9"/>
                    </a:cxn>
                    <a:cxn ang="0">
                      <a:pos x="T10" y="T11"/>
                    </a:cxn>
                  </a:cxnLst>
                  <a:rect l="0" t="0" r="r" b="b"/>
                  <a:pathLst>
                    <a:path w="1103" h="42">
                      <a:moveTo>
                        <a:pt x="0" y="0"/>
                      </a:moveTo>
                      <a:lnTo>
                        <a:pt x="1103" y="0"/>
                      </a:lnTo>
                      <a:lnTo>
                        <a:pt x="1103" y="42"/>
                      </a:lnTo>
                      <a:lnTo>
                        <a:pt x="0" y="42"/>
                      </a:lnTo>
                      <a:lnTo>
                        <a:pt x="0" y="0"/>
                      </a:lnTo>
                      <a:lnTo>
                        <a:pt x="0" y="0"/>
                      </a:lnTo>
                      <a:close/>
                    </a:path>
                  </a:pathLst>
                </a:custGeom>
                <a:solidFill>
                  <a:schemeClr val="accent5">
                    <a:lumMod val="100000"/>
                    <a:alpha val="15000"/>
                  </a:schemeClr>
                </a:solidFill>
                <a:ln>
                  <a:noFill/>
                </a:ln>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195" name="Column 1"/>
                <p:cNvSpPr>
                  <a:spLocks/>
                </p:cNvSpPr>
                <p:nvPr/>
              </p:nvSpPr>
              <p:spPr bwMode="auto">
                <a:xfrm>
                  <a:off x="630600" y="5977078"/>
                  <a:ext cx="1483200" cy="66674"/>
                </a:xfrm>
                <a:custGeom>
                  <a:avLst/>
                  <a:gdLst>
                    <a:gd name="T0" fmla="*/ 0 w 1103"/>
                    <a:gd name="T1" fmla="*/ 0 h 42"/>
                    <a:gd name="T2" fmla="*/ 0 w 1103"/>
                    <a:gd name="T3" fmla="*/ 42 h 42"/>
                    <a:gd name="T4" fmla="*/ 1103 w 1103"/>
                    <a:gd name="T5" fmla="*/ 42 h 42"/>
                    <a:gd name="T6" fmla="*/ 1103 w 1103"/>
                    <a:gd name="T7" fmla="*/ 0 h 42"/>
                    <a:gd name="T8" fmla="*/ 0 w 1103"/>
                    <a:gd name="T9" fmla="*/ 0 h 42"/>
                    <a:gd name="T10" fmla="*/ 0 w 1103"/>
                    <a:gd name="T11" fmla="*/ 0 h 42"/>
                  </a:gdLst>
                  <a:ahLst/>
                  <a:cxnLst>
                    <a:cxn ang="0">
                      <a:pos x="T0" y="T1"/>
                    </a:cxn>
                    <a:cxn ang="0">
                      <a:pos x="T2" y="T3"/>
                    </a:cxn>
                    <a:cxn ang="0">
                      <a:pos x="T4" y="T5"/>
                    </a:cxn>
                    <a:cxn ang="0">
                      <a:pos x="T6" y="T7"/>
                    </a:cxn>
                    <a:cxn ang="0">
                      <a:pos x="T8" y="T9"/>
                    </a:cxn>
                    <a:cxn ang="0">
                      <a:pos x="T10" y="T11"/>
                    </a:cxn>
                  </a:cxnLst>
                  <a:rect l="0" t="0" r="r" b="b"/>
                  <a:pathLst>
                    <a:path w="1103" h="42">
                      <a:moveTo>
                        <a:pt x="0" y="0"/>
                      </a:moveTo>
                      <a:lnTo>
                        <a:pt x="0" y="42"/>
                      </a:lnTo>
                      <a:lnTo>
                        <a:pt x="1103" y="42"/>
                      </a:lnTo>
                      <a:lnTo>
                        <a:pt x="1103" y="0"/>
                      </a:lnTo>
                      <a:lnTo>
                        <a:pt x="0" y="0"/>
                      </a:lnTo>
                      <a:lnTo>
                        <a:pt x="0" y="0"/>
                      </a:lnTo>
                      <a:close/>
                    </a:path>
                  </a:pathLst>
                </a:custGeom>
                <a:solidFill>
                  <a:schemeClr val="accent5">
                    <a:lumMod val="100000"/>
                    <a:alpha val="15000"/>
                  </a:schemeClr>
                </a:solidFill>
                <a:ln>
                  <a:noFill/>
                </a:ln>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grpSp>
          <p:sp>
            <p:nvSpPr>
              <p:cNvPr id="190" name="Live space"/>
              <p:cNvSpPr>
                <a:spLocks noChangeAspect="1"/>
              </p:cNvSpPr>
              <p:nvPr/>
            </p:nvSpPr>
            <p:spPr>
              <a:xfrm>
                <a:off x="472691" y="1369230"/>
                <a:ext cx="8199631" cy="3059100"/>
              </a:xfrm>
              <a:prstGeom prst="rect">
                <a:avLst/>
              </a:prstGeom>
              <a:noFill/>
              <a:ln w="9525">
                <a:solidFill>
                  <a:srgbClr val="C00000">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2116120" rtl="0" eaLnBrk="1" fontAlgn="auto" latinLnBrk="0" hangingPunct="1">
                  <a:lnSpc>
                    <a:spcPct val="90000"/>
                  </a:lnSpc>
                  <a:spcBef>
                    <a:spcPts val="0"/>
                  </a:spcBef>
                  <a:spcAft>
                    <a:spcPts val="200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grpSp>
        <p:sp>
          <p:nvSpPr>
            <p:cNvPr id="174" name="Line 19"/>
            <p:cNvSpPr>
              <a:spLocks noChangeShapeType="1"/>
            </p:cNvSpPr>
            <p:nvPr/>
          </p:nvSpPr>
          <p:spPr bwMode="auto">
            <a:xfrm>
              <a:off x="1657" y="4068235"/>
              <a:ext cx="91415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175" name="Line 6"/>
            <p:cNvSpPr>
              <a:spLocks noChangeShapeType="1"/>
            </p:cNvSpPr>
            <p:nvPr/>
          </p:nvSpPr>
          <p:spPr bwMode="auto">
            <a:xfrm>
              <a:off x="1657" y="1367545"/>
              <a:ext cx="91415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176" name="Line 6"/>
            <p:cNvSpPr>
              <a:spLocks noChangeShapeType="1"/>
            </p:cNvSpPr>
            <p:nvPr/>
          </p:nvSpPr>
          <p:spPr bwMode="auto">
            <a:xfrm>
              <a:off x="1657" y="1547591"/>
              <a:ext cx="9141588"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grpSp>
          <p:nvGrpSpPr>
            <p:cNvPr id="177" name="Gutter space"/>
            <p:cNvGrpSpPr/>
            <p:nvPr/>
          </p:nvGrpSpPr>
          <p:grpSpPr>
            <a:xfrm>
              <a:off x="758655" y="467315"/>
              <a:ext cx="7627700" cy="3961015"/>
              <a:chOff x="1120632" y="623087"/>
              <a:chExt cx="7361520" cy="5532930"/>
            </a:xfrm>
          </p:grpSpPr>
          <p:sp>
            <p:nvSpPr>
              <p:cNvPr id="178" name="Gutter 11"/>
              <p:cNvSpPr>
                <a:spLocks noChangeArrowheads="1"/>
              </p:cNvSpPr>
              <p:nvPr/>
            </p:nvSpPr>
            <p:spPr bwMode="auto">
              <a:xfrm>
                <a:off x="8258952" y="623087"/>
                <a:ext cx="223200" cy="5532930"/>
              </a:xfrm>
              <a:prstGeom prst="rect">
                <a:avLst/>
              </a:prstGeom>
              <a:solidFill>
                <a:schemeClr val="accent5">
                  <a:lumMod val="100000"/>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179" name="Gutter 10"/>
              <p:cNvSpPr>
                <a:spLocks noChangeArrowheads="1"/>
              </p:cNvSpPr>
              <p:nvPr/>
            </p:nvSpPr>
            <p:spPr bwMode="auto">
              <a:xfrm>
                <a:off x="7545120" y="623087"/>
                <a:ext cx="223200" cy="5532930"/>
              </a:xfrm>
              <a:prstGeom prst="rect">
                <a:avLst/>
              </a:prstGeom>
              <a:solidFill>
                <a:schemeClr val="accent5">
                  <a:lumMod val="100000"/>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180" name="Gutter 9"/>
              <p:cNvSpPr>
                <a:spLocks noChangeArrowheads="1"/>
              </p:cNvSpPr>
              <p:nvPr/>
            </p:nvSpPr>
            <p:spPr bwMode="auto">
              <a:xfrm>
                <a:off x="6831288" y="623087"/>
                <a:ext cx="223200" cy="5532930"/>
              </a:xfrm>
              <a:prstGeom prst="rect">
                <a:avLst/>
              </a:prstGeom>
              <a:solidFill>
                <a:schemeClr val="accent5">
                  <a:lumMod val="100000"/>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181" name="Gutter 8"/>
              <p:cNvSpPr>
                <a:spLocks noChangeArrowheads="1"/>
              </p:cNvSpPr>
              <p:nvPr/>
            </p:nvSpPr>
            <p:spPr bwMode="auto">
              <a:xfrm>
                <a:off x="6117456" y="623087"/>
                <a:ext cx="223200" cy="5532930"/>
              </a:xfrm>
              <a:prstGeom prst="rect">
                <a:avLst/>
              </a:prstGeom>
              <a:solidFill>
                <a:schemeClr val="accent5">
                  <a:lumMod val="100000"/>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182" name="Gutter 7"/>
              <p:cNvSpPr>
                <a:spLocks noChangeArrowheads="1"/>
              </p:cNvSpPr>
              <p:nvPr/>
            </p:nvSpPr>
            <p:spPr bwMode="auto">
              <a:xfrm>
                <a:off x="5403624" y="623087"/>
                <a:ext cx="223200" cy="5532930"/>
              </a:xfrm>
              <a:prstGeom prst="rect">
                <a:avLst/>
              </a:prstGeom>
              <a:solidFill>
                <a:schemeClr val="accent5">
                  <a:lumMod val="100000"/>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183" name="Gutter 6"/>
              <p:cNvSpPr>
                <a:spLocks noChangeArrowheads="1"/>
              </p:cNvSpPr>
              <p:nvPr/>
            </p:nvSpPr>
            <p:spPr bwMode="auto">
              <a:xfrm>
                <a:off x="4689792" y="623087"/>
                <a:ext cx="223200" cy="5532930"/>
              </a:xfrm>
              <a:prstGeom prst="rect">
                <a:avLst/>
              </a:prstGeom>
              <a:solidFill>
                <a:schemeClr val="accent5">
                  <a:lumMod val="100000"/>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184" name="Gutter 5"/>
              <p:cNvSpPr>
                <a:spLocks noChangeArrowheads="1"/>
              </p:cNvSpPr>
              <p:nvPr/>
            </p:nvSpPr>
            <p:spPr bwMode="auto">
              <a:xfrm>
                <a:off x="3975960" y="623087"/>
                <a:ext cx="223200" cy="5532930"/>
              </a:xfrm>
              <a:prstGeom prst="rect">
                <a:avLst/>
              </a:prstGeom>
              <a:solidFill>
                <a:schemeClr val="accent5">
                  <a:lumMod val="100000"/>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185" name="Gutter 4"/>
              <p:cNvSpPr>
                <a:spLocks noChangeArrowheads="1"/>
              </p:cNvSpPr>
              <p:nvPr/>
            </p:nvSpPr>
            <p:spPr bwMode="auto">
              <a:xfrm>
                <a:off x="3262128" y="623087"/>
                <a:ext cx="223200" cy="5532930"/>
              </a:xfrm>
              <a:prstGeom prst="rect">
                <a:avLst/>
              </a:prstGeom>
              <a:solidFill>
                <a:schemeClr val="accent5">
                  <a:lumMod val="100000"/>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186" name="Gutter 3"/>
              <p:cNvSpPr>
                <a:spLocks noChangeArrowheads="1"/>
              </p:cNvSpPr>
              <p:nvPr/>
            </p:nvSpPr>
            <p:spPr bwMode="auto">
              <a:xfrm>
                <a:off x="2548296" y="623087"/>
                <a:ext cx="223200" cy="5532930"/>
              </a:xfrm>
              <a:prstGeom prst="rect">
                <a:avLst/>
              </a:prstGeom>
              <a:solidFill>
                <a:schemeClr val="accent5">
                  <a:lumMod val="100000"/>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187" name="Gutter 2"/>
              <p:cNvSpPr>
                <a:spLocks noChangeArrowheads="1"/>
              </p:cNvSpPr>
              <p:nvPr/>
            </p:nvSpPr>
            <p:spPr bwMode="auto">
              <a:xfrm>
                <a:off x="1834464" y="623087"/>
                <a:ext cx="223200" cy="5532930"/>
              </a:xfrm>
              <a:prstGeom prst="rect">
                <a:avLst/>
              </a:prstGeom>
              <a:solidFill>
                <a:schemeClr val="accent5">
                  <a:lumMod val="100000"/>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sp>
            <p:nvSpPr>
              <p:cNvPr id="188" name="Gutter 1"/>
              <p:cNvSpPr>
                <a:spLocks noChangeArrowheads="1"/>
              </p:cNvSpPr>
              <p:nvPr/>
            </p:nvSpPr>
            <p:spPr bwMode="auto">
              <a:xfrm>
                <a:off x="1120632" y="623087"/>
                <a:ext cx="223200" cy="5532930"/>
              </a:xfrm>
              <a:prstGeom prst="rect">
                <a:avLst/>
              </a:prstGeom>
              <a:solidFill>
                <a:schemeClr val="accent5">
                  <a:lumMod val="100000"/>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Garamond"/>
                  <a:ea typeface="+mn-ea"/>
                  <a:cs typeface="+mn-cs"/>
                </a:endParaRPr>
              </a:p>
            </p:txBody>
          </p:sp>
        </p:grpSp>
      </p:grpSp>
    </p:spTree>
    <p:extLst>
      <p:ext uri="{BB962C8B-B14F-4D97-AF65-F5344CB8AC3E}">
        <p14:creationId xmlns:p14="http://schemas.microsoft.com/office/powerpoint/2010/main" val="1217592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61476" name="think-cell Slide" r:id="rId7" imgW="286" imgH="286" progId="TCLayout.ActiveDocument.1">
                  <p:embed/>
                </p:oleObj>
              </mc:Choice>
              <mc:Fallback>
                <p:oleObj name="think-cell Slide" r:id="rId7" imgW="286" imgH="286" progId="TCLayout.ActiveDocument.1">
                  <p:embed/>
                  <p:pic>
                    <p:nvPicPr>
                      <p:cNvPr id="2" name="Object 1" hidden="1"/>
                      <p:cNvPicPr/>
                      <p:nvPr/>
                    </p:nvPicPr>
                    <p:blipFill>
                      <a:blip r:embed="rId8"/>
                      <a:stretch>
                        <a:fillRect/>
                      </a:stretch>
                    </p:blipFill>
                    <p:spPr>
                      <a:xfrm>
                        <a:off x="4235" y="4235"/>
                        <a:ext cx="4235" cy="4235"/>
                      </a:xfrm>
                      <a:prstGeom prst="rect">
                        <a:avLst/>
                      </a:prstGeom>
                    </p:spPr>
                  </p:pic>
                </p:oleObj>
              </mc:Fallback>
            </mc:AlternateContent>
          </a:graphicData>
        </a:graphic>
      </p:graphicFrame>
      <p:sp>
        <p:nvSpPr>
          <p:cNvPr id="7" name="Page"/>
          <p:cNvSpPr txBox="1"/>
          <p:nvPr userDrawn="1"/>
        </p:nvSpPr>
        <p:spPr bwMode="white">
          <a:xfrm>
            <a:off x="21966653" y="12808801"/>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9"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aramond"/>
                <a:ea typeface="+mn-ea"/>
                <a:cs typeface="+mn-cs"/>
                <a:sym typeface="+mn-lt"/>
              </a:rPr>
              <a:t>Copyright © 2020 by Boston Consulting Group. All rights reserved.</a:t>
            </a:r>
          </a:p>
        </p:txBody>
      </p:sp>
      <p:sp>
        <p:nvSpPr>
          <p:cNvPr id="13" name="Rectangle 12"/>
          <p:cNvSpPr/>
          <p:nvPr userDrawn="1">
            <p:custDataLst>
              <p:tags r:id="rId3"/>
            </p:custDataLst>
          </p:nvPr>
        </p:nvSpPr>
        <p:spPr>
          <a:xfrm>
            <a:off x="3920824" y="9105559"/>
            <a:ext cx="1755648" cy="1744845"/>
          </a:xfrm>
          <a:prstGeom prst="rect">
            <a:avLst/>
          </a:prstGeom>
          <a:noFill/>
          <a:ln w="9525" cap="flat" cmpd="sng" algn="ctr">
            <a:solidFill>
              <a:srgbClr val="FFFFFF"/>
            </a:solid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2116120" rtl="0" eaLnBrk="1" fontAlgn="auto" latinLnBrk="0" hangingPunct="1">
              <a:lnSpc>
                <a:spcPct val="100000"/>
              </a:lnSpc>
              <a:spcBef>
                <a:spcPct val="0"/>
              </a:spcBef>
              <a:spcAft>
                <a:spcPct val="0"/>
              </a:spcAft>
              <a:buClrTx/>
              <a:buSzTx/>
              <a:buFontTx/>
              <a:buNone/>
              <a:tabLst/>
              <a:defRPr/>
            </a:pPr>
            <a:endParaRPr kumimoji="0" lang="en-US" sz="6400" b="0" i="0" u="none" strike="noStrike" kern="1200" cap="none" spc="0" normalizeH="0" baseline="0" noProof="0" dirty="0">
              <a:ln>
                <a:noFill/>
              </a:ln>
              <a:solidFill>
                <a:srgbClr val="FFFFFF">
                  <a:lumMod val="100000"/>
                </a:srgbClr>
              </a:solidFill>
              <a:effectLst/>
              <a:uLnTx/>
              <a:uFillTx/>
              <a:latin typeface="Arial Nova Light"/>
              <a:ea typeface="+mn-ea"/>
              <a:cs typeface="+mn-cs"/>
            </a:endParaRPr>
          </a:p>
        </p:txBody>
      </p:sp>
      <p:sp>
        <p:nvSpPr>
          <p:cNvPr id="14" name="Rectangle 13"/>
          <p:cNvSpPr/>
          <p:nvPr userDrawn="1">
            <p:custDataLst>
              <p:tags r:id="rId4"/>
            </p:custDataLst>
          </p:nvPr>
        </p:nvSpPr>
        <p:spPr>
          <a:xfrm>
            <a:off x="5964472" y="9105555"/>
            <a:ext cx="2633472" cy="2625344"/>
          </a:xfrm>
          <a:prstGeom prst="rect">
            <a:avLst/>
          </a:prstGeom>
          <a:noFill/>
          <a:ln w="9525" cap="flat" cmpd="sng" algn="ctr">
            <a:solidFill>
              <a:srgbClr val="FFFFFF"/>
            </a:solid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88000" tIns="480000" rIns="0" bIns="0" numCol="1" spcCol="0" rtlCol="0" fromWordArt="0" anchor="t" anchorCtr="0" forceAA="0" compatLnSpc="1">
            <a:prstTxWarp prst="textNoShape">
              <a:avLst/>
            </a:prstTxWarp>
            <a:noAutofit/>
          </a:bodyPr>
          <a:lstStyle/>
          <a:p>
            <a:pPr marL="0" marR="0" lvl="0" indent="0" algn="ctr" defTabSz="2116120" rtl="0" eaLnBrk="1" fontAlgn="auto" latinLnBrk="0" hangingPunct="1">
              <a:lnSpc>
                <a:spcPct val="100000"/>
              </a:lnSpc>
              <a:spcBef>
                <a:spcPct val="0"/>
              </a:spcBef>
              <a:spcAft>
                <a:spcPct val="0"/>
              </a:spcAft>
              <a:buClrTx/>
              <a:buSzTx/>
              <a:buFontTx/>
              <a:buNone/>
              <a:tabLst/>
              <a:defRPr/>
            </a:pPr>
            <a:endParaRPr kumimoji="0" lang="en-US" sz="6400" b="0" i="0" u="none" strike="noStrike" kern="1200" cap="none" spc="0" normalizeH="0" baseline="0" noProof="0" dirty="0">
              <a:ln>
                <a:noFill/>
              </a:ln>
              <a:solidFill>
                <a:srgbClr val="FFFFFF">
                  <a:lumMod val="100000"/>
                </a:srgbClr>
              </a:solidFill>
              <a:effectLst/>
              <a:uLnTx/>
              <a:uFillTx/>
              <a:latin typeface="Arial Nova Light"/>
              <a:ea typeface="+mn-ea"/>
              <a:cs typeface="+mn-cs"/>
            </a:endParaRPr>
          </a:p>
        </p:txBody>
      </p:sp>
      <p:sp>
        <p:nvSpPr>
          <p:cNvPr id="15" name="Rectangle 14"/>
          <p:cNvSpPr/>
          <p:nvPr userDrawn="1">
            <p:custDataLst>
              <p:tags r:id="rId5"/>
            </p:custDataLst>
          </p:nvPr>
        </p:nvSpPr>
        <p:spPr>
          <a:xfrm>
            <a:off x="1599736" y="1828801"/>
            <a:ext cx="6998208" cy="6988755"/>
          </a:xfrm>
          <a:prstGeom prst="rect">
            <a:avLst/>
          </a:prstGeom>
          <a:noFill/>
          <a:ln w="9525" cap="flat" cmpd="sng" algn="ctr">
            <a:solidFill>
              <a:srgbClr val="FFFFFF"/>
            </a:solid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72000" rIns="0" bIns="0" numCol="1" spcCol="0" rtlCol="0" fromWordArt="0" anchor="t" anchorCtr="0" forceAA="0" compatLnSpc="1">
            <a:prstTxWarp prst="textNoShape">
              <a:avLst/>
            </a:prstTxWarp>
            <a:noAutofit/>
          </a:bodyPr>
          <a:lstStyle/>
          <a:p>
            <a:pPr marL="0" marR="0" lvl="0" indent="0" algn="ctr" defTabSz="2116120" rtl="0" eaLnBrk="1" fontAlgn="auto" latinLnBrk="0" hangingPunct="1">
              <a:lnSpc>
                <a:spcPct val="95000"/>
              </a:lnSpc>
              <a:spcBef>
                <a:spcPts val="0"/>
              </a:spcBef>
              <a:spcAft>
                <a:spcPts val="0"/>
              </a:spcAft>
              <a:buClrTx/>
              <a:buSzTx/>
              <a:buFontTx/>
              <a:buNone/>
              <a:tabLst/>
              <a:defRPr/>
            </a:pPr>
            <a:r>
              <a:rPr kumimoji="0" lang="en-US" sz="10667" b="0" i="0" u="none" strike="noStrike" kern="1200" cap="none" spc="0" normalizeH="0" baseline="0" noProof="0" dirty="0">
                <a:ln>
                  <a:noFill/>
                </a:ln>
                <a:solidFill>
                  <a:srgbClr val="FFFFFF">
                    <a:lumMod val="100000"/>
                  </a:srgbClr>
                </a:solidFill>
                <a:effectLst/>
                <a:uLnTx/>
                <a:uFillTx/>
                <a:latin typeface="Garamond"/>
                <a:ea typeface="+mn-ea"/>
                <a:cs typeface="+mn-cs"/>
              </a:rPr>
              <a:t>Agenda</a:t>
            </a:r>
          </a:p>
        </p:txBody>
      </p:sp>
    </p:spTree>
    <p:extLst>
      <p:ext uri="{BB962C8B-B14F-4D97-AF65-F5344CB8AC3E}">
        <p14:creationId xmlns:p14="http://schemas.microsoft.com/office/powerpoint/2010/main" val="31624526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62500" name="think-cell Slide" r:id="rId6" imgW="286" imgH="286" progId="TCLayout.ActiveDocument.1">
                  <p:embed/>
                </p:oleObj>
              </mc:Choice>
              <mc:Fallback>
                <p:oleObj name="think-cell Slide" r:id="rId6" imgW="286" imgH="286" progId="TCLayout.ActiveDocument.1">
                  <p:embed/>
                  <p:pic>
                    <p:nvPicPr>
                      <p:cNvPr id="2" name="Object 1" hidden="1"/>
                      <p:cNvPicPr/>
                      <p:nvPr/>
                    </p:nvPicPr>
                    <p:blipFill>
                      <a:blip r:embed="rId7"/>
                      <a:stretch>
                        <a:fillRect/>
                      </a:stretch>
                    </p:blipFill>
                    <p:spPr>
                      <a:xfrm>
                        <a:off x="4235" y="4235"/>
                        <a:ext cx="4235" cy="4235"/>
                      </a:xfrm>
                      <a:prstGeom prst="rect">
                        <a:avLst/>
                      </a:prstGeom>
                    </p:spPr>
                  </p:pic>
                </p:oleObj>
              </mc:Fallback>
            </mc:AlternateContent>
          </a:graphicData>
        </a:graphic>
      </p:graphicFrame>
      <p:sp>
        <p:nvSpPr>
          <p:cNvPr id="7" name="Page"/>
          <p:cNvSpPr txBox="1"/>
          <p:nvPr userDrawn="1"/>
        </p:nvSpPr>
        <p:spPr bwMode="white">
          <a:xfrm>
            <a:off x="21966653" y="12808801"/>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9"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aramond"/>
                <a:ea typeface="+mn-ea"/>
                <a:cs typeface="+mn-cs"/>
                <a:sym typeface="+mn-lt"/>
              </a:rPr>
              <a:t>Copyright © 2020 by Boston Consulting Group. All rights reserved.</a:t>
            </a:r>
          </a:p>
        </p:txBody>
      </p:sp>
      <p:sp>
        <p:nvSpPr>
          <p:cNvPr id="12" name="Rectangle 11"/>
          <p:cNvSpPr/>
          <p:nvPr userDrawn="1">
            <p:custDataLst>
              <p:tags r:id="rId3"/>
            </p:custDataLst>
          </p:nvPr>
        </p:nvSpPr>
        <p:spPr>
          <a:xfrm>
            <a:off x="2222115" y="5336083"/>
            <a:ext cx="19939781" cy="6402053"/>
          </a:xfrm>
          <a:prstGeom prst="rect">
            <a:avLst/>
          </a:prstGeom>
          <a:noFill/>
          <a:ln w="9525" cap="flat" cmpd="sng" algn="ctr">
            <a:solidFill>
              <a:srgbClr val="FFFFFF"/>
            </a:solid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0" tIns="731520" rIns="731520" bIns="365760" numCol="1" spcCol="0" rtlCol="0" fromWordArt="0" anchor="b" anchorCtr="0" forceAA="0" compatLnSpc="1">
            <a:prstTxWarp prst="textNoShape">
              <a:avLst/>
            </a:prstTxWarp>
            <a:noAutofit/>
          </a:bodyPr>
          <a:lstStyle/>
          <a:p>
            <a:pPr marL="0" marR="0" lvl="0" indent="0" algn="l" defTabSz="2116120" rtl="0" eaLnBrk="1" fontAlgn="auto" latinLnBrk="0" hangingPunct="1">
              <a:lnSpc>
                <a:spcPts val="16000"/>
              </a:lnSpc>
              <a:spcBef>
                <a:spcPts val="0"/>
              </a:spcBef>
              <a:spcAft>
                <a:spcPts val="0"/>
              </a:spcAft>
              <a:buClrTx/>
              <a:buSzTx/>
              <a:buFontTx/>
              <a:buNone/>
              <a:tabLst/>
              <a:defRPr/>
            </a:pPr>
            <a:endParaRPr kumimoji="0" lang="en-US" sz="10667" b="0" i="0" u="none" strike="noStrike" kern="1200" cap="none" spc="0" normalizeH="0" baseline="0" noProof="0" dirty="0">
              <a:ln>
                <a:noFill/>
              </a:ln>
              <a:solidFill>
                <a:srgbClr val="FFFFFF">
                  <a:lumMod val="100000"/>
                </a:srgbClr>
              </a:solidFill>
              <a:effectLst/>
              <a:uLnTx/>
              <a:uFillTx/>
              <a:latin typeface="Arial Nova Light"/>
              <a:ea typeface="+mn-ea"/>
              <a:cs typeface="+mn-cs"/>
            </a:endParaRPr>
          </a:p>
        </p:txBody>
      </p:sp>
      <p:sp>
        <p:nvSpPr>
          <p:cNvPr id="13" name="Rectangle 12"/>
          <p:cNvSpPr/>
          <p:nvPr userDrawn="1">
            <p:custDataLst>
              <p:tags r:id="rId4"/>
            </p:custDataLst>
          </p:nvPr>
        </p:nvSpPr>
        <p:spPr>
          <a:xfrm>
            <a:off x="2221349" y="2915605"/>
            <a:ext cx="1830955" cy="1836000"/>
          </a:xfrm>
          <a:prstGeom prst="rect">
            <a:avLst/>
          </a:prstGeom>
          <a:noFill/>
          <a:ln w="9525" cap="flat" cmpd="sng" algn="ctr">
            <a:solidFill>
              <a:srgbClr val="FFFFFF"/>
            </a:solid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2116120" rtl="0" eaLnBrk="1" fontAlgn="auto" latinLnBrk="0" hangingPunct="1">
              <a:lnSpc>
                <a:spcPct val="100000"/>
              </a:lnSpc>
              <a:spcBef>
                <a:spcPct val="0"/>
              </a:spcBef>
              <a:spcAft>
                <a:spcPct val="0"/>
              </a:spcAft>
              <a:buClrTx/>
              <a:buSzTx/>
              <a:buFontTx/>
              <a:buNone/>
              <a:tabLst/>
              <a:defRPr/>
            </a:pPr>
            <a:endParaRPr kumimoji="0" lang="en-US" sz="6400" b="0" i="0" u="none" strike="noStrike" kern="1200" cap="none" spc="0" normalizeH="0" baseline="0" noProof="0" dirty="0">
              <a:ln>
                <a:noFill/>
              </a:ln>
              <a:solidFill>
                <a:srgbClr val="FFFFFF">
                  <a:lumMod val="100000"/>
                </a:srgbClr>
              </a:solidFill>
              <a:effectLst/>
              <a:uLnTx/>
              <a:uFillTx/>
              <a:latin typeface="Arial Nova Light"/>
              <a:ea typeface="+mn-ea"/>
              <a:cs typeface="+mn-cs"/>
            </a:endParaRPr>
          </a:p>
        </p:txBody>
      </p:sp>
    </p:spTree>
    <p:extLst>
      <p:ext uri="{BB962C8B-B14F-4D97-AF65-F5344CB8AC3E}">
        <p14:creationId xmlns:p14="http://schemas.microsoft.com/office/powerpoint/2010/main" val="35139478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63524" name="think-cell Slide" r:id="rId6" imgW="286" imgH="286" progId="TCLayout.ActiveDocument.1">
                  <p:embed/>
                </p:oleObj>
              </mc:Choice>
              <mc:Fallback>
                <p:oleObj name="think-cell Slide" r:id="rId6" imgW="286" imgH="286" progId="TCLayout.ActiveDocument.1">
                  <p:embed/>
                  <p:pic>
                    <p:nvPicPr>
                      <p:cNvPr id="2" name="Object 1" hidden="1"/>
                      <p:cNvPicPr/>
                      <p:nvPr/>
                    </p:nvPicPr>
                    <p:blipFill>
                      <a:blip r:embed="rId7"/>
                      <a:stretch>
                        <a:fillRect/>
                      </a:stretch>
                    </p:blipFill>
                    <p:spPr>
                      <a:xfrm>
                        <a:off x="4235" y="4235"/>
                        <a:ext cx="4235" cy="4235"/>
                      </a:xfrm>
                      <a:prstGeom prst="rect">
                        <a:avLst/>
                      </a:prstGeom>
                    </p:spPr>
                  </p:pic>
                </p:oleObj>
              </mc:Fallback>
            </mc:AlternateContent>
          </a:graphicData>
        </a:graphic>
      </p:graphicFrame>
      <p:sp>
        <p:nvSpPr>
          <p:cNvPr id="7" name="Page"/>
          <p:cNvSpPr txBox="1"/>
          <p:nvPr userDrawn="1"/>
        </p:nvSpPr>
        <p:spPr bwMode="white">
          <a:xfrm>
            <a:off x="21966653" y="12808801"/>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9"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aramond"/>
                <a:ea typeface="+mn-ea"/>
                <a:cs typeface="+mn-cs"/>
                <a:sym typeface="+mn-lt"/>
              </a:rPr>
              <a:t>Copyright © 2020 by Boston Consulting Group. All rights reserved.</a:t>
            </a:r>
          </a:p>
        </p:txBody>
      </p:sp>
      <p:cxnSp>
        <p:nvCxnSpPr>
          <p:cNvPr id="10" name="Straight Connector 9"/>
          <p:cNvCxnSpPr/>
          <p:nvPr userDrawn="1">
            <p:custDataLst>
              <p:tags r:id="rId3"/>
            </p:custDataLst>
          </p:nvPr>
        </p:nvCxnSpPr>
        <p:spPr>
          <a:xfrm>
            <a:off x="1596308" y="2412003"/>
            <a:ext cx="22787693" cy="0"/>
          </a:xfrm>
          <a:prstGeom prst="line">
            <a:avLst/>
          </a:prstGeom>
          <a:noFill/>
          <a:ln w="9525" cap="rnd" cmpd="sng" algn="ctr">
            <a:solidFill>
              <a:srgbClr val="FFFFFF"/>
            </a:solidFill>
            <a:prstDash val="solid"/>
            <a:round/>
          </a:ln>
          <a:effectLst/>
        </p:spPr>
        <p:style>
          <a:lnRef idx="1">
            <a:schemeClr val="accent1"/>
          </a:lnRef>
          <a:fillRef idx="0">
            <a:schemeClr val="accent1"/>
          </a:fillRef>
          <a:effectRef idx="0">
            <a:schemeClr val="accent1"/>
          </a:effectRef>
          <a:fontRef idx="minor">
            <a:schemeClr val="tx1"/>
          </a:fontRef>
        </p:style>
      </p:cxnSp>
      <p:sp>
        <p:nvSpPr>
          <p:cNvPr id="11" name="Rectangle 10"/>
          <p:cNvSpPr/>
          <p:nvPr userDrawn="1">
            <p:custDataLst>
              <p:tags r:id="rId4"/>
            </p:custDataLst>
          </p:nvPr>
        </p:nvSpPr>
        <p:spPr>
          <a:xfrm>
            <a:off x="1596308" y="1245603"/>
            <a:ext cx="18257293" cy="941797"/>
          </a:xfrm>
          <a:prstGeom prst="rect">
            <a:avLst/>
          </a:prstGeom>
          <a:noFill/>
          <a:ln w="9525">
            <a:noFill/>
            <a:miter lim="800000"/>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2116120" rtl="0" eaLnBrk="1" fontAlgn="auto" latinLnBrk="0" hangingPunct="1">
              <a:lnSpc>
                <a:spcPct val="90000"/>
              </a:lnSpc>
              <a:spcBef>
                <a:spcPct val="0"/>
              </a:spcBef>
              <a:spcAft>
                <a:spcPts val="0"/>
              </a:spcAft>
              <a:buClrTx/>
              <a:buSzTx/>
              <a:buFontTx/>
              <a:buNone/>
              <a:tabLst/>
              <a:defRPr/>
            </a:pPr>
            <a:r>
              <a:rPr kumimoji="0" lang="en-US" sz="9067" b="0" i="0" u="none" strike="noStrike" kern="1200" cap="none" spc="0" normalizeH="0" baseline="0" noProof="0" dirty="0">
                <a:ln>
                  <a:noFill/>
                </a:ln>
                <a:solidFill>
                  <a:prstClr val="white">
                    <a:lumMod val="100000"/>
                  </a:prstClr>
                </a:solidFill>
                <a:effectLst/>
                <a:uLnTx/>
                <a:uFillTx/>
                <a:latin typeface="Garamond"/>
                <a:ea typeface="+mn-ea"/>
                <a:cs typeface="+mn-cs"/>
                <a:sym typeface="+mn-lt"/>
              </a:rPr>
              <a:t>Agenda</a:t>
            </a:r>
          </a:p>
        </p:txBody>
      </p:sp>
    </p:spTree>
    <p:extLst>
      <p:ext uri="{BB962C8B-B14F-4D97-AF65-F5344CB8AC3E}">
        <p14:creationId xmlns:p14="http://schemas.microsoft.com/office/powerpoint/2010/main" val="1372541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64548"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4235" y="4235"/>
                        <a:ext cx="4235" cy="4235"/>
                      </a:xfrm>
                      <a:prstGeom prst="rect">
                        <a:avLst/>
                      </a:prstGeom>
                    </p:spPr>
                  </p:pic>
                </p:oleObj>
              </mc:Fallback>
            </mc:AlternateContent>
          </a:graphicData>
        </a:graphic>
      </p:graphicFrame>
      <p:pic>
        <p:nvPicPr>
          <p:cNvPr id="61" name="Shadow"/>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221668" y="0"/>
            <a:ext cx="1058749" cy="13716000"/>
          </a:xfrm>
          <a:prstGeom prst="rect">
            <a:avLst/>
          </a:prstGeom>
        </p:spPr>
      </p:pic>
      <p:sp>
        <p:nvSpPr>
          <p:cNvPr id="63" name="PanelGray"/>
          <p:cNvSpPr/>
          <p:nvPr userDrawn="1"/>
        </p:nvSpPr>
        <p:spPr bwMode="white">
          <a:xfrm>
            <a:off x="8283191" y="-2619"/>
            <a:ext cx="16100813" cy="13718619"/>
          </a:xfrm>
          <a:custGeom>
            <a:avLst/>
            <a:gdLst>
              <a:gd name="connsiteX0" fmla="*/ 0 w 6553548"/>
              <a:gd name="connsiteY0" fmla="*/ 0 h 6859309"/>
              <a:gd name="connsiteX1" fmla="*/ 6553548 w 6553548"/>
              <a:gd name="connsiteY1" fmla="*/ 0 h 6859309"/>
              <a:gd name="connsiteX2" fmla="*/ 6553548 w 6553548"/>
              <a:gd name="connsiteY2" fmla="*/ 6859309 h 6859309"/>
              <a:gd name="connsiteX3" fmla="*/ 0 w 6553548"/>
              <a:gd name="connsiteY3" fmla="*/ 6859309 h 6859309"/>
            </a:gdLst>
            <a:ahLst/>
            <a:cxnLst>
              <a:cxn ang="0">
                <a:pos x="connsiteX0" y="connsiteY0"/>
              </a:cxn>
              <a:cxn ang="0">
                <a:pos x="connsiteX1" y="connsiteY1"/>
              </a:cxn>
              <a:cxn ang="0">
                <a:pos x="connsiteX2" y="connsiteY2"/>
              </a:cxn>
              <a:cxn ang="0">
                <a:pos x="connsiteX3" y="connsiteY3"/>
              </a:cxn>
            </a:cxnLst>
            <a:rect l="l" t="t" r="r" b="b"/>
            <a:pathLst>
              <a:path w="6553548" h="6859309">
                <a:moveTo>
                  <a:pt x="0" y="0"/>
                </a:moveTo>
                <a:lnTo>
                  <a:pt x="6553548" y="0"/>
                </a:lnTo>
                <a:lnTo>
                  <a:pt x="6553548" y="6859309"/>
                </a:lnTo>
                <a:lnTo>
                  <a:pt x="0" y="6859309"/>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15" name="Page"/>
          <p:cNvSpPr txBox="1"/>
          <p:nvPr userDrawn="1"/>
        </p:nvSpPr>
        <p:spPr>
          <a:xfrm>
            <a:off x="21966653" y="12810073"/>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lumMod val="50000"/>
                  </a:prstClr>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dirty="0">
              <a:ln>
                <a:noFill/>
              </a:ln>
              <a:solidFill>
                <a:prstClr val="white">
                  <a:lumMod val="50000"/>
                </a:prstClr>
              </a:solidFill>
              <a:effectLst/>
              <a:uLnTx/>
              <a:uFillTx/>
              <a:latin typeface="Garamond"/>
              <a:ea typeface="+mn-ea"/>
              <a:cs typeface="+mn-cs"/>
              <a:sym typeface="+mn-lt"/>
            </a:endParaRPr>
          </a:p>
        </p:txBody>
      </p:sp>
      <p:sp>
        <p:nvSpPr>
          <p:cNvPr id="16"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lumMod val="50000"/>
                  </a:prstClr>
                </a:solidFill>
                <a:effectLst/>
                <a:uLnTx/>
                <a:uFillTx/>
                <a:latin typeface="Garamond"/>
                <a:ea typeface="+mn-ea"/>
                <a:cs typeface="+mn-cs"/>
                <a:sym typeface="+mn-lt"/>
              </a:rPr>
              <a:t>Copyright © 2020 by Boston Consulting Group. All rights reserved.</a:t>
            </a:r>
          </a:p>
        </p:txBody>
      </p:sp>
      <p:sp>
        <p:nvSpPr>
          <p:cNvPr id="3" name="TextBox 2"/>
          <p:cNvSpPr txBox="1"/>
          <p:nvPr userDrawn="1"/>
        </p:nvSpPr>
        <p:spPr>
          <a:xfrm>
            <a:off x="1260001" y="5364000"/>
            <a:ext cx="6060712" cy="2995200"/>
          </a:xfrm>
          <a:prstGeom prst="rect">
            <a:avLst/>
          </a:prstGeom>
          <a:noFill/>
          <a:ln cap="rnd">
            <a:noFill/>
            <a:prstDash val="sysDot"/>
          </a:ln>
        </p:spPr>
        <p:txBody>
          <a:bodyPr wrap="square" lIns="0" tIns="0" rIns="0" bIns="0" rtlCol="0" anchor="ctr" anchorCtr="0">
            <a:no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5600" b="0" i="0" u="none" strike="noStrike" kern="1200" cap="none" spc="0" normalizeH="0" baseline="0" noProof="0" dirty="0">
                <a:ln>
                  <a:noFill/>
                </a:ln>
                <a:solidFill>
                  <a:prstClr val="white"/>
                </a:solidFill>
                <a:effectLst/>
                <a:uLnTx/>
                <a:uFillTx/>
                <a:latin typeface="Garamond"/>
                <a:ea typeface="+mn-ea"/>
                <a:cs typeface="+mn-cs"/>
                <a:sym typeface="+mn-lt"/>
              </a:rPr>
              <a:t>Agenda</a:t>
            </a:r>
          </a:p>
        </p:txBody>
      </p:sp>
    </p:spTree>
    <p:extLst>
      <p:ext uri="{BB962C8B-B14F-4D97-AF65-F5344CB8AC3E}">
        <p14:creationId xmlns:p14="http://schemas.microsoft.com/office/powerpoint/2010/main" val="23344742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65572" name="think-cell Slide" r:id="rId7" imgW="286" imgH="286" progId="TCLayout.ActiveDocument.1">
                  <p:embed/>
                </p:oleObj>
              </mc:Choice>
              <mc:Fallback>
                <p:oleObj name="think-cell Slide" r:id="rId7" imgW="286" imgH="286" progId="TCLayout.ActiveDocument.1">
                  <p:embed/>
                  <p:pic>
                    <p:nvPicPr>
                      <p:cNvPr id="2" name="Object 1" hidden="1"/>
                      <p:cNvPicPr/>
                      <p:nvPr/>
                    </p:nvPicPr>
                    <p:blipFill>
                      <a:blip r:embed="rId8"/>
                      <a:stretch>
                        <a:fillRect/>
                      </a:stretch>
                    </p:blipFill>
                    <p:spPr>
                      <a:xfrm>
                        <a:off x="4235" y="4235"/>
                        <a:ext cx="4235" cy="4235"/>
                      </a:xfrm>
                      <a:prstGeom prst="rect">
                        <a:avLst/>
                      </a:prstGeom>
                    </p:spPr>
                  </p:pic>
                </p:oleObj>
              </mc:Fallback>
            </mc:AlternateContent>
          </a:graphicData>
        </a:graphic>
      </p:graphicFrame>
      <p:sp>
        <p:nvSpPr>
          <p:cNvPr id="5"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lumMod val="50000"/>
                  </a:prstClr>
                </a:solidFill>
                <a:effectLst/>
                <a:uLnTx/>
                <a:uFillTx/>
                <a:latin typeface="Garamond"/>
                <a:ea typeface="+mn-ea"/>
                <a:cs typeface="+mn-cs"/>
                <a:sym typeface="+mn-lt"/>
              </a:rPr>
              <a:t>Copyright © 2020 by Boston Consulting Group. All rights reserved.</a:t>
            </a:r>
          </a:p>
        </p:txBody>
      </p:sp>
      <p:sp>
        <p:nvSpPr>
          <p:cNvPr id="11" name="Rectangle 10"/>
          <p:cNvSpPr/>
          <p:nvPr userDrawn="1">
            <p:custDataLst>
              <p:tags r:id="rId3"/>
            </p:custDataLst>
          </p:nvPr>
        </p:nvSpPr>
        <p:spPr>
          <a:xfrm>
            <a:off x="3920824" y="9105559"/>
            <a:ext cx="1755648" cy="1744845"/>
          </a:xfrm>
          <a:prstGeom prst="rect">
            <a:avLst/>
          </a:prstGeom>
          <a:noFill/>
          <a:ln w="9525" cap="flat" cmpd="sng" algn="ctr">
            <a:solidFill>
              <a:srgbClr val="0156FF"/>
            </a:solid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2116120" rtl="0" eaLnBrk="1" fontAlgn="auto" latinLnBrk="0" hangingPunct="1">
              <a:lnSpc>
                <a:spcPct val="100000"/>
              </a:lnSpc>
              <a:spcBef>
                <a:spcPct val="0"/>
              </a:spcBef>
              <a:spcAft>
                <a:spcPct val="0"/>
              </a:spcAft>
              <a:buClrTx/>
              <a:buSzTx/>
              <a:buFontTx/>
              <a:buNone/>
              <a:tabLst/>
              <a:defRPr/>
            </a:pPr>
            <a:endParaRPr kumimoji="0" lang="en-US" sz="6400" b="0" i="0" u="none" strike="noStrike" kern="1200" cap="none" spc="0" normalizeH="0" baseline="0" noProof="0" dirty="0">
              <a:ln>
                <a:noFill/>
              </a:ln>
              <a:solidFill>
                <a:srgbClr val="FFFFFF">
                  <a:lumMod val="100000"/>
                </a:srgbClr>
              </a:solidFill>
              <a:effectLst/>
              <a:uLnTx/>
              <a:uFillTx/>
              <a:latin typeface="Garamond"/>
              <a:ea typeface="+mn-ea"/>
              <a:cs typeface="+mn-cs"/>
            </a:endParaRPr>
          </a:p>
        </p:txBody>
      </p:sp>
      <p:sp>
        <p:nvSpPr>
          <p:cNvPr id="12" name="Rectangle 11"/>
          <p:cNvSpPr/>
          <p:nvPr userDrawn="1">
            <p:custDataLst>
              <p:tags r:id="rId4"/>
            </p:custDataLst>
          </p:nvPr>
        </p:nvSpPr>
        <p:spPr>
          <a:xfrm>
            <a:off x="5964472" y="9105555"/>
            <a:ext cx="2633472" cy="2625344"/>
          </a:xfrm>
          <a:prstGeom prst="rect">
            <a:avLst/>
          </a:prstGeom>
          <a:noFill/>
          <a:ln w="9525" cap="flat" cmpd="sng" algn="ctr">
            <a:solidFill>
              <a:srgbClr val="0156FF"/>
            </a:solid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88000" tIns="480000" rIns="0" bIns="0" numCol="1" spcCol="0" rtlCol="0" fromWordArt="0" anchor="t" anchorCtr="0" forceAA="0" compatLnSpc="1">
            <a:prstTxWarp prst="textNoShape">
              <a:avLst/>
            </a:prstTxWarp>
            <a:noAutofit/>
          </a:bodyPr>
          <a:lstStyle/>
          <a:p>
            <a:pPr marL="0" marR="0" lvl="0" indent="0" algn="ctr" defTabSz="2116120" rtl="0" eaLnBrk="1" fontAlgn="auto" latinLnBrk="0" hangingPunct="1">
              <a:lnSpc>
                <a:spcPct val="100000"/>
              </a:lnSpc>
              <a:spcBef>
                <a:spcPct val="0"/>
              </a:spcBef>
              <a:spcAft>
                <a:spcPct val="0"/>
              </a:spcAft>
              <a:buClrTx/>
              <a:buSzTx/>
              <a:buFontTx/>
              <a:buNone/>
              <a:tabLst/>
              <a:defRPr/>
            </a:pPr>
            <a:endParaRPr kumimoji="0" lang="en-US" sz="6400" b="0" i="0" u="none" strike="noStrike" kern="1200" cap="none" spc="0" normalizeH="0" baseline="0" noProof="0" dirty="0">
              <a:ln>
                <a:noFill/>
              </a:ln>
              <a:solidFill>
                <a:srgbClr val="FFFFFF">
                  <a:lumMod val="100000"/>
                </a:srgbClr>
              </a:solidFill>
              <a:effectLst/>
              <a:uLnTx/>
              <a:uFillTx/>
              <a:latin typeface="Garamond"/>
              <a:ea typeface="+mn-ea"/>
              <a:cs typeface="+mn-cs"/>
            </a:endParaRPr>
          </a:p>
        </p:txBody>
      </p:sp>
      <p:sp>
        <p:nvSpPr>
          <p:cNvPr id="13" name="Rectangle 12"/>
          <p:cNvSpPr/>
          <p:nvPr userDrawn="1">
            <p:custDataLst>
              <p:tags r:id="rId5"/>
            </p:custDataLst>
          </p:nvPr>
        </p:nvSpPr>
        <p:spPr>
          <a:xfrm>
            <a:off x="1599736" y="1828801"/>
            <a:ext cx="6998208" cy="6988755"/>
          </a:xfrm>
          <a:prstGeom prst="rect">
            <a:avLst/>
          </a:prstGeom>
          <a:noFill/>
          <a:ln w="9525" cap="flat" cmpd="sng" algn="ctr">
            <a:solidFill>
              <a:srgbClr val="0156FF"/>
            </a:solid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72000" rIns="0" bIns="0" numCol="1" spcCol="0" rtlCol="0" fromWordArt="0" anchor="t" anchorCtr="0" forceAA="0" compatLnSpc="1">
            <a:prstTxWarp prst="textNoShape">
              <a:avLst/>
            </a:prstTxWarp>
            <a:noAutofit/>
          </a:bodyPr>
          <a:lstStyle/>
          <a:p>
            <a:pPr marL="0" marR="0" lvl="0" indent="0" algn="ctr" defTabSz="2116120" rtl="0" eaLnBrk="1" fontAlgn="auto" latinLnBrk="0" hangingPunct="1">
              <a:lnSpc>
                <a:spcPct val="95000"/>
              </a:lnSpc>
              <a:spcBef>
                <a:spcPts val="0"/>
              </a:spcBef>
              <a:spcAft>
                <a:spcPts val="0"/>
              </a:spcAft>
              <a:buClrTx/>
              <a:buSzTx/>
              <a:buFontTx/>
              <a:buNone/>
              <a:tabLst/>
              <a:defRPr/>
            </a:pPr>
            <a:r>
              <a:rPr kumimoji="0" lang="en-US" sz="10667" b="0" i="0" u="none" strike="noStrike" kern="1200" cap="none" spc="0" normalizeH="0" baseline="0" noProof="0" dirty="0">
                <a:ln>
                  <a:noFill/>
                </a:ln>
                <a:solidFill>
                  <a:srgbClr val="0156FF"/>
                </a:solidFill>
                <a:effectLst/>
                <a:uLnTx/>
                <a:uFillTx/>
                <a:latin typeface="Garamond"/>
                <a:ea typeface="+mn-ea"/>
                <a:cs typeface="+mn-cs"/>
              </a:rPr>
              <a:t>Agenda</a:t>
            </a:r>
          </a:p>
        </p:txBody>
      </p:sp>
    </p:spTree>
    <p:extLst>
      <p:ext uri="{BB962C8B-B14F-4D97-AF65-F5344CB8AC3E}">
        <p14:creationId xmlns:p14="http://schemas.microsoft.com/office/powerpoint/2010/main" val="26180348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66596" name="think-cell Slide" r:id="rId6" imgW="286" imgH="286" progId="TCLayout.ActiveDocument.1">
                  <p:embed/>
                </p:oleObj>
              </mc:Choice>
              <mc:Fallback>
                <p:oleObj name="think-cell Slide" r:id="rId6" imgW="286" imgH="286" progId="TCLayout.ActiveDocument.1">
                  <p:embed/>
                  <p:pic>
                    <p:nvPicPr>
                      <p:cNvPr id="2" name="Object 1" hidden="1"/>
                      <p:cNvPicPr/>
                      <p:nvPr/>
                    </p:nvPicPr>
                    <p:blipFill>
                      <a:blip r:embed="rId7"/>
                      <a:stretch>
                        <a:fillRect/>
                      </a:stretch>
                    </p:blipFill>
                    <p:spPr>
                      <a:xfrm>
                        <a:off x="4235" y="4235"/>
                        <a:ext cx="4235" cy="4235"/>
                      </a:xfrm>
                      <a:prstGeom prst="rect">
                        <a:avLst/>
                      </a:prstGeom>
                    </p:spPr>
                  </p:pic>
                </p:oleObj>
              </mc:Fallback>
            </mc:AlternateContent>
          </a:graphicData>
        </a:graphic>
      </p:graphicFrame>
      <p:sp>
        <p:nvSpPr>
          <p:cNvPr id="5"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lumMod val="50000"/>
                  </a:prstClr>
                </a:solidFill>
                <a:effectLst/>
                <a:uLnTx/>
                <a:uFillTx/>
                <a:latin typeface="Garamond"/>
                <a:ea typeface="+mn-ea"/>
                <a:cs typeface="+mn-cs"/>
                <a:sym typeface="+mn-lt"/>
              </a:rPr>
              <a:t>Copyright © 2020 by Boston Consulting Group. All rights reserved.</a:t>
            </a:r>
          </a:p>
        </p:txBody>
      </p:sp>
      <p:sp>
        <p:nvSpPr>
          <p:cNvPr id="8" name="Rectangle 7"/>
          <p:cNvSpPr/>
          <p:nvPr userDrawn="1">
            <p:custDataLst>
              <p:tags r:id="rId3"/>
            </p:custDataLst>
          </p:nvPr>
        </p:nvSpPr>
        <p:spPr>
          <a:xfrm>
            <a:off x="2248772" y="5336083"/>
            <a:ext cx="19882419" cy="6402053"/>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640" tIns="548640" rIns="548640" bIns="274320" numCol="1" spcCol="0" rtlCol="0" fromWordArt="0" anchor="b" anchorCtr="0" forceAA="0" compatLnSpc="1">
            <a:prstTxWarp prst="textNoShape">
              <a:avLst/>
            </a:prstTxWarp>
            <a:noAutofit/>
          </a:bodyPr>
          <a:lstStyle/>
          <a:p>
            <a:pPr marL="0" marR="0" lvl="0" indent="0" algn="l" defTabSz="2116120" rtl="0" eaLnBrk="1" fontAlgn="auto" latinLnBrk="0" hangingPunct="1">
              <a:lnSpc>
                <a:spcPts val="12000"/>
              </a:lnSpc>
              <a:spcBef>
                <a:spcPts val="0"/>
              </a:spcBef>
              <a:spcAft>
                <a:spcPts val="0"/>
              </a:spcAft>
              <a:buClrTx/>
              <a:buSzTx/>
              <a:buFontTx/>
              <a:buNone/>
              <a:tabLst/>
              <a:defRPr/>
            </a:pPr>
            <a:endParaRPr kumimoji="0" lang="en-US" sz="8800" b="0" i="0" u="none" strike="noStrike" kern="1200" cap="none" spc="0" normalizeH="0" baseline="0" noProof="0" dirty="0">
              <a:ln>
                <a:noFill/>
              </a:ln>
              <a:solidFill>
                <a:srgbClr val="0156FF">
                  <a:lumMod val="100000"/>
                </a:srgbClr>
              </a:solidFill>
              <a:effectLst/>
              <a:uLnTx/>
              <a:uFillTx/>
              <a:latin typeface="Garamond"/>
              <a:ea typeface="+mn-ea"/>
              <a:cs typeface="+mn-cs"/>
              <a:sym typeface="+mn-lt"/>
            </a:endParaRPr>
          </a:p>
        </p:txBody>
      </p:sp>
      <p:sp>
        <p:nvSpPr>
          <p:cNvPr id="9" name="Rectangle 8"/>
          <p:cNvSpPr/>
          <p:nvPr userDrawn="1">
            <p:custDataLst>
              <p:tags r:id="rId4"/>
            </p:custDataLst>
          </p:nvPr>
        </p:nvSpPr>
        <p:spPr>
          <a:xfrm>
            <a:off x="2248767" y="2915605"/>
            <a:ext cx="2328899" cy="1836000"/>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211612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lumMod val="100000"/>
                </a:srgbClr>
              </a:solidFill>
              <a:effectLst/>
              <a:uLnTx/>
              <a:uFillTx/>
              <a:latin typeface="Garamond"/>
              <a:ea typeface="+mn-ea"/>
              <a:cs typeface="+mn-cs"/>
              <a:sym typeface="+mn-lt"/>
            </a:endParaRPr>
          </a:p>
        </p:txBody>
      </p:sp>
    </p:spTree>
    <p:extLst>
      <p:ext uri="{BB962C8B-B14F-4D97-AF65-F5344CB8AC3E}">
        <p14:creationId xmlns:p14="http://schemas.microsoft.com/office/powerpoint/2010/main" val="25967302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3108" name="think-cell Slide" r:id="rId5" imgW="286" imgH="286" progId="TCLayout.ActiveDocument.1">
                  <p:embed/>
                </p:oleObj>
              </mc:Choice>
              <mc:Fallback>
                <p:oleObj name="think-cell Slide" r:id="rId5" imgW="286" imgH="286" progId="TCLayout.ActiveDocument.1">
                  <p:embed/>
                  <p:pic>
                    <p:nvPicPr>
                      <p:cNvPr id="9" name="Object 8" hidden="1"/>
                      <p:cNvPicPr/>
                      <p:nvPr/>
                    </p:nvPicPr>
                    <p:blipFill>
                      <a:blip r:embed="rId6"/>
                      <a:stretch>
                        <a:fillRect/>
                      </a:stretch>
                    </p:blipFill>
                    <p:spPr>
                      <a:xfrm>
                        <a:off x="4235" y="4235"/>
                        <a:ext cx="4235" cy="4235"/>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6933"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sp>
        <p:nvSpPr>
          <p:cNvPr id="3" name="Date Placeholder 2"/>
          <p:cNvSpPr>
            <a:spLocks noGrp="1"/>
          </p:cNvSpPr>
          <p:nvPr>
            <p:ph type="dt" sz="half" idx="10"/>
          </p:nvPr>
        </p:nvSpPr>
        <p:spPr>
          <a:xfrm>
            <a:off x="20037833" y="12810073"/>
            <a:ext cx="1928824" cy="307777"/>
          </a:xfrm>
          <a:prstGeom prst="rect">
            <a:avLst/>
          </a:prstGeom>
        </p:spPr>
        <p:txBody>
          <a:bodyPr/>
          <a:lstStyle>
            <a:lvl1pPr>
              <a:defRPr>
                <a:latin typeface="+mn-lt"/>
                <a:ea typeface="+mn-ea"/>
                <a:cs typeface="+mn-cs"/>
                <a:sym typeface="+mn-lt"/>
              </a:defRPr>
            </a:lvl1pPr>
          </a:lstStyle>
          <a:p>
            <a:pPr defTabSz="2116120" hangingPunct="1"/>
            <a:fld id="{C66C090E-EA5A-4817-84FB-4308C09E1B1B}" type="datetime1">
              <a:rPr lang="en-US" b="0" kern="1200" cap="none" smtClean="0">
                <a:solidFill>
                  <a:prstClr val="white">
                    <a:lumMod val="50000"/>
                  </a:prstClr>
                </a:solidFill>
                <a:effectLst/>
              </a:rPr>
              <a:t>5/6/21</a:t>
            </a:fld>
            <a:endParaRPr lang="en-US" b="0" kern="1200" cap="none" dirty="0">
              <a:solidFill>
                <a:prstClr val="white">
                  <a:lumMod val="50000"/>
                </a:prstClr>
              </a:solidFill>
              <a:effectLst/>
            </a:endParaRPr>
          </a:p>
        </p:txBody>
      </p:sp>
      <p:sp>
        <p:nvSpPr>
          <p:cNvPr id="7" name="Copyright" hidden="1"/>
          <p:cNvSpPr txBox="1"/>
          <p:nvPr userDrawn="1"/>
        </p:nvSpPr>
        <p:spPr>
          <a:xfrm rot="16200000">
            <a:off x="18895354"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lumMod val="50000"/>
                  </a:prstClr>
                </a:solidFill>
                <a:effectLst/>
                <a:uLnTx/>
                <a:uFillTx/>
                <a:latin typeface="Garamond"/>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1260000" y="1245601"/>
            <a:ext cx="21866400" cy="960264"/>
          </a:xfrm>
        </p:spPr>
        <p:txBody>
          <a:bodyPr/>
          <a:lstStyle>
            <a:lvl1pPr>
              <a:defRPr sz="6933">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0155006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67620" name="think-cell Slide" r:id="rId6" imgW="286" imgH="286" progId="TCLayout.ActiveDocument.1">
                  <p:embed/>
                </p:oleObj>
              </mc:Choice>
              <mc:Fallback>
                <p:oleObj name="think-cell Slide" r:id="rId6" imgW="286" imgH="286" progId="TCLayout.ActiveDocument.1">
                  <p:embed/>
                  <p:pic>
                    <p:nvPicPr>
                      <p:cNvPr id="2" name="Object 1" hidden="1"/>
                      <p:cNvPicPr/>
                      <p:nvPr/>
                    </p:nvPicPr>
                    <p:blipFill>
                      <a:blip r:embed="rId7"/>
                      <a:stretch>
                        <a:fillRect/>
                      </a:stretch>
                    </p:blipFill>
                    <p:spPr>
                      <a:xfrm>
                        <a:off x="4235" y="4235"/>
                        <a:ext cx="4235" cy="4235"/>
                      </a:xfrm>
                      <a:prstGeom prst="rect">
                        <a:avLst/>
                      </a:prstGeom>
                    </p:spPr>
                  </p:pic>
                </p:oleObj>
              </mc:Fallback>
            </mc:AlternateContent>
          </a:graphicData>
        </a:graphic>
      </p:graphicFrame>
      <p:sp>
        <p:nvSpPr>
          <p:cNvPr id="5"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lumMod val="50000"/>
                  </a:prstClr>
                </a:solidFill>
                <a:effectLst/>
                <a:uLnTx/>
                <a:uFillTx/>
                <a:latin typeface="Garamond"/>
                <a:ea typeface="+mn-ea"/>
                <a:cs typeface="+mn-cs"/>
                <a:sym typeface="+mn-lt"/>
              </a:rPr>
              <a:t>Copyright © 2020 by Boston Consulting Group. All rights reserved.</a:t>
            </a:r>
          </a:p>
        </p:txBody>
      </p:sp>
      <p:cxnSp>
        <p:nvCxnSpPr>
          <p:cNvPr id="8" name="Straight Connector 7"/>
          <p:cNvCxnSpPr/>
          <p:nvPr userDrawn="1">
            <p:custDataLst>
              <p:tags r:id="rId3"/>
            </p:custDataLst>
          </p:nvPr>
        </p:nvCxnSpPr>
        <p:spPr>
          <a:xfrm>
            <a:off x="1596308" y="2411997"/>
            <a:ext cx="22787693" cy="0"/>
          </a:xfrm>
          <a:prstGeom prst="line">
            <a:avLst/>
          </a:prstGeom>
          <a:noFill/>
          <a:ln w="9525" cap="rnd" cmpd="sng" algn="ctr">
            <a:solidFill>
              <a:schemeClr val="accent4"/>
            </a:solidFill>
            <a:prstDash val="solid"/>
            <a:round/>
          </a:ln>
          <a:effectLst/>
        </p:spPr>
        <p:style>
          <a:lnRef idx="1">
            <a:schemeClr val="accent1"/>
          </a:lnRef>
          <a:fillRef idx="0">
            <a:schemeClr val="accent1"/>
          </a:fillRef>
          <a:effectRef idx="0">
            <a:schemeClr val="accent1"/>
          </a:effectRef>
          <a:fontRef idx="minor">
            <a:schemeClr val="tx1"/>
          </a:fontRef>
        </p:style>
      </p:cxnSp>
      <p:sp>
        <p:nvSpPr>
          <p:cNvPr id="9" name="Rectangle 8"/>
          <p:cNvSpPr/>
          <p:nvPr userDrawn="1">
            <p:custDataLst>
              <p:tags r:id="rId4"/>
            </p:custDataLst>
          </p:nvPr>
        </p:nvSpPr>
        <p:spPr>
          <a:xfrm>
            <a:off x="1596308" y="1245600"/>
            <a:ext cx="18257293" cy="941797"/>
          </a:xfrm>
          <a:prstGeom prst="rect">
            <a:avLst/>
          </a:prstGeom>
          <a:noFill/>
          <a:ln w="9525">
            <a:noFill/>
            <a:miter lim="800000"/>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2116120" rtl="0" eaLnBrk="1" fontAlgn="auto" latinLnBrk="0" hangingPunct="1">
              <a:lnSpc>
                <a:spcPct val="90000"/>
              </a:lnSpc>
              <a:spcBef>
                <a:spcPct val="0"/>
              </a:spcBef>
              <a:spcAft>
                <a:spcPts val="0"/>
              </a:spcAft>
              <a:buClrTx/>
              <a:buSzTx/>
              <a:buFontTx/>
              <a:buNone/>
              <a:tabLst/>
              <a:defRPr/>
            </a:pPr>
            <a:r>
              <a:rPr kumimoji="0" lang="en-US" sz="7467" b="0" i="0" u="none" strike="noStrike" kern="1200" cap="none" spc="0" normalizeH="0" baseline="0" noProof="0" dirty="0">
                <a:ln>
                  <a:noFill/>
                </a:ln>
                <a:solidFill>
                  <a:srgbClr val="0156FF">
                    <a:lumMod val="100000"/>
                  </a:srgbClr>
                </a:solidFill>
                <a:effectLst/>
                <a:uLnTx/>
                <a:uFillTx/>
                <a:latin typeface="Garamond"/>
                <a:ea typeface="+mn-ea"/>
                <a:cs typeface="+mn-cs"/>
                <a:sym typeface="+mn-lt"/>
              </a:rPr>
              <a:t>Agenda</a:t>
            </a:r>
          </a:p>
        </p:txBody>
      </p:sp>
    </p:spTree>
    <p:extLst>
      <p:ext uri="{BB962C8B-B14F-4D97-AF65-F5344CB8AC3E}">
        <p14:creationId xmlns:p14="http://schemas.microsoft.com/office/powerpoint/2010/main" val="17646598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68644"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4235" y="4235"/>
                        <a:ext cx="4235" cy="4235"/>
                      </a:xfrm>
                      <a:prstGeom prst="rect">
                        <a:avLst/>
                      </a:prstGeom>
                    </p:spPr>
                  </p:pic>
                </p:oleObj>
              </mc:Fallback>
            </mc:AlternateContent>
          </a:graphicData>
        </a:graphic>
      </p:graphicFrame>
      <p:pic>
        <p:nvPicPr>
          <p:cNvPr id="61" name="Shadow"/>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221668" y="0"/>
            <a:ext cx="1058749" cy="13716000"/>
          </a:xfrm>
          <a:prstGeom prst="rect">
            <a:avLst/>
          </a:prstGeom>
        </p:spPr>
      </p:pic>
      <p:sp>
        <p:nvSpPr>
          <p:cNvPr id="63" name="PanelWhite"/>
          <p:cNvSpPr/>
          <p:nvPr userDrawn="1"/>
        </p:nvSpPr>
        <p:spPr bwMode="white">
          <a:xfrm>
            <a:off x="8283191" y="-2619"/>
            <a:ext cx="16100813" cy="13718619"/>
          </a:xfrm>
          <a:custGeom>
            <a:avLst/>
            <a:gdLst>
              <a:gd name="connsiteX0" fmla="*/ 0 w 6553548"/>
              <a:gd name="connsiteY0" fmla="*/ 0 h 6859309"/>
              <a:gd name="connsiteX1" fmla="*/ 6553548 w 6553548"/>
              <a:gd name="connsiteY1" fmla="*/ 0 h 6859309"/>
              <a:gd name="connsiteX2" fmla="*/ 6553548 w 6553548"/>
              <a:gd name="connsiteY2" fmla="*/ 6859309 h 6859309"/>
              <a:gd name="connsiteX3" fmla="*/ 0 w 6553548"/>
              <a:gd name="connsiteY3" fmla="*/ 6859309 h 6859309"/>
            </a:gdLst>
            <a:ahLst/>
            <a:cxnLst>
              <a:cxn ang="0">
                <a:pos x="connsiteX0" y="connsiteY0"/>
              </a:cxn>
              <a:cxn ang="0">
                <a:pos x="connsiteX1" y="connsiteY1"/>
              </a:cxn>
              <a:cxn ang="0">
                <a:pos x="connsiteX2" y="connsiteY2"/>
              </a:cxn>
              <a:cxn ang="0">
                <a:pos x="connsiteX3" y="connsiteY3"/>
              </a:cxn>
            </a:cxnLst>
            <a:rect l="l" t="t" r="r" b="b"/>
            <a:pathLst>
              <a:path w="6553548" h="6859309">
                <a:moveTo>
                  <a:pt x="0" y="0"/>
                </a:moveTo>
                <a:lnTo>
                  <a:pt x="6553548" y="0"/>
                </a:lnTo>
                <a:lnTo>
                  <a:pt x="6553548" y="6859309"/>
                </a:lnTo>
                <a:lnTo>
                  <a:pt x="0" y="685930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211612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28" name="Page"/>
          <p:cNvSpPr txBox="1"/>
          <p:nvPr userDrawn="1"/>
        </p:nvSpPr>
        <p:spPr>
          <a:xfrm>
            <a:off x="21966653" y="12810073"/>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lumMod val="50000"/>
                  </a:prstClr>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dirty="0">
              <a:ln>
                <a:noFill/>
              </a:ln>
              <a:solidFill>
                <a:prstClr val="white">
                  <a:lumMod val="50000"/>
                </a:prstClr>
              </a:solidFill>
              <a:effectLst/>
              <a:uLnTx/>
              <a:uFillTx/>
              <a:latin typeface="Garamond"/>
              <a:ea typeface="+mn-ea"/>
              <a:cs typeface="+mn-cs"/>
              <a:sym typeface="+mn-lt"/>
            </a:endParaRPr>
          </a:p>
        </p:txBody>
      </p:sp>
      <p:sp>
        <p:nvSpPr>
          <p:cNvPr id="29"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lumMod val="50000"/>
                  </a:prstClr>
                </a:solidFill>
                <a:effectLst/>
                <a:uLnTx/>
                <a:uFillTx/>
                <a:latin typeface="Garamond"/>
                <a:ea typeface="+mn-ea"/>
                <a:cs typeface="+mn-cs"/>
                <a:sym typeface="+mn-lt"/>
              </a:rPr>
              <a:t>Copyright © 2020 by Boston Consulting Group. All rights reserved.</a:t>
            </a:r>
          </a:p>
        </p:txBody>
      </p:sp>
      <p:sp>
        <p:nvSpPr>
          <p:cNvPr id="3" name="TextBox 2"/>
          <p:cNvSpPr txBox="1"/>
          <p:nvPr userDrawn="1"/>
        </p:nvSpPr>
        <p:spPr>
          <a:xfrm>
            <a:off x="1260001" y="5364000"/>
            <a:ext cx="6060712" cy="2995200"/>
          </a:xfrm>
          <a:prstGeom prst="rect">
            <a:avLst/>
          </a:prstGeom>
          <a:noFill/>
          <a:ln cap="rnd">
            <a:noFill/>
            <a:prstDash val="sysDot"/>
          </a:ln>
        </p:spPr>
        <p:txBody>
          <a:bodyPr wrap="square" lIns="0" tIns="0" rIns="0" bIns="0" rtlCol="0" anchor="ctr" anchorCtr="0">
            <a:no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4800" b="0" i="0" u="none" strike="noStrike" kern="1200" cap="none" spc="0" normalizeH="0" baseline="0" noProof="0" dirty="0">
                <a:ln>
                  <a:noFill/>
                </a:ln>
                <a:solidFill>
                  <a:prstClr val="white"/>
                </a:solidFill>
                <a:effectLst/>
                <a:uLnTx/>
                <a:uFillTx/>
                <a:latin typeface="Garamond"/>
                <a:ea typeface="+mn-ea"/>
                <a:cs typeface="+mn-cs"/>
                <a:sym typeface="+mn-lt"/>
              </a:rPr>
              <a:t>Agenda</a:t>
            </a:r>
          </a:p>
        </p:txBody>
      </p:sp>
    </p:spTree>
    <p:extLst>
      <p:ext uri="{BB962C8B-B14F-4D97-AF65-F5344CB8AC3E}">
        <p14:creationId xmlns:p14="http://schemas.microsoft.com/office/powerpoint/2010/main" val="10028006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4235" y="4235"/>
          <a:ext cx="4235" cy="4235"/>
        </p:xfrm>
        <a:graphic>
          <a:graphicData uri="http://schemas.openxmlformats.org/presentationml/2006/ole">
            <mc:AlternateContent xmlns:mc="http://schemas.openxmlformats.org/markup-compatibility/2006">
              <mc:Choice xmlns:v="urn:schemas-microsoft-com:vml" Requires="v">
                <p:oleObj spid="_x0000_s69668"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4235" y="4235"/>
                        <a:ext cx="4235" cy="4235"/>
                      </a:xfrm>
                      <a:prstGeom prst="rect">
                        <a:avLst/>
                      </a:prstGeom>
                    </p:spPr>
                  </p:pic>
                </p:oleObj>
              </mc:Fallback>
            </mc:AlternateContent>
          </a:graphicData>
        </a:graphic>
      </p:graphicFrame>
      <p:sp>
        <p:nvSpPr>
          <p:cNvPr id="64" name="ArrowPanelWhite"/>
          <p:cNvSpPr/>
          <p:nvPr userDrawn="1"/>
        </p:nvSpPr>
        <p:spPr bwMode="ltGray">
          <a:xfrm>
            <a:off x="3" y="4"/>
            <a:ext cx="8274133" cy="13718621"/>
          </a:xfrm>
          <a:custGeom>
            <a:avLst/>
            <a:gdLst>
              <a:gd name="connsiteX0" fmla="*/ 0 w 3258479"/>
              <a:gd name="connsiteY0" fmla="*/ 0 h 6859310"/>
              <a:gd name="connsiteX1" fmla="*/ 156629 w 3258479"/>
              <a:gd name="connsiteY1" fmla="*/ 0 h 6859310"/>
              <a:gd name="connsiteX2" fmla="*/ 156629 w 3258479"/>
              <a:gd name="connsiteY2" fmla="*/ 1310 h 6859310"/>
              <a:gd name="connsiteX3" fmla="*/ 2435100 w 3258479"/>
              <a:gd name="connsiteY3" fmla="*/ 1310 h 6859310"/>
              <a:gd name="connsiteX4" fmla="*/ 3258479 w 3258479"/>
              <a:gd name="connsiteY4" fmla="*/ 3430310 h 6859310"/>
              <a:gd name="connsiteX5" fmla="*/ 2435100 w 3258479"/>
              <a:gd name="connsiteY5" fmla="*/ 6859310 h 6859310"/>
              <a:gd name="connsiteX6" fmla="*/ 0 w 3258479"/>
              <a:gd name="connsiteY6" fmla="*/ 685931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58479" h="6859310">
                <a:moveTo>
                  <a:pt x="0" y="0"/>
                </a:moveTo>
                <a:lnTo>
                  <a:pt x="156629" y="0"/>
                </a:lnTo>
                <a:lnTo>
                  <a:pt x="156629" y="1310"/>
                </a:lnTo>
                <a:lnTo>
                  <a:pt x="2435100" y="1310"/>
                </a:lnTo>
                <a:lnTo>
                  <a:pt x="3258479" y="3430310"/>
                </a:lnTo>
                <a:lnTo>
                  <a:pt x="2435100" y="6859310"/>
                </a:lnTo>
                <a:lnTo>
                  <a:pt x="0" y="685931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2116120" rtl="0" eaLnBrk="1" fontAlgn="auto" latinLnBrk="0" hangingPunct="1">
              <a:lnSpc>
                <a:spcPct val="90000"/>
              </a:lnSpc>
              <a:spcBef>
                <a:spcPts val="0"/>
              </a:spcBef>
              <a:spcAft>
                <a:spcPts val="200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19" name="Page"/>
          <p:cNvSpPr txBox="1"/>
          <p:nvPr userDrawn="1"/>
        </p:nvSpPr>
        <p:spPr>
          <a:xfrm>
            <a:off x="21966653" y="12810073"/>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24"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aramond"/>
                <a:ea typeface="+mn-ea"/>
                <a:cs typeface="+mn-cs"/>
                <a:sym typeface="+mn-lt"/>
              </a:rPr>
              <a:t>Copyright © 2020 by Boston Consulting Group. All rights reserved.</a:t>
            </a:r>
          </a:p>
        </p:txBody>
      </p:sp>
      <p:sp>
        <p:nvSpPr>
          <p:cNvPr id="20" name="TextBox 19"/>
          <p:cNvSpPr txBox="1"/>
          <p:nvPr userDrawn="1"/>
        </p:nvSpPr>
        <p:spPr>
          <a:xfrm>
            <a:off x="1259999" y="5085215"/>
            <a:ext cx="5725000" cy="3545586"/>
          </a:xfrm>
          <a:prstGeom prst="rect">
            <a:avLst/>
          </a:prstGeom>
          <a:noFill/>
        </p:spPr>
        <p:txBody>
          <a:bodyPr wrap="square" lIns="0" tIns="0" rIns="0" bIns="0" rtlCol="0" anchor="ctr">
            <a:spAutoFit/>
          </a:bodyPr>
          <a:lstStyle/>
          <a:p>
            <a:pPr marL="0" marR="0" lvl="0" indent="0" algn="l" defTabSz="1828778" rtl="0" eaLnBrk="1" fontAlgn="auto" latinLnBrk="0" hangingPunct="1">
              <a:lnSpc>
                <a:spcPct val="90000"/>
              </a:lnSpc>
              <a:spcBef>
                <a:spcPct val="0"/>
              </a:spcBef>
              <a:spcAft>
                <a:spcPts val="1400"/>
              </a:spcAft>
              <a:buClrTx/>
              <a:buSzTx/>
              <a:buFontTx/>
              <a:buNone/>
              <a:tabLst/>
              <a:defRPr/>
            </a:pPr>
            <a:r>
              <a:rPr kumimoji="0" lang="en-US" sz="12800" b="0" i="0" u="none" strike="noStrike" kern="1200" cap="none" spc="0" normalizeH="0" baseline="0" noProof="0" dirty="0">
                <a:ln>
                  <a:noFill/>
                </a:ln>
                <a:solidFill>
                  <a:srgbClr val="002060"/>
                </a:solidFill>
                <a:effectLst/>
                <a:uLnTx/>
                <a:uFillTx/>
                <a:latin typeface="Garamond"/>
                <a:ea typeface="+mn-ea"/>
                <a:cs typeface="+mn-cs"/>
                <a:sym typeface="+mn-lt"/>
              </a:rPr>
              <a:t>Table of contents</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848111" y="7183992"/>
            <a:ext cx="3466728" cy="6765925"/>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42174 w 1365250"/>
              <a:gd name="connsiteY5" fmla="*/ 3265653 h 3382962"/>
              <a:gd name="connsiteX6" fmla="*/ 11501 w 1365250"/>
              <a:gd name="connsiteY6" fmla="*/ 3299343 h 3382962"/>
              <a:gd name="connsiteX7" fmla="*/ 113895 w 1365250"/>
              <a:gd name="connsiteY7" fmla="*/ 3306486 h 3382962"/>
              <a:gd name="connsiteX8" fmla="*/ 123928 w 1365250"/>
              <a:gd name="connsiteY8" fmla="*/ 3267469 h 3382962"/>
              <a:gd name="connsiteX9" fmla="*/ 129871 w 1365250"/>
              <a:gd name="connsiteY9" fmla="*/ 3267601 h 3382962"/>
              <a:gd name="connsiteX10" fmla="*/ 0 w 1365250"/>
              <a:gd name="connsiteY10" fmla="*/ 0 h 3382962"/>
              <a:gd name="connsiteX11" fmla="*/ 909386 w 1365250"/>
              <a:gd name="connsiteY11" fmla="*/ 0 h 3382962"/>
              <a:gd name="connsiteX12" fmla="*/ 0 w 1365250"/>
              <a:gd name="connsiteY12"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65250" h="3382962">
                <a:moveTo>
                  <a:pt x="919541" y="0"/>
                </a:moveTo>
                <a:lnTo>
                  <a:pt x="1365250" y="0"/>
                </a:lnTo>
                <a:lnTo>
                  <a:pt x="1365250" y="3382962"/>
                </a:lnTo>
                <a:lnTo>
                  <a:pt x="0" y="3382962"/>
                </a:lnTo>
                <a:lnTo>
                  <a:pt x="0" y="3264716"/>
                </a:lnTo>
                <a:lnTo>
                  <a:pt x="42174" y="3265653"/>
                </a:lnTo>
                <a:lnTo>
                  <a:pt x="11501" y="3299343"/>
                </a:lnTo>
                <a:lnTo>
                  <a:pt x="113895" y="3306486"/>
                </a:lnTo>
                <a:lnTo>
                  <a:pt x="123928" y="3267469"/>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67578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s slide layout">
    <p:spTree>
      <p:nvGrpSpPr>
        <p:cNvPr id="1" name=""/>
        <p:cNvGrpSpPr/>
        <p:nvPr/>
      </p:nvGrpSpPr>
      <p:grpSpPr>
        <a:xfrm>
          <a:off x="0" y="0"/>
          <a:ext cx="0" cy="0"/>
          <a:chOff x="0" y="0"/>
          <a:chExt cx="0" cy="0"/>
        </a:xfrm>
      </p:grpSpPr>
      <p:sp>
        <p:nvSpPr>
          <p:cNvPr id="2" name="Text Placeholder 9">
            <a:extLst>
              <a:ext uri="{FF2B5EF4-FFF2-40B4-BE49-F238E27FC236}">
                <a16:creationId xmlns:a16="http://schemas.microsoft.com/office/drawing/2014/main" id="{23DE32A5-6181-4C51-AD5C-3F1A448478A1}"/>
              </a:ext>
            </a:extLst>
          </p:cNvPr>
          <p:cNvSpPr>
            <a:spLocks noGrp="1"/>
          </p:cNvSpPr>
          <p:nvPr>
            <p:ph type="body" sz="quarter" idx="10" hasCustomPrompt="1"/>
          </p:nvPr>
        </p:nvSpPr>
        <p:spPr>
          <a:xfrm>
            <a:off x="647059" y="679019"/>
            <a:ext cx="23146394" cy="1448494"/>
          </a:xfrm>
          <a:prstGeom prst="rect">
            <a:avLst/>
          </a:prstGeom>
        </p:spPr>
        <p:txBody>
          <a:bodyPr anchor="ctr"/>
          <a:lstStyle>
            <a:lvl1pPr marL="0" indent="0" algn="ctr">
              <a:buNone/>
              <a:defRPr sz="10800" b="0" baseline="0">
                <a:solidFill>
                  <a:schemeClr val="tx1">
                    <a:lumMod val="85000"/>
                    <a:lumOff val="15000"/>
                  </a:schemeClr>
                </a:solidFill>
                <a:latin typeface="+mj-lt"/>
                <a:cs typeface="Arial" pitchFamily="34" charset="0"/>
              </a:defRPr>
            </a:lvl1pPr>
          </a:lstStyle>
          <a:p>
            <a:pPr lvl="0"/>
            <a:r>
              <a:rPr lang="en-US" altLang="ko-KR" dirty="0"/>
              <a:t>BASIC LAYOUT</a:t>
            </a:r>
          </a:p>
        </p:txBody>
      </p:sp>
    </p:spTree>
    <p:extLst>
      <p:ext uri="{BB962C8B-B14F-4D97-AF65-F5344CB8AC3E}">
        <p14:creationId xmlns:p14="http://schemas.microsoft.com/office/powerpoint/2010/main" val="299214721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 Placeholder 9">
            <a:extLst>
              <a:ext uri="{FF2B5EF4-FFF2-40B4-BE49-F238E27FC236}">
                <a16:creationId xmlns:a16="http://schemas.microsoft.com/office/drawing/2014/main" id="{23DE32A5-6181-4C51-AD5C-3F1A448478A1}"/>
              </a:ext>
            </a:extLst>
          </p:cNvPr>
          <p:cNvSpPr>
            <a:spLocks noGrp="1"/>
          </p:cNvSpPr>
          <p:nvPr>
            <p:ph type="body" sz="quarter" idx="10" hasCustomPrompt="1"/>
          </p:nvPr>
        </p:nvSpPr>
        <p:spPr>
          <a:xfrm>
            <a:off x="647059" y="679019"/>
            <a:ext cx="23146394" cy="1448494"/>
          </a:xfrm>
          <a:prstGeom prst="rect">
            <a:avLst/>
          </a:prstGeom>
        </p:spPr>
        <p:txBody>
          <a:bodyPr anchor="ctr"/>
          <a:lstStyle>
            <a:lvl1pPr marL="0" indent="0" algn="ctr">
              <a:buNone/>
              <a:defRPr sz="10800" b="0" baseline="0">
                <a:solidFill>
                  <a:schemeClr val="tx1">
                    <a:lumMod val="85000"/>
                    <a:lumOff val="15000"/>
                  </a:schemeClr>
                </a:solidFill>
                <a:latin typeface="+mj-lt"/>
                <a:cs typeface="Arial" pitchFamily="34" charset="0"/>
              </a:defRPr>
            </a:lvl1pPr>
          </a:lstStyle>
          <a:p>
            <a:pPr lvl="0"/>
            <a:r>
              <a:rPr lang="en-US" altLang="ko-KR" dirty="0"/>
              <a:t>BASIC LAYOUT</a:t>
            </a:r>
          </a:p>
        </p:txBody>
      </p:sp>
    </p:spTree>
    <p:extLst>
      <p:ext uri="{BB962C8B-B14F-4D97-AF65-F5344CB8AC3E}">
        <p14:creationId xmlns:p14="http://schemas.microsoft.com/office/powerpoint/2010/main" val="425066735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Contents slid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629756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_Agenda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022459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_Taam slide layout">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B51B05E9-D362-42FD-ABC1-C07BE8D38D60}"/>
              </a:ext>
            </a:extLst>
          </p:cNvPr>
          <p:cNvSpPr/>
          <p:nvPr userDrawn="1"/>
        </p:nvSpPr>
        <p:spPr>
          <a:xfrm>
            <a:off x="0" y="4097216"/>
            <a:ext cx="24384000" cy="8642724"/>
          </a:xfrm>
          <a:prstGeom prst="roundRect">
            <a:avLst>
              <a:gd name="adj" fmla="val 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endParaRPr lang="en-US" sz="3600" b="0" kern="1200" cap="none">
              <a:solidFill>
                <a:prstClr val="white"/>
              </a:solidFill>
              <a:effectLst/>
            </a:endParaRPr>
          </a:p>
        </p:txBody>
      </p:sp>
      <p:sp>
        <p:nvSpPr>
          <p:cNvPr id="5" name="그림 개체 틀 2">
            <a:extLst>
              <a:ext uri="{FF2B5EF4-FFF2-40B4-BE49-F238E27FC236}">
                <a16:creationId xmlns:a16="http://schemas.microsoft.com/office/drawing/2014/main" id="{80F2E445-163E-4B1F-A239-DC13814FFC44}"/>
              </a:ext>
            </a:extLst>
          </p:cNvPr>
          <p:cNvSpPr>
            <a:spLocks noGrp="1"/>
          </p:cNvSpPr>
          <p:nvPr>
            <p:ph type="pic" sz="quarter" idx="14" hasCustomPrompt="1"/>
          </p:nvPr>
        </p:nvSpPr>
        <p:spPr>
          <a:xfrm>
            <a:off x="15355539" y="2848707"/>
            <a:ext cx="7838566" cy="10322166"/>
          </a:xfrm>
          <a:prstGeom prst="rect">
            <a:avLst/>
          </a:prstGeom>
          <a:solidFill>
            <a:schemeClr val="bg1">
              <a:lumMod val="95000"/>
            </a:schemeClr>
          </a:solidFill>
        </p:spPr>
        <p:txBody>
          <a:bodyPr anchor="ctr"/>
          <a:lstStyle>
            <a:lvl1pPr marL="0" indent="0" algn="ctr">
              <a:buNone/>
              <a:defRPr sz="2400">
                <a:solidFill>
                  <a:schemeClr val="tx1">
                    <a:lumMod val="75000"/>
                    <a:lumOff val="25000"/>
                  </a:schemeClr>
                </a:solidFill>
              </a:defRPr>
            </a:lvl1pPr>
          </a:lstStyle>
          <a:p>
            <a:r>
              <a:rPr lang="en-US" altLang="ko-KR" dirty="0"/>
              <a:t>Place Your Picture Here</a:t>
            </a:r>
            <a:endParaRPr lang="ko-KR" altLang="en-US" dirty="0"/>
          </a:p>
        </p:txBody>
      </p:sp>
      <p:sp>
        <p:nvSpPr>
          <p:cNvPr id="3" name="Text Placeholder 9">
            <a:extLst>
              <a:ext uri="{FF2B5EF4-FFF2-40B4-BE49-F238E27FC236}">
                <a16:creationId xmlns:a16="http://schemas.microsoft.com/office/drawing/2014/main" id="{EF70765A-4598-4D75-8EBE-B820808F6559}"/>
              </a:ext>
            </a:extLst>
          </p:cNvPr>
          <p:cNvSpPr>
            <a:spLocks noGrp="1"/>
          </p:cNvSpPr>
          <p:nvPr>
            <p:ph type="body" sz="quarter" idx="10" hasCustomPrompt="1"/>
          </p:nvPr>
        </p:nvSpPr>
        <p:spPr>
          <a:xfrm>
            <a:off x="647059" y="679019"/>
            <a:ext cx="23146394" cy="1448494"/>
          </a:xfrm>
          <a:prstGeom prst="rect">
            <a:avLst/>
          </a:prstGeom>
        </p:spPr>
        <p:txBody>
          <a:bodyPr anchor="ctr"/>
          <a:lstStyle>
            <a:lvl1pPr marL="0" indent="0" algn="ctr">
              <a:buNone/>
              <a:defRPr sz="10800" b="0" baseline="0">
                <a:solidFill>
                  <a:schemeClr val="tx1">
                    <a:lumMod val="85000"/>
                    <a:lumOff val="15000"/>
                  </a:schemeClr>
                </a:solidFill>
                <a:latin typeface="+mj-lt"/>
                <a:cs typeface="Arial" pitchFamily="34" charset="0"/>
              </a:defRPr>
            </a:lvl1pPr>
          </a:lstStyle>
          <a:p>
            <a:pPr lvl="0"/>
            <a:r>
              <a:rPr lang="en-US" altLang="ko-KR" dirty="0"/>
              <a:t>Our Team LAYOUT</a:t>
            </a:r>
          </a:p>
        </p:txBody>
      </p:sp>
    </p:spTree>
    <p:extLst>
      <p:ext uri="{BB962C8B-B14F-4D97-AF65-F5344CB8AC3E}">
        <p14:creationId xmlns:p14="http://schemas.microsoft.com/office/powerpoint/2010/main" val="345975882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9_Images &amp; Contents">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7D72F70-BCFE-4792-BCD9-3A32009321C6}"/>
              </a:ext>
            </a:extLst>
          </p:cNvPr>
          <p:cNvSpPr>
            <a:spLocks noGrp="1"/>
          </p:cNvSpPr>
          <p:nvPr>
            <p:ph type="pic" sz="quarter" idx="10" hasCustomPrompt="1"/>
          </p:nvPr>
        </p:nvSpPr>
        <p:spPr>
          <a:xfrm>
            <a:off x="1791932" y="914400"/>
            <a:ext cx="10837932" cy="12801600"/>
          </a:xfrm>
          <a:custGeom>
            <a:avLst/>
            <a:gdLst>
              <a:gd name="connsiteX0" fmla="*/ 5076966 w 5418966"/>
              <a:gd name="connsiteY0" fmla="*/ 1878594 h 6400800"/>
              <a:gd name="connsiteX1" fmla="*/ 5418966 w 5418966"/>
              <a:gd name="connsiteY1" fmla="*/ 2220594 h 6400800"/>
              <a:gd name="connsiteX2" fmla="*/ 5418966 w 5418966"/>
              <a:gd name="connsiteY2" fmla="*/ 6400800 h 6400800"/>
              <a:gd name="connsiteX3" fmla="*/ 4734966 w 5418966"/>
              <a:gd name="connsiteY3" fmla="*/ 6400800 h 6400800"/>
              <a:gd name="connsiteX4" fmla="*/ 4734966 w 5418966"/>
              <a:gd name="connsiteY4" fmla="*/ 2220594 h 6400800"/>
              <a:gd name="connsiteX5" fmla="*/ 5076966 w 5418966"/>
              <a:gd name="connsiteY5" fmla="*/ 1878594 h 6400800"/>
              <a:gd name="connsiteX6" fmla="*/ 342000 w 5418966"/>
              <a:gd name="connsiteY6" fmla="*/ 1878594 h 6400800"/>
              <a:gd name="connsiteX7" fmla="*/ 684000 w 5418966"/>
              <a:gd name="connsiteY7" fmla="*/ 2220594 h 6400800"/>
              <a:gd name="connsiteX8" fmla="*/ 684000 w 5418966"/>
              <a:gd name="connsiteY8" fmla="*/ 6400800 h 6400800"/>
              <a:gd name="connsiteX9" fmla="*/ 0 w 5418966"/>
              <a:gd name="connsiteY9" fmla="*/ 6400800 h 6400800"/>
              <a:gd name="connsiteX10" fmla="*/ 0 w 5418966"/>
              <a:gd name="connsiteY10" fmla="*/ 2220594 h 6400800"/>
              <a:gd name="connsiteX11" fmla="*/ 342000 w 5418966"/>
              <a:gd name="connsiteY11" fmla="*/ 1878594 h 6400800"/>
              <a:gd name="connsiteX12" fmla="*/ 4287805 w 5418966"/>
              <a:gd name="connsiteY12" fmla="*/ 1252396 h 6400800"/>
              <a:gd name="connsiteX13" fmla="*/ 4629805 w 5418966"/>
              <a:gd name="connsiteY13" fmla="*/ 1594396 h 6400800"/>
              <a:gd name="connsiteX14" fmla="*/ 4629805 w 5418966"/>
              <a:gd name="connsiteY14" fmla="*/ 6400800 h 6400800"/>
              <a:gd name="connsiteX15" fmla="*/ 3945805 w 5418966"/>
              <a:gd name="connsiteY15" fmla="*/ 6400800 h 6400800"/>
              <a:gd name="connsiteX16" fmla="*/ 3945805 w 5418966"/>
              <a:gd name="connsiteY16" fmla="*/ 1594396 h 6400800"/>
              <a:gd name="connsiteX17" fmla="*/ 4287805 w 5418966"/>
              <a:gd name="connsiteY17" fmla="*/ 1252396 h 6400800"/>
              <a:gd name="connsiteX18" fmla="*/ 1131160 w 5418966"/>
              <a:gd name="connsiteY18" fmla="*/ 1252396 h 6400800"/>
              <a:gd name="connsiteX19" fmla="*/ 1473161 w 5418966"/>
              <a:gd name="connsiteY19" fmla="*/ 1594396 h 6400800"/>
              <a:gd name="connsiteX20" fmla="*/ 1473161 w 5418966"/>
              <a:gd name="connsiteY20" fmla="*/ 6400800 h 6400800"/>
              <a:gd name="connsiteX21" fmla="*/ 789161 w 5418966"/>
              <a:gd name="connsiteY21" fmla="*/ 6400800 h 6400800"/>
              <a:gd name="connsiteX22" fmla="*/ 789161 w 5418966"/>
              <a:gd name="connsiteY22" fmla="*/ 1594396 h 6400800"/>
              <a:gd name="connsiteX23" fmla="*/ 1131160 w 5418966"/>
              <a:gd name="connsiteY23" fmla="*/ 1252396 h 6400800"/>
              <a:gd name="connsiteX24" fmla="*/ 3498644 w 5418966"/>
              <a:gd name="connsiteY24" fmla="*/ 626198 h 6400800"/>
              <a:gd name="connsiteX25" fmla="*/ 3840644 w 5418966"/>
              <a:gd name="connsiteY25" fmla="*/ 968198 h 6400800"/>
              <a:gd name="connsiteX26" fmla="*/ 3840644 w 5418966"/>
              <a:gd name="connsiteY26" fmla="*/ 6400800 h 6400800"/>
              <a:gd name="connsiteX27" fmla="*/ 3156644 w 5418966"/>
              <a:gd name="connsiteY27" fmla="*/ 6400800 h 6400800"/>
              <a:gd name="connsiteX28" fmla="*/ 3156644 w 5418966"/>
              <a:gd name="connsiteY28" fmla="*/ 968198 h 6400800"/>
              <a:gd name="connsiteX29" fmla="*/ 3498644 w 5418966"/>
              <a:gd name="connsiteY29" fmla="*/ 626198 h 6400800"/>
              <a:gd name="connsiteX30" fmla="*/ 1920322 w 5418966"/>
              <a:gd name="connsiteY30" fmla="*/ 626198 h 6400800"/>
              <a:gd name="connsiteX31" fmla="*/ 2262322 w 5418966"/>
              <a:gd name="connsiteY31" fmla="*/ 968198 h 6400800"/>
              <a:gd name="connsiteX32" fmla="*/ 2262322 w 5418966"/>
              <a:gd name="connsiteY32" fmla="*/ 6400800 h 6400800"/>
              <a:gd name="connsiteX33" fmla="*/ 1578322 w 5418966"/>
              <a:gd name="connsiteY33" fmla="*/ 6400800 h 6400800"/>
              <a:gd name="connsiteX34" fmla="*/ 1578322 w 5418966"/>
              <a:gd name="connsiteY34" fmla="*/ 968198 h 6400800"/>
              <a:gd name="connsiteX35" fmla="*/ 1920322 w 5418966"/>
              <a:gd name="connsiteY35" fmla="*/ 626198 h 6400800"/>
              <a:gd name="connsiteX36" fmla="*/ 2709483 w 5418966"/>
              <a:gd name="connsiteY36" fmla="*/ 0 h 6400800"/>
              <a:gd name="connsiteX37" fmla="*/ 3051483 w 5418966"/>
              <a:gd name="connsiteY37" fmla="*/ 342000 h 6400800"/>
              <a:gd name="connsiteX38" fmla="*/ 3051483 w 5418966"/>
              <a:gd name="connsiteY38" fmla="*/ 6375964 h 6400800"/>
              <a:gd name="connsiteX39" fmla="*/ 3048979 w 5418966"/>
              <a:gd name="connsiteY39" fmla="*/ 6400800 h 6400800"/>
              <a:gd name="connsiteX40" fmla="*/ 2369987 w 5418966"/>
              <a:gd name="connsiteY40" fmla="*/ 6400800 h 6400800"/>
              <a:gd name="connsiteX41" fmla="*/ 2367483 w 5418966"/>
              <a:gd name="connsiteY41" fmla="*/ 6375964 h 6400800"/>
              <a:gd name="connsiteX42" fmla="*/ 2367483 w 5418966"/>
              <a:gd name="connsiteY42" fmla="*/ 342000 h 6400800"/>
              <a:gd name="connsiteX43" fmla="*/ 2709483 w 5418966"/>
              <a:gd name="connsiteY43" fmla="*/ 0 h 640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418966" h="6400800">
                <a:moveTo>
                  <a:pt x="5076966" y="1878594"/>
                </a:moveTo>
                <a:cubicBezTo>
                  <a:pt x="5265847" y="1878594"/>
                  <a:pt x="5418966" y="2031713"/>
                  <a:pt x="5418966" y="2220594"/>
                </a:cubicBezTo>
                <a:lnTo>
                  <a:pt x="5418966" y="6400800"/>
                </a:lnTo>
                <a:lnTo>
                  <a:pt x="4734966" y="6400800"/>
                </a:lnTo>
                <a:lnTo>
                  <a:pt x="4734966" y="2220594"/>
                </a:lnTo>
                <a:cubicBezTo>
                  <a:pt x="4734966" y="2031713"/>
                  <a:pt x="4888085" y="1878594"/>
                  <a:pt x="5076966" y="1878594"/>
                </a:cubicBezTo>
                <a:close/>
                <a:moveTo>
                  <a:pt x="342000" y="1878594"/>
                </a:moveTo>
                <a:cubicBezTo>
                  <a:pt x="530881" y="1878594"/>
                  <a:pt x="684000" y="2031713"/>
                  <a:pt x="684000" y="2220594"/>
                </a:cubicBezTo>
                <a:lnTo>
                  <a:pt x="684000" y="6400800"/>
                </a:lnTo>
                <a:lnTo>
                  <a:pt x="0" y="6400800"/>
                </a:lnTo>
                <a:lnTo>
                  <a:pt x="0" y="2220594"/>
                </a:lnTo>
                <a:cubicBezTo>
                  <a:pt x="0" y="2031713"/>
                  <a:pt x="153119" y="1878594"/>
                  <a:pt x="342000" y="1878594"/>
                </a:cubicBezTo>
                <a:close/>
                <a:moveTo>
                  <a:pt x="4287805" y="1252396"/>
                </a:moveTo>
                <a:cubicBezTo>
                  <a:pt x="4476686" y="1252396"/>
                  <a:pt x="4629805" y="1405515"/>
                  <a:pt x="4629805" y="1594396"/>
                </a:cubicBezTo>
                <a:lnTo>
                  <a:pt x="4629805" y="6400800"/>
                </a:lnTo>
                <a:lnTo>
                  <a:pt x="3945805" y="6400800"/>
                </a:lnTo>
                <a:lnTo>
                  <a:pt x="3945805" y="1594396"/>
                </a:lnTo>
                <a:cubicBezTo>
                  <a:pt x="3945805" y="1405515"/>
                  <a:pt x="4098924" y="1252396"/>
                  <a:pt x="4287805" y="1252396"/>
                </a:cubicBezTo>
                <a:close/>
                <a:moveTo>
                  <a:pt x="1131160" y="1252396"/>
                </a:moveTo>
                <a:cubicBezTo>
                  <a:pt x="1320042" y="1252396"/>
                  <a:pt x="1473161" y="1405515"/>
                  <a:pt x="1473161" y="1594396"/>
                </a:cubicBezTo>
                <a:lnTo>
                  <a:pt x="1473161" y="6400800"/>
                </a:lnTo>
                <a:lnTo>
                  <a:pt x="789161" y="6400800"/>
                </a:lnTo>
                <a:lnTo>
                  <a:pt x="789161" y="1594396"/>
                </a:lnTo>
                <a:cubicBezTo>
                  <a:pt x="789161" y="1405515"/>
                  <a:pt x="942280" y="1252396"/>
                  <a:pt x="1131160" y="1252396"/>
                </a:cubicBezTo>
                <a:close/>
                <a:moveTo>
                  <a:pt x="3498644" y="626198"/>
                </a:moveTo>
                <a:cubicBezTo>
                  <a:pt x="3687525" y="626198"/>
                  <a:pt x="3840644" y="779317"/>
                  <a:pt x="3840644" y="968198"/>
                </a:cubicBezTo>
                <a:lnTo>
                  <a:pt x="3840644" y="6400800"/>
                </a:lnTo>
                <a:lnTo>
                  <a:pt x="3156644" y="6400800"/>
                </a:lnTo>
                <a:lnTo>
                  <a:pt x="3156644" y="968198"/>
                </a:lnTo>
                <a:cubicBezTo>
                  <a:pt x="3156644" y="779317"/>
                  <a:pt x="3309763" y="626198"/>
                  <a:pt x="3498644" y="626198"/>
                </a:cubicBezTo>
                <a:close/>
                <a:moveTo>
                  <a:pt x="1920322" y="626198"/>
                </a:moveTo>
                <a:cubicBezTo>
                  <a:pt x="2109203" y="626198"/>
                  <a:pt x="2262322" y="779317"/>
                  <a:pt x="2262322" y="968198"/>
                </a:cubicBezTo>
                <a:lnTo>
                  <a:pt x="2262322" y="6400800"/>
                </a:lnTo>
                <a:lnTo>
                  <a:pt x="1578322" y="6400800"/>
                </a:lnTo>
                <a:lnTo>
                  <a:pt x="1578322" y="968198"/>
                </a:lnTo>
                <a:cubicBezTo>
                  <a:pt x="1578322" y="779317"/>
                  <a:pt x="1731441" y="626198"/>
                  <a:pt x="1920322" y="626198"/>
                </a:cubicBezTo>
                <a:close/>
                <a:moveTo>
                  <a:pt x="2709483" y="0"/>
                </a:moveTo>
                <a:cubicBezTo>
                  <a:pt x="2898364" y="0"/>
                  <a:pt x="3051483" y="153119"/>
                  <a:pt x="3051483" y="342000"/>
                </a:cubicBezTo>
                <a:lnTo>
                  <a:pt x="3051483" y="6375964"/>
                </a:lnTo>
                <a:lnTo>
                  <a:pt x="3048979" y="6400800"/>
                </a:lnTo>
                <a:lnTo>
                  <a:pt x="2369987" y="6400800"/>
                </a:lnTo>
                <a:lnTo>
                  <a:pt x="2367483" y="6375964"/>
                </a:lnTo>
                <a:lnTo>
                  <a:pt x="2367483" y="342000"/>
                </a:lnTo>
                <a:cubicBezTo>
                  <a:pt x="2367483" y="153119"/>
                  <a:pt x="2520602" y="0"/>
                  <a:pt x="2709483" y="0"/>
                </a:cubicBezTo>
                <a:close/>
              </a:path>
            </a:pathLst>
          </a:custGeom>
          <a:solidFill>
            <a:schemeClr val="bg1">
              <a:lumMod val="95000"/>
            </a:schemeClr>
          </a:solidFill>
          <a:ln w="25400">
            <a:noFill/>
          </a:ln>
          <a:effectLst/>
        </p:spPr>
        <p:txBody>
          <a:bodyPr wrap="square" anchor="ctr">
            <a:noAutofit/>
          </a:bodyPr>
          <a:lstStyle>
            <a:lvl1pPr marL="0" indent="0" algn="ctr">
              <a:buFontTx/>
              <a:buNone/>
              <a:defRPr sz="2400">
                <a:solidFill>
                  <a:schemeClr val="tx1">
                    <a:lumMod val="75000"/>
                    <a:lumOff val="25000"/>
                  </a:schemeClr>
                </a:solidFill>
              </a:defRPr>
            </a:lvl1pPr>
          </a:lstStyle>
          <a:p>
            <a:r>
              <a:rPr lang="en-US" altLang="ko-KR" dirty="0"/>
              <a:t>Place Your Picture Here And Send To Back</a:t>
            </a:r>
            <a:endParaRPr lang="ko-KR" altLang="en-US" dirty="0"/>
          </a:p>
        </p:txBody>
      </p:sp>
    </p:spTree>
    <p:extLst>
      <p:ext uri="{BB962C8B-B14F-4D97-AF65-F5344CB8AC3E}">
        <p14:creationId xmlns:p14="http://schemas.microsoft.com/office/powerpoint/2010/main" val="307765254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6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49243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4032" y="3177"/>
          <a:ext cx="4032" cy="3176"/>
        </p:xfrm>
        <a:graphic>
          <a:graphicData uri="http://schemas.openxmlformats.org/presentationml/2006/ole">
            <mc:AlternateContent xmlns:mc="http://schemas.openxmlformats.org/markup-compatibility/2006">
              <mc:Choice xmlns:v="urn:schemas-microsoft-com:vml" Requires="v">
                <p:oleObj spid="_x0000_s4132" name="think-cell Slide" r:id="rId5" imgW="286" imgH="286" progId="TCLayout.ActiveDocument.1">
                  <p:embed/>
                </p:oleObj>
              </mc:Choice>
              <mc:Fallback>
                <p:oleObj name="think-cell Slide" r:id="rId5" imgW="286" imgH="286" progId="TCLayout.ActiveDocument.1">
                  <p:embed/>
                  <p:pic>
                    <p:nvPicPr>
                      <p:cNvPr id="5" name="Object 4" hidden="1"/>
                      <p:cNvPicPr/>
                      <p:nvPr/>
                    </p:nvPicPr>
                    <p:blipFill>
                      <a:blip r:embed="rId6"/>
                      <a:stretch>
                        <a:fillRect/>
                      </a:stretch>
                    </p:blipFill>
                    <p:spPr>
                      <a:xfrm>
                        <a:off x="4032" y="3177"/>
                        <a:ext cx="4032" cy="3176"/>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6933"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sp>
        <p:nvSpPr>
          <p:cNvPr id="2" name="Title 1">
            <a:extLst>
              <a:ext uri="{FF2B5EF4-FFF2-40B4-BE49-F238E27FC236}">
                <a16:creationId xmlns:a16="http://schemas.microsoft.com/office/drawing/2014/main" id="{0A02E88D-D2FD-4F31-8DFF-89ACDD9453FC}"/>
              </a:ext>
            </a:extLst>
          </p:cNvPr>
          <p:cNvSpPr>
            <a:spLocks noGrp="1"/>
          </p:cNvSpPr>
          <p:nvPr>
            <p:ph type="title" hasCustomPrompt="1"/>
          </p:nvPr>
        </p:nvSpPr>
        <p:spPr>
          <a:xfrm>
            <a:off x="1260000" y="1245601"/>
            <a:ext cx="21866400" cy="960264"/>
          </a:xfrm>
        </p:spPr>
        <p:txBody>
          <a:bodyPr/>
          <a:lstStyle>
            <a:lvl1pPr>
              <a:defRPr sz="6933">
                <a:latin typeface="+mj-lt"/>
                <a:ea typeface="+mj-ea"/>
                <a:cs typeface="+mj-cs"/>
                <a:sym typeface="+mj-lt"/>
              </a:defRPr>
            </a:lvl1pPr>
          </a:lstStyle>
          <a:p>
            <a:r>
              <a:rPr lang="en-US" dirty="0"/>
              <a:t>Click to add title</a:t>
            </a:r>
          </a:p>
        </p:txBody>
      </p:sp>
      <p:sp>
        <p:nvSpPr>
          <p:cNvPr id="6" name="Text Placeholder 5">
            <a:extLst>
              <a:ext uri="{FF2B5EF4-FFF2-40B4-BE49-F238E27FC236}">
                <a16:creationId xmlns:a16="http://schemas.microsoft.com/office/drawing/2014/main" id="{8DCB2723-013B-4180-9841-DE3236CC6F6E}"/>
              </a:ext>
            </a:extLst>
          </p:cNvPr>
          <p:cNvSpPr>
            <a:spLocks noGrp="1"/>
          </p:cNvSpPr>
          <p:nvPr>
            <p:ph type="body" sz="quarter" idx="11"/>
          </p:nvPr>
        </p:nvSpPr>
        <p:spPr>
          <a:xfrm>
            <a:off x="1260000" y="4171263"/>
            <a:ext cx="21866400" cy="8161864"/>
          </a:xfrm>
        </p:spPr>
        <p:txBody>
          <a:bodyPr/>
          <a:lstStyle>
            <a:lvl1pPr>
              <a:lnSpc>
                <a:spcPct val="100000"/>
              </a:lnSpc>
              <a:spcBef>
                <a:spcPts val="0"/>
              </a:spcBef>
              <a:spcAft>
                <a:spcPts val="0"/>
              </a:spcAft>
              <a:defRPr sz="4000">
                <a:latin typeface="+mn-lt"/>
                <a:ea typeface="+mn-ea"/>
                <a:cs typeface="+mn-cs"/>
                <a:sym typeface="+mn-lt"/>
              </a:defRPr>
            </a:lvl1pPr>
            <a:lvl2pPr>
              <a:lnSpc>
                <a:spcPct val="100000"/>
              </a:lnSpc>
              <a:spcBef>
                <a:spcPts val="0"/>
              </a:spcBef>
              <a:spcAft>
                <a:spcPts val="0"/>
              </a:spcAft>
              <a:defRPr sz="4000">
                <a:latin typeface="+mn-lt"/>
                <a:ea typeface="+mn-ea"/>
                <a:cs typeface="+mn-cs"/>
                <a:sym typeface="+mn-lt"/>
              </a:defRPr>
            </a:lvl2pPr>
            <a:lvl3pPr>
              <a:lnSpc>
                <a:spcPct val="100000"/>
              </a:lnSpc>
              <a:spcBef>
                <a:spcPts val="0"/>
              </a:spcBef>
              <a:spcAft>
                <a:spcPts val="0"/>
              </a:spcAft>
              <a:defRPr sz="4000">
                <a:latin typeface="+mn-lt"/>
                <a:ea typeface="+mn-ea"/>
                <a:cs typeface="+mn-cs"/>
                <a:sym typeface="+mn-lt"/>
              </a:defRPr>
            </a:lvl3pPr>
            <a:lvl4pPr>
              <a:lnSpc>
                <a:spcPct val="100000"/>
              </a:lnSpc>
              <a:spcBef>
                <a:spcPts val="0"/>
              </a:spcBef>
              <a:spcAft>
                <a:spcPts val="0"/>
              </a:spcAft>
              <a:defRPr sz="5600">
                <a:latin typeface="+mn-lt"/>
                <a:ea typeface="+mn-ea"/>
                <a:cs typeface="+mn-cs"/>
                <a:sym typeface="+mn-lt"/>
              </a:defRPr>
            </a:lvl4pPr>
            <a:lvl5pPr>
              <a:lnSpc>
                <a:spcPct val="100000"/>
              </a:lnSpc>
              <a:spcBef>
                <a:spcPts val="0"/>
              </a:spcBef>
              <a:spcAft>
                <a:spcPts val="0"/>
              </a:spcAft>
              <a:defRPr sz="5600">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lumMod val="50000"/>
                  </a:prstClr>
                </a:solidFill>
                <a:effectLst/>
                <a:uLnTx/>
                <a:uFillTx/>
                <a:latin typeface="Garamond"/>
                <a:ea typeface="+mn-ea"/>
                <a:cs typeface="+mn-cs"/>
                <a:sym typeface="+mn-lt"/>
              </a:rPr>
              <a:t>Copyright © 2020 by Boston Consulting Group. All rights reserved.</a:t>
            </a:r>
          </a:p>
        </p:txBody>
      </p:sp>
    </p:spTree>
    <p:extLst>
      <p:ext uri="{BB962C8B-B14F-4D97-AF65-F5344CB8AC3E}">
        <p14:creationId xmlns:p14="http://schemas.microsoft.com/office/powerpoint/2010/main" val="9173093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IMAGE AND CONTENTS LAYOUT_02">
    <p:bg>
      <p:bgPr>
        <a:solidFill>
          <a:schemeClr val="bg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33ECA86A-FC9F-4E61-9EA8-FE230C0FAB4C}"/>
              </a:ext>
            </a:extLst>
          </p:cNvPr>
          <p:cNvGrpSpPr/>
          <p:nvPr userDrawn="1"/>
        </p:nvGrpSpPr>
        <p:grpSpPr>
          <a:xfrm>
            <a:off x="1545057" y="4098522"/>
            <a:ext cx="4498698" cy="7908476"/>
            <a:chOff x="4871870" y="1763729"/>
            <a:chExt cx="2448272" cy="4303935"/>
          </a:xfrm>
        </p:grpSpPr>
        <p:grpSp>
          <p:nvGrpSpPr>
            <p:cNvPr id="10" name="Group 3">
              <a:extLst>
                <a:ext uri="{FF2B5EF4-FFF2-40B4-BE49-F238E27FC236}">
                  <a16:creationId xmlns:a16="http://schemas.microsoft.com/office/drawing/2014/main" id="{9876EB56-A1B1-4DF8-8A61-8D408E9A0E20}"/>
                </a:ext>
              </a:extLst>
            </p:cNvPr>
            <p:cNvGrpSpPr/>
            <p:nvPr/>
          </p:nvGrpSpPr>
          <p:grpSpPr>
            <a:xfrm>
              <a:off x="4871870" y="1763729"/>
              <a:ext cx="2448272" cy="4303935"/>
              <a:chOff x="445712" y="1449040"/>
              <a:chExt cx="2113018" cy="3924176"/>
            </a:xfrm>
          </p:grpSpPr>
          <p:sp>
            <p:nvSpPr>
              <p:cNvPr id="13" name="Rounded Rectangle 4">
                <a:extLst>
                  <a:ext uri="{FF2B5EF4-FFF2-40B4-BE49-F238E27FC236}">
                    <a16:creationId xmlns:a16="http://schemas.microsoft.com/office/drawing/2014/main" id="{78F341D1-020F-4E20-92B3-80DC38E132E6}"/>
                  </a:ext>
                </a:extLst>
              </p:cNvPr>
              <p:cNvSpPr/>
              <p:nvPr userDrawn="1"/>
            </p:nvSpPr>
            <p:spPr>
              <a:xfrm>
                <a:off x="445712" y="1449040"/>
                <a:ext cx="2113018" cy="3924176"/>
              </a:xfrm>
              <a:prstGeom prst="roundRect">
                <a:avLst>
                  <a:gd name="adj" fmla="val 13580"/>
                </a:avLst>
              </a:prstGeom>
              <a:solidFill>
                <a:srgbClr val="262626"/>
              </a:solidFill>
              <a:ln w="88900">
                <a:noFill/>
              </a:ln>
              <a:effectLst/>
              <a:scene3d>
                <a:camera prst="perspectiveFront"/>
                <a:lightRig rig="threePt" dir="t"/>
              </a:scene3d>
              <a:sp3d prstMaterial="plastic">
                <a:bevelT w="127000" h="50800"/>
                <a:bevelB w="127000" h="2540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endParaRPr lang="ko-KR" altLang="en-US" sz="3600" b="0" kern="1200" cap="none" dirty="0">
                  <a:solidFill>
                    <a:prstClr val="white"/>
                  </a:solidFill>
                  <a:effectLst/>
                </a:endParaRPr>
              </a:p>
            </p:txBody>
          </p:sp>
          <p:sp>
            <p:nvSpPr>
              <p:cNvPr id="14" name="Rectangle 5">
                <a:extLst>
                  <a:ext uri="{FF2B5EF4-FFF2-40B4-BE49-F238E27FC236}">
                    <a16:creationId xmlns:a16="http://schemas.microsoft.com/office/drawing/2014/main" id="{A45F5B76-70A0-4D13-974F-55A0B8CEAAF0}"/>
                  </a:ext>
                </a:extLst>
              </p:cNvPr>
              <p:cNvSpPr/>
              <p:nvPr userDrawn="1"/>
            </p:nvSpPr>
            <p:spPr>
              <a:xfrm>
                <a:off x="1379920" y="1650572"/>
                <a:ext cx="216024" cy="34350"/>
              </a:xfrm>
              <a:prstGeom prst="rect">
                <a:avLst/>
              </a:prstGeom>
              <a:solidFill>
                <a:srgbClr val="B0B0B0"/>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endParaRPr lang="ko-KR" altLang="en-US" sz="3600" b="0" kern="1200" cap="none">
                  <a:solidFill>
                    <a:prstClr val="white"/>
                  </a:solidFill>
                  <a:effectLst/>
                </a:endParaRPr>
              </a:p>
            </p:txBody>
          </p:sp>
          <p:grpSp>
            <p:nvGrpSpPr>
              <p:cNvPr id="15" name="Group 6">
                <a:extLst>
                  <a:ext uri="{FF2B5EF4-FFF2-40B4-BE49-F238E27FC236}">
                    <a16:creationId xmlns:a16="http://schemas.microsoft.com/office/drawing/2014/main" id="{F2BB5F39-22D0-49A9-A20D-7260A0E01F57}"/>
                  </a:ext>
                </a:extLst>
              </p:cNvPr>
              <p:cNvGrpSpPr/>
              <p:nvPr userDrawn="1"/>
            </p:nvGrpSpPr>
            <p:grpSpPr>
              <a:xfrm>
                <a:off x="1407705" y="5045834"/>
                <a:ext cx="211967" cy="211967"/>
                <a:chOff x="1549420" y="5712364"/>
                <a:chExt cx="312583" cy="312583"/>
              </a:xfrm>
            </p:grpSpPr>
            <p:sp>
              <p:nvSpPr>
                <p:cNvPr id="16" name="Oval 7">
                  <a:extLst>
                    <a:ext uri="{FF2B5EF4-FFF2-40B4-BE49-F238E27FC236}">
                      <a16:creationId xmlns:a16="http://schemas.microsoft.com/office/drawing/2014/main" id="{6E2D17FC-9F5E-46D7-A15E-5A055F772283}"/>
                    </a:ext>
                  </a:extLst>
                </p:cNvPr>
                <p:cNvSpPr/>
                <p:nvPr userDrawn="1"/>
              </p:nvSpPr>
              <p:spPr>
                <a:xfrm>
                  <a:off x="1549420" y="5712364"/>
                  <a:ext cx="312583" cy="312583"/>
                </a:xfrm>
                <a:prstGeom prst="ellipse">
                  <a:avLst/>
                </a:prstGeom>
                <a:gradFill flip="none" rotWithShape="1">
                  <a:gsLst>
                    <a:gs pos="0">
                      <a:schemeClr val="tx1">
                        <a:lumMod val="94000"/>
                        <a:lumOff val="6000"/>
                      </a:schemeClr>
                    </a:gs>
                    <a:gs pos="56000">
                      <a:schemeClr val="tx1">
                        <a:lumMod val="65000"/>
                        <a:lumOff val="35000"/>
                      </a:schemeClr>
                    </a:gs>
                    <a:gs pos="91000">
                      <a:schemeClr val="tx1">
                        <a:lumMod val="50000"/>
                        <a:lumOff val="50000"/>
                      </a:schemeClr>
                    </a:gs>
                    <a:gs pos="100000">
                      <a:schemeClr val="bg1">
                        <a:lumMod val="75000"/>
                      </a:schemeClr>
                    </a:gs>
                  </a:gsLst>
                  <a:lin ang="10800000" scaled="1"/>
                  <a:tileRect/>
                </a:gradFill>
                <a:ln w="0">
                  <a:solidFill>
                    <a:srgbClr val="262626"/>
                  </a:solidFill>
                </a:ln>
                <a:scene3d>
                  <a:camera prst="perspectiveFront"/>
                  <a:lightRig rig="threePt" dir="t"/>
                </a:scene3d>
                <a:sp3d>
                  <a:bevelT w="63500" h="12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endParaRPr lang="ko-KR" altLang="en-US" sz="3600" b="0" kern="1200" cap="none">
                    <a:solidFill>
                      <a:prstClr val="white"/>
                    </a:solidFill>
                    <a:effectLst/>
                  </a:endParaRPr>
                </a:p>
              </p:txBody>
            </p:sp>
            <p:sp>
              <p:nvSpPr>
                <p:cNvPr id="17" name="Rounded Rectangle 8">
                  <a:extLst>
                    <a:ext uri="{FF2B5EF4-FFF2-40B4-BE49-F238E27FC236}">
                      <a16:creationId xmlns:a16="http://schemas.microsoft.com/office/drawing/2014/main" id="{A2BA0603-DCFC-482D-9253-843BBCEF7B34}"/>
                    </a:ext>
                  </a:extLst>
                </p:cNvPr>
                <p:cNvSpPr/>
                <p:nvPr userDrawn="1"/>
              </p:nvSpPr>
              <p:spPr>
                <a:xfrm>
                  <a:off x="1634225" y="5796647"/>
                  <a:ext cx="142969" cy="144016"/>
                </a:xfrm>
                <a:prstGeom prst="roundRect">
                  <a:avLst/>
                </a:prstGeom>
                <a:solidFill>
                  <a:srgbClr val="737373"/>
                </a:solidFill>
                <a:ln w="6350">
                  <a:solidFill>
                    <a:srgbClr val="B0B0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endParaRPr lang="ko-KR" altLang="en-US" sz="3600" b="0" kern="1200" cap="none">
                    <a:solidFill>
                      <a:prstClr val="white"/>
                    </a:solidFill>
                    <a:effectLst/>
                  </a:endParaRPr>
                </a:p>
              </p:txBody>
            </p:sp>
          </p:grpSp>
        </p:grpSp>
        <p:sp>
          <p:nvSpPr>
            <p:cNvPr id="12" name="Picture Placeholder 2">
              <a:extLst>
                <a:ext uri="{FF2B5EF4-FFF2-40B4-BE49-F238E27FC236}">
                  <a16:creationId xmlns:a16="http://schemas.microsoft.com/office/drawing/2014/main" id="{D1042817-F212-4E06-9536-AA3D19C6889E}"/>
                </a:ext>
              </a:extLst>
            </p:cNvPr>
            <p:cNvSpPr txBox="1">
              <a:spLocks/>
            </p:cNvSpPr>
            <p:nvPr/>
          </p:nvSpPr>
          <p:spPr>
            <a:xfrm>
              <a:off x="5051890" y="2223507"/>
              <a:ext cx="2088232" cy="3384376"/>
            </a:xfrm>
            <a:prstGeom prst="rect">
              <a:avLst/>
            </a:prstGeom>
            <a:solidFill>
              <a:schemeClr val="bg1">
                <a:lumMod val="95000"/>
              </a:schemeClr>
            </a:solidFill>
          </p:spPr>
          <p:txBody>
            <a:bodyPr anchor="ctr"/>
            <a:lstStyle>
              <a:lvl1pPr marL="0" indent="0" algn="ctr" defTabSz="914400" rtl="0" eaLnBrk="1" latinLnBrk="0" hangingPunct="1">
                <a:lnSpc>
                  <a:spcPct val="90000"/>
                </a:lnSpc>
                <a:spcBef>
                  <a:spcPts val="1000"/>
                </a:spcBef>
                <a:buFont typeface="Arial" panose="020B0604020202020204" pitchFamily="34" charset="0"/>
                <a:buNone/>
                <a:defRPr sz="1200" kern="1200">
                  <a:solidFill>
                    <a:schemeClr val="tx1">
                      <a:lumMod val="75000"/>
                      <a:lumOff val="25000"/>
                    </a:schemeClr>
                  </a:solidFill>
                  <a:latin typeface="+mn-lt"/>
                  <a:ea typeface="+mn-ea"/>
                  <a:cs typeface="Arial" pitchFamily="34" charset="0"/>
                </a:defRPr>
              </a:lvl1pPr>
              <a:lvl2pPr marL="457223" indent="0" algn="l" defTabSz="914400" rtl="0" eaLnBrk="1" latinLnBrk="0" hangingPunct="1">
                <a:lnSpc>
                  <a:spcPct val="90000"/>
                </a:lnSpc>
                <a:spcBef>
                  <a:spcPts val="500"/>
                </a:spcBef>
                <a:buFont typeface="Arial" panose="020B0604020202020204" pitchFamily="34" charset="0"/>
                <a:buNone/>
                <a:defRPr sz="2800" kern="1200">
                  <a:solidFill>
                    <a:schemeClr val="tx1"/>
                  </a:solidFill>
                  <a:latin typeface="+mn-lt"/>
                  <a:ea typeface="+mn-ea"/>
                  <a:cs typeface="+mn-cs"/>
                </a:defRPr>
              </a:lvl2pPr>
              <a:lvl3pPr marL="914446"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3pPr>
              <a:lvl4pPr marL="1371669"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4pPr>
              <a:lvl5pPr marL="1828891"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5pPr>
              <a:lvl6pPr marL="2286114"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6pPr>
              <a:lvl7pPr marL="2743337"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7pPr>
              <a:lvl8pPr marL="320056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8pPr>
              <a:lvl9pPr marL="3657783"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9pPr>
            </a:lstStyle>
            <a:p>
              <a:r>
                <a:rPr lang="en-US" altLang="ko-KR" sz="2400" b="0" cap="none">
                  <a:solidFill>
                    <a:prstClr val="black">
                      <a:lumMod val="75000"/>
                      <a:lumOff val="25000"/>
                    </a:prstClr>
                  </a:solidFill>
                  <a:effectLst/>
                </a:rPr>
                <a:t>Your Picture Here</a:t>
              </a:r>
              <a:endParaRPr lang="ko-KR" altLang="en-US" sz="2400" b="0" cap="none" dirty="0">
                <a:solidFill>
                  <a:prstClr val="black">
                    <a:lumMod val="75000"/>
                    <a:lumOff val="25000"/>
                  </a:prstClr>
                </a:solidFill>
                <a:effectLst/>
              </a:endParaRPr>
            </a:p>
          </p:txBody>
        </p:sp>
      </p:grpSp>
      <p:sp>
        <p:nvSpPr>
          <p:cNvPr id="4" name="그림 개체 틀 2"/>
          <p:cNvSpPr>
            <a:spLocks noGrp="1"/>
          </p:cNvSpPr>
          <p:nvPr>
            <p:ph type="pic" sz="quarter" idx="10" hasCustomPrompt="1"/>
          </p:nvPr>
        </p:nvSpPr>
        <p:spPr>
          <a:xfrm>
            <a:off x="11182352" y="2"/>
            <a:ext cx="13211204" cy="13732780"/>
          </a:xfrm>
          <a:custGeom>
            <a:avLst/>
            <a:gdLst>
              <a:gd name="connsiteX0" fmla="*/ 0 w 4427984"/>
              <a:gd name="connsiteY0" fmla="*/ 0 h 6866389"/>
              <a:gd name="connsiteX1" fmla="*/ 4427984 w 4427984"/>
              <a:gd name="connsiteY1" fmla="*/ 0 h 6866389"/>
              <a:gd name="connsiteX2" fmla="*/ 4427984 w 4427984"/>
              <a:gd name="connsiteY2" fmla="*/ 6866389 h 6866389"/>
              <a:gd name="connsiteX3" fmla="*/ 0 w 4427984"/>
              <a:gd name="connsiteY3" fmla="*/ 6866389 h 6866389"/>
              <a:gd name="connsiteX4" fmla="*/ 0 w 4427984"/>
              <a:gd name="connsiteY4" fmla="*/ 0 h 6866389"/>
              <a:gd name="connsiteX0" fmla="*/ 595618 w 4427984"/>
              <a:gd name="connsiteY0" fmla="*/ 0 h 6883167"/>
              <a:gd name="connsiteX1" fmla="*/ 4427984 w 4427984"/>
              <a:gd name="connsiteY1" fmla="*/ 16778 h 6883167"/>
              <a:gd name="connsiteX2" fmla="*/ 4427984 w 4427984"/>
              <a:gd name="connsiteY2" fmla="*/ 6883167 h 6883167"/>
              <a:gd name="connsiteX3" fmla="*/ 0 w 4427984"/>
              <a:gd name="connsiteY3" fmla="*/ 6883167 h 6883167"/>
              <a:gd name="connsiteX4" fmla="*/ 595618 w 4427984"/>
              <a:gd name="connsiteY4" fmla="*/ 0 h 6883167"/>
              <a:gd name="connsiteX0" fmla="*/ 1258348 w 5090714"/>
              <a:gd name="connsiteY0" fmla="*/ 0 h 6883167"/>
              <a:gd name="connsiteX1" fmla="*/ 5090714 w 5090714"/>
              <a:gd name="connsiteY1" fmla="*/ 16778 h 6883167"/>
              <a:gd name="connsiteX2" fmla="*/ 5090714 w 5090714"/>
              <a:gd name="connsiteY2" fmla="*/ 6883167 h 6883167"/>
              <a:gd name="connsiteX3" fmla="*/ 0 w 5090714"/>
              <a:gd name="connsiteY3" fmla="*/ 6874779 h 6883167"/>
              <a:gd name="connsiteX4" fmla="*/ 1258348 w 5090714"/>
              <a:gd name="connsiteY4" fmla="*/ 0 h 6883167"/>
              <a:gd name="connsiteX0" fmla="*/ 1493240 w 5090714"/>
              <a:gd name="connsiteY0" fmla="*/ 0 h 6883167"/>
              <a:gd name="connsiteX1" fmla="*/ 5090714 w 5090714"/>
              <a:gd name="connsiteY1" fmla="*/ 16778 h 6883167"/>
              <a:gd name="connsiteX2" fmla="*/ 5090714 w 5090714"/>
              <a:gd name="connsiteY2" fmla="*/ 6883167 h 6883167"/>
              <a:gd name="connsiteX3" fmla="*/ 0 w 5090714"/>
              <a:gd name="connsiteY3" fmla="*/ 6874779 h 6883167"/>
              <a:gd name="connsiteX4" fmla="*/ 1493240 w 5090714"/>
              <a:gd name="connsiteY4" fmla="*/ 0 h 6883167"/>
              <a:gd name="connsiteX0" fmla="*/ 1459684 w 5090714"/>
              <a:gd name="connsiteY0" fmla="*/ 0 h 6866389"/>
              <a:gd name="connsiteX1" fmla="*/ 5090714 w 5090714"/>
              <a:gd name="connsiteY1" fmla="*/ 0 h 6866389"/>
              <a:gd name="connsiteX2" fmla="*/ 5090714 w 5090714"/>
              <a:gd name="connsiteY2" fmla="*/ 6866389 h 6866389"/>
              <a:gd name="connsiteX3" fmla="*/ 0 w 5090714"/>
              <a:gd name="connsiteY3" fmla="*/ 6858001 h 6866389"/>
              <a:gd name="connsiteX4" fmla="*/ 1459684 w 5090714"/>
              <a:gd name="connsiteY4" fmla="*/ 0 h 6866389"/>
              <a:gd name="connsiteX0" fmla="*/ 1711354 w 5090714"/>
              <a:gd name="connsiteY0" fmla="*/ 0 h 6874778"/>
              <a:gd name="connsiteX1" fmla="*/ 5090714 w 5090714"/>
              <a:gd name="connsiteY1" fmla="*/ 8389 h 6874778"/>
              <a:gd name="connsiteX2" fmla="*/ 5090714 w 5090714"/>
              <a:gd name="connsiteY2" fmla="*/ 6874778 h 6874778"/>
              <a:gd name="connsiteX3" fmla="*/ 0 w 5090714"/>
              <a:gd name="connsiteY3" fmla="*/ 6866390 h 6874778"/>
              <a:gd name="connsiteX4" fmla="*/ 1711354 w 5090714"/>
              <a:gd name="connsiteY4" fmla="*/ 0 h 6874778"/>
              <a:gd name="connsiteX0" fmla="*/ 1937857 w 5317217"/>
              <a:gd name="connsiteY0" fmla="*/ 0 h 6874779"/>
              <a:gd name="connsiteX1" fmla="*/ 5317217 w 5317217"/>
              <a:gd name="connsiteY1" fmla="*/ 8389 h 6874779"/>
              <a:gd name="connsiteX2" fmla="*/ 5317217 w 5317217"/>
              <a:gd name="connsiteY2" fmla="*/ 6874778 h 6874779"/>
              <a:gd name="connsiteX3" fmla="*/ 0 w 5317217"/>
              <a:gd name="connsiteY3" fmla="*/ 6874779 h 6874779"/>
              <a:gd name="connsiteX4" fmla="*/ 1937857 w 5317217"/>
              <a:gd name="connsiteY4" fmla="*/ 0 h 6874779"/>
              <a:gd name="connsiteX0" fmla="*/ 1280632 w 5317217"/>
              <a:gd name="connsiteY0" fmla="*/ 10661 h 6866390"/>
              <a:gd name="connsiteX1" fmla="*/ 5317217 w 5317217"/>
              <a:gd name="connsiteY1" fmla="*/ 0 h 6866390"/>
              <a:gd name="connsiteX2" fmla="*/ 5317217 w 5317217"/>
              <a:gd name="connsiteY2" fmla="*/ 6866389 h 6866390"/>
              <a:gd name="connsiteX3" fmla="*/ 0 w 5317217"/>
              <a:gd name="connsiteY3" fmla="*/ 6866390 h 6866390"/>
              <a:gd name="connsiteX4" fmla="*/ 1280632 w 5317217"/>
              <a:gd name="connsiteY4" fmla="*/ 10661 h 6866390"/>
              <a:gd name="connsiteX0" fmla="*/ 1280632 w 5317217"/>
              <a:gd name="connsiteY0" fmla="*/ 1136 h 6866390"/>
              <a:gd name="connsiteX1" fmla="*/ 5317217 w 5317217"/>
              <a:gd name="connsiteY1" fmla="*/ 0 h 6866390"/>
              <a:gd name="connsiteX2" fmla="*/ 5317217 w 5317217"/>
              <a:gd name="connsiteY2" fmla="*/ 6866389 h 6866390"/>
              <a:gd name="connsiteX3" fmla="*/ 0 w 5317217"/>
              <a:gd name="connsiteY3" fmla="*/ 6866390 h 6866390"/>
              <a:gd name="connsiteX4" fmla="*/ 1280632 w 5317217"/>
              <a:gd name="connsiteY4" fmla="*/ 1136 h 6866390"/>
              <a:gd name="connsiteX0" fmla="*/ 1413982 w 5450567"/>
              <a:gd name="connsiteY0" fmla="*/ 1136 h 6866390"/>
              <a:gd name="connsiteX1" fmla="*/ 5450567 w 5450567"/>
              <a:gd name="connsiteY1" fmla="*/ 0 h 6866390"/>
              <a:gd name="connsiteX2" fmla="*/ 5450567 w 5450567"/>
              <a:gd name="connsiteY2" fmla="*/ 6866389 h 6866390"/>
              <a:gd name="connsiteX3" fmla="*/ 0 w 5450567"/>
              <a:gd name="connsiteY3" fmla="*/ 6866390 h 6866390"/>
              <a:gd name="connsiteX4" fmla="*/ 1413982 w 5450567"/>
              <a:gd name="connsiteY4" fmla="*/ 1136 h 6866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0567" h="6866390">
                <a:moveTo>
                  <a:pt x="1413982" y="1136"/>
                </a:moveTo>
                <a:lnTo>
                  <a:pt x="5450567" y="0"/>
                </a:lnTo>
                <a:lnTo>
                  <a:pt x="5450567" y="6866389"/>
                </a:lnTo>
                <a:lnTo>
                  <a:pt x="0" y="6866390"/>
                </a:lnTo>
                <a:lnTo>
                  <a:pt x="1413982" y="1136"/>
                </a:lnTo>
                <a:close/>
              </a:path>
            </a:pathLst>
          </a:custGeom>
          <a:solidFill>
            <a:schemeClr val="bg1">
              <a:lumMod val="95000"/>
            </a:schemeClr>
          </a:solidFill>
          <a:ln w="25400">
            <a:noFill/>
          </a:ln>
          <a:effectLst/>
        </p:spPr>
        <p:txBody>
          <a:bodyPr anchor="ctr"/>
          <a:lstStyle>
            <a:lvl1pPr marL="0" indent="0" algn="ctr">
              <a:buFontTx/>
              <a:buNone/>
              <a:defRPr sz="2400">
                <a:solidFill>
                  <a:schemeClr val="tx1">
                    <a:lumMod val="75000"/>
                    <a:lumOff val="25000"/>
                  </a:schemeClr>
                </a:solidFill>
              </a:defRPr>
            </a:lvl1pPr>
          </a:lstStyle>
          <a:p>
            <a:r>
              <a:rPr lang="en-US" altLang="ko-KR" dirty="0"/>
              <a:t>Place Your Picture Here</a:t>
            </a:r>
            <a:endParaRPr lang="ko-KR" altLang="en-US" dirty="0"/>
          </a:p>
        </p:txBody>
      </p:sp>
      <p:sp>
        <p:nvSpPr>
          <p:cNvPr id="11" name="그림 개체 틀 2">
            <a:extLst>
              <a:ext uri="{FF2B5EF4-FFF2-40B4-BE49-F238E27FC236}">
                <a16:creationId xmlns:a16="http://schemas.microsoft.com/office/drawing/2014/main" id="{06B29B0E-C385-4751-A903-AF91C785A239}"/>
              </a:ext>
            </a:extLst>
          </p:cNvPr>
          <p:cNvSpPr>
            <a:spLocks noGrp="1"/>
          </p:cNvSpPr>
          <p:nvPr>
            <p:ph type="pic" sz="quarter" idx="14" hasCustomPrompt="1"/>
          </p:nvPr>
        </p:nvSpPr>
        <p:spPr>
          <a:xfrm>
            <a:off x="1885726" y="4825990"/>
            <a:ext cx="3837124" cy="6371208"/>
          </a:xfrm>
          <a:prstGeom prst="rect">
            <a:avLst/>
          </a:prstGeom>
          <a:solidFill>
            <a:schemeClr val="bg1">
              <a:lumMod val="95000"/>
            </a:schemeClr>
          </a:solidFill>
        </p:spPr>
        <p:txBody>
          <a:bodyPr anchor="ctr"/>
          <a:lstStyle>
            <a:lvl1pPr marL="0" indent="0" algn="ctr">
              <a:buNone/>
              <a:defRPr sz="2400">
                <a:solidFill>
                  <a:schemeClr val="tx1">
                    <a:lumMod val="75000"/>
                    <a:lumOff val="25000"/>
                  </a:schemeClr>
                </a:solidFill>
              </a:defRPr>
            </a:lvl1pPr>
          </a:lstStyle>
          <a:p>
            <a:r>
              <a:rPr lang="en-US" altLang="ko-KR" dirty="0"/>
              <a:t>Place Your Picture Here</a:t>
            </a:r>
            <a:endParaRPr lang="ko-KR" altLang="en-US" dirty="0"/>
          </a:p>
        </p:txBody>
      </p:sp>
    </p:spTree>
    <p:extLst>
      <p:ext uri="{BB962C8B-B14F-4D97-AF65-F5344CB8AC3E}">
        <p14:creationId xmlns:p14="http://schemas.microsoft.com/office/powerpoint/2010/main" val="218045314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8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7406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43_Images &amp; Contents Layout">
    <p:spTree>
      <p:nvGrpSpPr>
        <p:cNvPr id="1" name=""/>
        <p:cNvGrpSpPr/>
        <p:nvPr/>
      </p:nvGrpSpPr>
      <p:grpSpPr>
        <a:xfrm>
          <a:off x="0" y="0"/>
          <a:ext cx="0" cy="0"/>
          <a:chOff x="0" y="0"/>
          <a:chExt cx="0" cy="0"/>
        </a:xfrm>
      </p:grpSpPr>
      <p:sp>
        <p:nvSpPr>
          <p:cNvPr id="2" name="그림 개체 틀 8">
            <a:extLst>
              <a:ext uri="{FF2B5EF4-FFF2-40B4-BE49-F238E27FC236}">
                <a16:creationId xmlns:a16="http://schemas.microsoft.com/office/drawing/2014/main" id="{EB0C60AC-17D1-47A8-A33F-85C3824468D4}"/>
              </a:ext>
            </a:extLst>
          </p:cNvPr>
          <p:cNvSpPr>
            <a:spLocks noGrp="1"/>
          </p:cNvSpPr>
          <p:nvPr>
            <p:ph type="pic" sz="quarter" idx="10" hasCustomPrompt="1"/>
          </p:nvPr>
        </p:nvSpPr>
        <p:spPr>
          <a:xfrm>
            <a:off x="2" y="0"/>
            <a:ext cx="8136000" cy="6858000"/>
          </a:xfrm>
          <a:prstGeom prst="rect">
            <a:avLst/>
          </a:prstGeom>
          <a:solidFill>
            <a:schemeClr val="bg1">
              <a:lumMod val="95000"/>
            </a:schemeClr>
          </a:solidFill>
          <a:effectLst/>
        </p:spPr>
        <p:txBody>
          <a:bodyPr wrap="square" anchor="ctr">
            <a:noAutofit/>
          </a:bodyPr>
          <a:lstStyle>
            <a:lvl1pPr marL="0" marR="0" indent="0" algn="ctr" defTabSz="1828800" rtl="0" eaLnBrk="1" fontAlgn="auto" latinLnBrk="1" hangingPunct="1">
              <a:lnSpc>
                <a:spcPct val="90000"/>
              </a:lnSpc>
              <a:spcBef>
                <a:spcPts val="2000"/>
              </a:spcBef>
              <a:spcAft>
                <a:spcPts val="0"/>
              </a:spcAft>
              <a:buClrTx/>
              <a:buSzTx/>
              <a:buFontTx/>
              <a:buNone/>
              <a:tabLst/>
              <a:defRPr sz="2400"/>
            </a:lvl1pPr>
          </a:lstStyle>
          <a:p>
            <a:r>
              <a:rPr lang="en-US" altLang="ko-KR" dirty="0"/>
              <a:t>Place Your Picture Here And Send To Back</a:t>
            </a:r>
            <a:endParaRPr lang="ko-KR" altLang="en-US" dirty="0"/>
          </a:p>
        </p:txBody>
      </p:sp>
      <p:sp>
        <p:nvSpPr>
          <p:cNvPr id="3" name="그림 개체 틀 8">
            <a:extLst>
              <a:ext uri="{FF2B5EF4-FFF2-40B4-BE49-F238E27FC236}">
                <a16:creationId xmlns:a16="http://schemas.microsoft.com/office/drawing/2014/main" id="{B402172D-BBC8-4691-988A-FAE2D859BF8E}"/>
              </a:ext>
            </a:extLst>
          </p:cNvPr>
          <p:cNvSpPr>
            <a:spLocks noGrp="1"/>
          </p:cNvSpPr>
          <p:nvPr>
            <p:ph type="pic" sz="quarter" idx="11" hasCustomPrompt="1"/>
          </p:nvPr>
        </p:nvSpPr>
        <p:spPr>
          <a:xfrm>
            <a:off x="8136002" y="6858000"/>
            <a:ext cx="8136000" cy="6858000"/>
          </a:xfrm>
          <a:prstGeom prst="rect">
            <a:avLst/>
          </a:prstGeom>
          <a:solidFill>
            <a:schemeClr val="bg1">
              <a:lumMod val="95000"/>
            </a:schemeClr>
          </a:solidFill>
          <a:effectLst/>
        </p:spPr>
        <p:txBody>
          <a:bodyPr wrap="square" anchor="ctr">
            <a:noAutofit/>
          </a:bodyPr>
          <a:lstStyle>
            <a:lvl1pPr marL="0" marR="0" indent="0" algn="ctr" defTabSz="1828800" rtl="0" eaLnBrk="1" fontAlgn="auto" latinLnBrk="1" hangingPunct="1">
              <a:lnSpc>
                <a:spcPct val="90000"/>
              </a:lnSpc>
              <a:spcBef>
                <a:spcPts val="2000"/>
              </a:spcBef>
              <a:spcAft>
                <a:spcPts val="0"/>
              </a:spcAft>
              <a:buClrTx/>
              <a:buSzTx/>
              <a:buFontTx/>
              <a:buNone/>
              <a:tabLst/>
              <a:defRPr sz="2400"/>
            </a:lvl1pPr>
          </a:lstStyle>
          <a:p>
            <a:r>
              <a:rPr lang="en-US" altLang="ko-KR" dirty="0"/>
              <a:t>Place Your Picture Here And Send To Back</a:t>
            </a:r>
            <a:endParaRPr lang="ko-KR" altLang="en-US" dirty="0"/>
          </a:p>
        </p:txBody>
      </p:sp>
    </p:spTree>
    <p:extLst>
      <p:ext uri="{BB962C8B-B14F-4D97-AF65-F5344CB8AC3E}">
        <p14:creationId xmlns:p14="http://schemas.microsoft.com/office/powerpoint/2010/main" val="336332426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0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056110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8_Images and Contents Layout">
    <p:spTree>
      <p:nvGrpSpPr>
        <p:cNvPr id="1" name=""/>
        <p:cNvGrpSpPr/>
        <p:nvPr/>
      </p:nvGrpSpPr>
      <p:grpSpPr>
        <a:xfrm>
          <a:off x="0" y="0"/>
          <a:ext cx="0" cy="0"/>
          <a:chOff x="0" y="0"/>
          <a:chExt cx="0" cy="0"/>
        </a:xfrm>
      </p:grpSpPr>
      <p:sp>
        <p:nvSpPr>
          <p:cNvPr id="2" name="Rectangle 1"/>
          <p:cNvSpPr/>
          <p:nvPr userDrawn="1"/>
        </p:nvSpPr>
        <p:spPr>
          <a:xfrm>
            <a:off x="11562095" y="521296"/>
            <a:ext cx="11905322" cy="1267340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endParaRPr lang="ko-KR" altLang="en-US" sz="3600" b="0" kern="1200" cap="none">
              <a:solidFill>
                <a:prstClr val="white"/>
              </a:solidFill>
              <a:effectLst/>
            </a:endParaRPr>
          </a:p>
        </p:txBody>
      </p:sp>
      <p:sp>
        <p:nvSpPr>
          <p:cNvPr id="4" name="Picture Placeholder 2"/>
          <p:cNvSpPr>
            <a:spLocks noGrp="1"/>
          </p:cNvSpPr>
          <p:nvPr>
            <p:ph type="pic" idx="14" hasCustomPrompt="1"/>
          </p:nvPr>
        </p:nvSpPr>
        <p:spPr>
          <a:xfrm>
            <a:off x="1469539" y="2393504"/>
            <a:ext cx="21698410" cy="6912768"/>
          </a:xfrm>
          <a:prstGeom prst="rect">
            <a:avLst/>
          </a:prstGeom>
          <a:solidFill>
            <a:schemeClr val="bg1">
              <a:lumMod val="95000"/>
            </a:schemeClr>
          </a:solidFill>
          <a:ln w="19050">
            <a:solidFill>
              <a:schemeClr val="bg1">
                <a:lumMod val="65000"/>
              </a:schemeClr>
            </a:solidFill>
          </a:ln>
        </p:spPr>
        <p:txBody>
          <a:bodyPr anchor="ctr"/>
          <a:lstStyle>
            <a:lvl1pPr marL="0" indent="0" algn="ctr">
              <a:buNone/>
              <a:defRPr sz="2400">
                <a:latin typeface="Arial" pitchFamily="34" charset="0"/>
                <a:cs typeface="Arial" pitchFamily="34" charset="0"/>
              </a:defRPr>
            </a:lvl1pPr>
            <a:lvl2pPr marL="914400" indent="0">
              <a:buNone/>
              <a:defRPr sz="5600"/>
            </a:lvl2pPr>
            <a:lvl3pPr marL="1828800" indent="0">
              <a:buNone/>
              <a:defRPr sz="4800"/>
            </a:lvl3pPr>
            <a:lvl4pPr marL="2743200" indent="0">
              <a:buNone/>
              <a:defRPr sz="4000"/>
            </a:lvl4pPr>
            <a:lvl5pPr marL="3657600" indent="0">
              <a:buNone/>
              <a:defRPr sz="4000"/>
            </a:lvl5pPr>
            <a:lvl6pPr marL="4572000" indent="0">
              <a:buNone/>
              <a:defRPr sz="4000"/>
            </a:lvl6pPr>
            <a:lvl7pPr marL="5486400" indent="0">
              <a:buNone/>
              <a:defRPr sz="4000"/>
            </a:lvl7pPr>
            <a:lvl8pPr marL="6400800" indent="0">
              <a:buNone/>
              <a:defRPr sz="4000"/>
            </a:lvl8pPr>
            <a:lvl9pPr marL="7315200" indent="0">
              <a:buNone/>
              <a:defRPr sz="4000"/>
            </a:lvl9pPr>
          </a:lstStyle>
          <a:p>
            <a:r>
              <a:rPr lang="en-US" altLang="ko-KR" dirty="0"/>
              <a:t>Your Picture Here</a:t>
            </a:r>
            <a:endParaRPr lang="ko-KR" altLang="en-US" dirty="0"/>
          </a:p>
        </p:txBody>
      </p:sp>
      <p:sp>
        <p:nvSpPr>
          <p:cNvPr id="5" name="제목 1"/>
          <p:cNvSpPr>
            <a:spLocks noGrp="1"/>
          </p:cNvSpPr>
          <p:nvPr>
            <p:ph type="title" hasCustomPrompt="1"/>
          </p:nvPr>
        </p:nvSpPr>
        <p:spPr>
          <a:xfrm>
            <a:off x="0" y="539705"/>
            <a:ext cx="24384000" cy="1421754"/>
          </a:xfrm>
          <a:prstGeom prst="rect">
            <a:avLst/>
          </a:prstGeom>
        </p:spPr>
        <p:txBody>
          <a:bodyPr anchor="ctr">
            <a:noAutofit/>
          </a:bodyPr>
          <a:lstStyle>
            <a:lvl1pPr algn="ctr">
              <a:defRPr sz="9600" b="0" baseline="0">
                <a:solidFill>
                  <a:schemeClr val="tx1">
                    <a:lumMod val="75000"/>
                    <a:lumOff val="25000"/>
                  </a:schemeClr>
                </a:solidFill>
                <a:latin typeface="Arial" pitchFamily="34" charset="0"/>
                <a:cs typeface="Arial" pitchFamily="34" charset="0"/>
              </a:defRPr>
            </a:lvl1pPr>
          </a:lstStyle>
          <a:p>
            <a:r>
              <a:rPr lang="en-US" altLang="ko-KR" dirty="0"/>
              <a:t>IMAGES AND CONTENTS</a:t>
            </a:r>
            <a:endParaRPr lang="ko-KR" altLang="en-US" dirty="0"/>
          </a:p>
        </p:txBody>
      </p:sp>
      <p:sp>
        <p:nvSpPr>
          <p:cNvPr id="7" name="Right Triangle 5">
            <a:extLst>
              <a:ext uri="{FF2B5EF4-FFF2-40B4-BE49-F238E27FC236}">
                <a16:creationId xmlns:a16="http://schemas.microsoft.com/office/drawing/2014/main" id="{90C2957C-B750-464F-8E0D-6068E10933D5}"/>
              </a:ext>
            </a:extLst>
          </p:cNvPr>
          <p:cNvSpPr/>
          <p:nvPr userDrawn="1"/>
        </p:nvSpPr>
        <p:spPr>
          <a:xfrm rot="16200000">
            <a:off x="21391865" y="11206407"/>
            <a:ext cx="1506358" cy="2008478"/>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endParaRPr lang="ko-KR" altLang="en-US" sz="3600" b="0" kern="1200" cap="none" dirty="0">
              <a:solidFill>
                <a:prstClr val="white"/>
              </a:solidFill>
              <a:effectLst/>
            </a:endParaRPr>
          </a:p>
        </p:txBody>
      </p:sp>
    </p:spTree>
    <p:extLst>
      <p:ext uri="{BB962C8B-B14F-4D97-AF65-F5344CB8AC3E}">
        <p14:creationId xmlns:p14="http://schemas.microsoft.com/office/powerpoint/2010/main" val="187851439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2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305950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3_Contents slide layout">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77F83582-CE09-46A9-BA33-433431B34F1D}"/>
              </a:ext>
            </a:extLst>
          </p:cNvPr>
          <p:cNvGrpSpPr/>
          <p:nvPr userDrawn="1"/>
        </p:nvGrpSpPr>
        <p:grpSpPr>
          <a:xfrm>
            <a:off x="1060855" y="4866631"/>
            <a:ext cx="10747970" cy="5905282"/>
            <a:chOff x="-548507" y="477868"/>
            <a:chExt cx="11570449" cy="6357177"/>
          </a:xfrm>
        </p:grpSpPr>
        <p:sp>
          <p:nvSpPr>
            <p:cNvPr id="11" name="Freeform: Shape 10">
              <a:extLst>
                <a:ext uri="{FF2B5EF4-FFF2-40B4-BE49-F238E27FC236}">
                  <a16:creationId xmlns:a16="http://schemas.microsoft.com/office/drawing/2014/main" id="{EF8F49AE-CC30-40F1-8F39-B2AF1FD6C7C9}"/>
                </a:ext>
              </a:extLst>
            </p:cNvPr>
            <p:cNvSpPr/>
            <p:nvPr/>
          </p:nvSpPr>
          <p:spPr>
            <a:xfrm>
              <a:off x="-482765" y="6440599"/>
              <a:ext cx="11438966" cy="394446"/>
            </a:xfrm>
            <a:custGeom>
              <a:avLst/>
              <a:gdLst>
                <a:gd name="connsiteX0" fmla="*/ 1605439 w 1657350"/>
                <a:gd name="connsiteY0" fmla="*/ 54769 h 57150"/>
                <a:gd name="connsiteX1" fmla="*/ 1652111 w 1657350"/>
                <a:gd name="connsiteY1" fmla="*/ 22384 h 57150"/>
                <a:gd name="connsiteX2" fmla="*/ 1652111 w 1657350"/>
                <a:gd name="connsiteY2" fmla="*/ 22384 h 57150"/>
                <a:gd name="connsiteX3" fmla="*/ 1636871 w 1657350"/>
                <a:gd name="connsiteY3" fmla="*/ 7144 h 57150"/>
                <a:gd name="connsiteX4" fmla="*/ 44291 w 1657350"/>
                <a:gd name="connsiteY4" fmla="*/ 12859 h 57150"/>
                <a:gd name="connsiteX5" fmla="*/ 23336 w 1657350"/>
                <a:gd name="connsiteY5" fmla="*/ 12859 h 57150"/>
                <a:gd name="connsiteX6" fmla="*/ 7144 w 1657350"/>
                <a:gd name="connsiteY6" fmla="*/ 26194 h 57150"/>
                <a:gd name="connsiteX7" fmla="*/ 7144 w 1657350"/>
                <a:gd name="connsiteY7" fmla="*/ 26194 h 57150"/>
                <a:gd name="connsiteX8" fmla="*/ 50959 w 1657350"/>
                <a:gd name="connsiteY8" fmla="*/ 53816 h 57150"/>
                <a:gd name="connsiteX9" fmla="*/ 51911 w 1657350"/>
                <a:gd name="connsiteY9" fmla="*/ 54769 h 57150"/>
                <a:gd name="connsiteX10" fmla="*/ 51911 w 1657350"/>
                <a:gd name="connsiteY10" fmla="*/ 54769 h 57150"/>
                <a:gd name="connsiteX11" fmla="*/ 56674 w 1657350"/>
                <a:gd name="connsiteY11" fmla="*/ 54769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57350" h="57150">
                  <a:moveTo>
                    <a:pt x="1605439" y="54769"/>
                  </a:moveTo>
                  <a:cubicBezTo>
                    <a:pt x="1605439" y="54769"/>
                    <a:pt x="1638776" y="50959"/>
                    <a:pt x="1652111" y="22384"/>
                  </a:cubicBezTo>
                  <a:lnTo>
                    <a:pt x="1652111" y="22384"/>
                  </a:lnTo>
                  <a:cubicBezTo>
                    <a:pt x="1652111" y="13811"/>
                    <a:pt x="1645444" y="7144"/>
                    <a:pt x="1636871" y="7144"/>
                  </a:cubicBezTo>
                  <a:lnTo>
                    <a:pt x="44291" y="12859"/>
                  </a:lnTo>
                  <a:lnTo>
                    <a:pt x="23336" y="12859"/>
                  </a:lnTo>
                  <a:cubicBezTo>
                    <a:pt x="14764" y="12859"/>
                    <a:pt x="7144" y="18574"/>
                    <a:pt x="7144" y="26194"/>
                  </a:cubicBezTo>
                  <a:lnTo>
                    <a:pt x="7144" y="26194"/>
                  </a:lnTo>
                  <a:cubicBezTo>
                    <a:pt x="17621" y="45244"/>
                    <a:pt x="40481" y="51911"/>
                    <a:pt x="50959" y="53816"/>
                  </a:cubicBezTo>
                  <a:lnTo>
                    <a:pt x="51911" y="54769"/>
                  </a:lnTo>
                  <a:cubicBezTo>
                    <a:pt x="51911" y="54769"/>
                    <a:pt x="51911" y="54769"/>
                    <a:pt x="51911" y="54769"/>
                  </a:cubicBezTo>
                  <a:lnTo>
                    <a:pt x="56674" y="54769"/>
                  </a:lnTo>
                </a:path>
              </a:pathLst>
            </a:custGeom>
            <a:solidFill>
              <a:srgbClr val="5F6767"/>
            </a:solidFill>
            <a:ln w="9525" cap="flat">
              <a:noFill/>
              <a:prstDash val="solid"/>
              <a:miter/>
            </a:ln>
          </p:spPr>
          <p:txBody>
            <a:bodyPr rtlCol="0" anchor="ctr"/>
            <a:lstStyle/>
            <a:p>
              <a:pPr algn="l" defTabSz="1828800" hangingPunct="1"/>
              <a:endParaRPr lang="en-US" sz="3600" b="0" kern="1200" cap="none">
                <a:solidFill>
                  <a:prstClr val="black"/>
                </a:solidFill>
                <a:effectLst/>
                <a:latin typeface="Arial"/>
                <a:ea typeface="Arial Unicode MS"/>
                <a:cs typeface="+mn-cs"/>
              </a:endParaRPr>
            </a:p>
          </p:txBody>
        </p:sp>
        <p:sp>
          <p:nvSpPr>
            <p:cNvPr id="12" name="Freeform: Shape 11">
              <a:extLst>
                <a:ext uri="{FF2B5EF4-FFF2-40B4-BE49-F238E27FC236}">
                  <a16:creationId xmlns:a16="http://schemas.microsoft.com/office/drawing/2014/main" id="{8DC3F472-9CDB-4CD5-B893-A42C2816E18C}"/>
                </a:ext>
              </a:extLst>
            </p:cNvPr>
            <p:cNvSpPr/>
            <p:nvPr/>
          </p:nvSpPr>
          <p:spPr>
            <a:xfrm>
              <a:off x="700575" y="477868"/>
              <a:ext cx="9072285" cy="5916709"/>
            </a:xfrm>
            <a:custGeom>
              <a:avLst/>
              <a:gdLst>
                <a:gd name="connsiteX0" fmla="*/ 1311116 w 1314450"/>
                <a:gd name="connsiteY0" fmla="*/ 813911 h 857250"/>
                <a:gd name="connsiteX1" fmla="*/ 1281589 w 1314450"/>
                <a:gd name="connsiteY1" fmla="*/ 852964 h 857250"/>
                <a:gd name="connsiteX2" fmla="*/ 36671 w 1314450"/>
                <a:gd name="connsiteY2" fmla="*/ 852964 h 857250"/>
                <a:gd name="connsiteX3" fmla="*/ 7144 w 1314450"/>
                <a:gd name="connsiteY3" fmla="*/ 813911 h 857250"/>
                <a:gd name="connsiteX4" fmla="*/ 7144 w 1314450"/>
                <a:gd name="connsiteY4" fmla="*/ 46196 h 857250"/>
                <a:gd name="connsiteX5" fmla="*/ 36671 w 1314450"/>
                <a:gd name="connsiteY5" fmla="*/ 7144 h 857250"/>
                <a:gd name="connsiteX6" fmla="*/ 1281589 w 1314450"/>
                <a:gd name="connsiteY6" fmla="*/ 7144 h 857250"/>
                <a:gd name="connsiteX7" fmla="*/ 1311116 w 1314450"/>
                <a:gd name="connsiteY7" fmla="*/ 46196 h 857250"/>
                <a:gd name="connsiteX8" fmla="*/ 1311116 w 1314450"/>
                <a:gd name="connsiteY8" fmla="*/ 813911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4450" h="857250">
                  <a:moveTo>
                    <a:pt x="1311116" y="813911"/>
                  </a:moveTo>
                  <a:cubicBezTo>
                    <a:pt x="1311116" y="834866"/>
                    <a:pt x="1297781" y="852964"/>
                    <a:pt x="1281589" y="852964"/>
                  </a:cubicBezTo>
                  <a:lnTo>
                    <a:pt x="36671" y="852964"/>
                  </a:lnTo>
                  <a:cubicBezTo>
                    <a:pt x="20479" y="852964"/>
                    <a:pt x="7144" y="835819"/>
                    <a:pt x="7144" y="813911"/>
                  </a:cubicBezTo>
                  <a:lnTo>
                    <a:pt x="7144" y="46196"/>
                  </a:lnTo>
                  <a:cubicBezTo>
                    <a:pt x="7144" y="25241"/>
                    <a:pt x="20479" y="7144"/>
                    <a:pt x="36671" y="7144"/>
                  </a:cubicBezTo>
                  <a:lnTo>
                    <a:pt x="1281589" y="7144"/>
                  </a:lnTo>
                  <a:cubicBezTo>
                    <a:pt x="1297781" y="7144"/>
                    <a:pt x="1311116" y="24289"/>
                    <a:pt x="1311116" y="46196"/>
                  </a:cubicBezTo>
                  <a:lnTo>
                    <a:pt x="1311116" y="813911"/>
                  </a:lnTo>
                  <a:close/>
                </a:path>
              </a:pathLst>
            </a:custGeom>
            <a:solidFill>
              <a:srgbClr val="000000"/>
            </a:solidFill>
            <a:ln w="9525" cap="flat">
              <a:noFill/>
              <a:prstDash val="solid"/>
              <a:miter/>
            </a:ln>
          </p:spPr>
          <p:txBody>
            <a:bodyPr rtlCol="0" anchor="ctr"/>
            <a:lstStyle/>
            <a:p>
              <a:pPr algn="l" defTabSz="1828800" hangingPunct="1"/>
              <a:endParaRPr lang="en-US" sz="3600" b="0" kern="1200" cap="none">
                <a:solidFill>
                  <a:prstClr val="black"/>
                </a:solidFill>
                <a:effectLst/>
                <a:latin typeface="Arial"/>
                <a:ea typeface="Arial Unicode MS"/>
                <a:cs typeface="+mn-cs"/>
              </a:endParaRPr>
            </a:p>
          </p:txBody>
        </p:sp>
        <p:sp>
          <p:nvSpPr>
            <p:cNvPr id="13" name="Freeform: Shape 12">
              <a:extLst>
                <a:ext uri="{FF2B5EF4-FFF2-40B4-BE49-F238E27FC236}">
                  <a16:creationId xmlns:a16="http://schemas.microsoft.com/office/drawing/2014/main" id="{F33BBB0C-24BB-47F4-B62D-F277EF62987C}"/>
                </a:ext>
              </a:extLst>
            </p:cNvPr>
            <p:cNvSpPr/>
            <p:nvPr/>
          </p:nvSpPr>
          <p:spPr>
            <a:xfrm>
              <a:off x="1088451" y="839448"/>
              <a:ext cx="8283390" cy="5062073"/>
            </a:xfrm>
            <a:custGeom>
              <a:avLst/>
              <a:gdLst>
                <a:gd name="connsiteX0" fmla="*/ 7144 w 1200150"/>
                <a:gd name="connsiteY0" fmla="*/ 7144 h 733425"/>
                <a:gd name="connsiteX1" fmla="*/ 1196816 w 1200150"/>
                <a:gd name="connsiteY1" fmla="*/ 7144 h 733425"/>
                <a:gd name="connsiteX2" fmla="*/ 1196816 w 1200150"/>
                <a:gd name="connsiteY2" fmla="*/ 730091 h 733425"/>
                <a:gd name="connsiteX3" fmla="*/ 7144 w 1200150"/>
                <a:gd name="connsiteY3" fmla="*/ 730091 h 733425"/>
              </a:gdLst>
              <a:ahLst/>
              <a:cxnLst>
                <a:cxn ang="0">
                  <a:pos x="connsiteX0" y="connsiteY0"/>
                </a:cxn>
                <a:cxn ang="0">
                  <a:pos x="connsiteX1" y="connsiteY1"/>
                </a:cxn>
                <a:cxn ang="0">
                  <a:pos x="connsiteX2" y="connsiteY2"/>
                </a:cxn>
                <a:cxn ang="0">
                  <a:pos x="connsiteX3" y="connsiteY3"/>
                </a:cxn>
              </a:cxnLst>
              <a:rect l="l" t="t" r="r" b="b"/>
              <a:pathLst>
                <a:path w="1200150" h="733425">
                  <a:moveTo>
                    <a:pt x="7144" y="7144"/>
                  </a:moveTo>
                  <a:lnTo>
                    <a:pt x="1196816" y="7144"/>
                  </a:lnTo>
                  <a:lnTo>
                    <a:pt x="1196816" y="730091"/>
                  </a:lnTo>
                  <a:lnTo>
                    <a:pt x="7144" y="730091"/>
                  </a:lnTo>
                  <a:close/>
                </a:path>
              </a:pathLst>
            </a:custGeom>
            <a:solidFill>
              <a:srgbClr val="F2F2F2"/>
            </a:solidFill>
            <a:ln w="9525" cap="flat">
              <a:noFill/>
              <a:prstDash val="solid"/>
              <a:miter/>
            </a:ln>
          </p:spPr>
          <p:txBody>
            <a:bodyPr rtlCol="0" anchor="ctr"/>
            <a:lstStyle/>
            <a:p>
              <a:pPr algn="l" defTabSz="1828800" hangingPunct="1"/>
              <a:endParaRPr lang="en-US" sz="3600" b="0" kern="1200" cap="none">
                <a:solidFill>
                  <a:prstClr val="black"/>
                </a:solidFill>
                <a:effectLst/>
                <a:latin typeface="Arial"/>
                <a:ea typeface="Arial Unicode MS"/>
                <a:cs typeface="+mn-cs"/>
              </a:endParaRPr>
            </a:p>
          </p:txBody>
        </p:sp>
        <p:sp>
          <p:nvSpPr>
            <p:cNvPr id="14" name="Freeform: Shape 13">
              <a:extLst>
                <a:ext uri="{FF2B5EF4-FFF2-40B4-BE49-F238E27FC236}">
                  <a16:creationId xmlns:a16="http://schemas.microsoft.com/office/drawing/2014/main" id="{4A5A8FFC-B951-4241-BE74-98D03C5E8AC9}"/>
                </a:ext>
              </a:extLst>
            </p:cNvPr>
            <p:cNvSpPr/>
            <p:nvPr/>
          </p:nvSpPr>
          <p:spPr>
            <a:xfrm>
              <a:off x="-548507" y="6164484"/>
              <a:ext cx="11570449" cy="460187"/>
            </a:xfrm>
            <a:custGeom>
              <a:avLst/>
              <a:gdLst>
                <a:gd name="connsiteX0" fmla="*/ 50006 w 1676400"/>
                <a:gd name="connsiteY0" fmla="*/ 7144 h 66675"/>
                <a:gd name="connsiteX1" fmla="*/ 1630204 w 1676400"/>
                <a:gd name="connsiteY1" fmla="*/ 7144 h 66675"/>
                <a:gd name="connsiteX2" fmla="*/ 1672114 w 1676400"/>
                <a:gd name="connsiteY2" fmla="*/ 49054 h 66675"/>
                <a:gd name="connsiteX3" fmla="*/ 1672114 w 1676400"/>
                <a:gd name="connsiteY3" fmla="*/ 57626 h 66675"/>
                <a:gd name="connsiteX4" fmla="*/ 1656874 w 1676400"/>
                <a:gd name="connsiteY4" fmla="*/ 62389 h 66675"/>
                <a:gd name="connsiteX5" fmla="*/ 1654016 w 1676400"/>
                <a:gd name="connsiteY5" fmla="*/ 62389 h 66675"/>
                <a:gd name="connsiteX6" fmla="*/ 29051 w 1676400"/>
                <a:gd name="connsiteY6" fmla="*/ 62389 h 66675"/>
                <a:gd name="connsiteX7" fmla="*/ 21431 w 1676400"/>
                <a:gd name="connsiteY7" fmla="*/ 63341 h 66675"/>
                <a:gd name="connsiteX8" fmla="*/ 7144 w 1676400"/>
                <a:gd name="connsiteY8" fmla="*/ 55721 h 66675"/>
                <a:gd name="connsiteX9" fmla="*/ 7144 w 1676400"/>
                <a:gd name="connsiteY9" fmla="*/ 48101 h 66675"/>
                <a:gd name="connsiteX10" fmla="*/ 50006 w 1676400"/>
                <a:gd name="connsiteY10" fmla="*/ 71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76400" h="66675">
                  <a:moveTo>
                    <a:pt x="50006" y="7144"/>
                  </a:moveTo>
                  <a:lnTo>
                    <a:pt x="1630204" y="7144"/>
                  </a:lnTo>
                  <a:cubicBezTo>
                    <a:pt x="1653064" y="7144"/>
                    <a:pt x="1672114" y="26194"/>
                    <a:pt x="1672114" y="49054"/>
                  </a:cubicBezTo>
                  <a:lnTo>
                    <a:pt x="1672114" y="57626"/>
                  </a:lnTo>
                  <a:cubicBezTo>
                    <a:pt x="1672114" y="57626"/>
                    <a:pt x="1674019" y="64294"/>
                    <a:pt x="1656874" y="62389"/>
                  </a:cubicBezTo>
                  <a:cubicBezTo>
                    <a:pt x="1655921" y="62389"/>
                    <a:pt x="1654969" y="62389"/>
                    <a:pt x="1654016" y="62389"/>
                  </a:cubicBezTo>
                  <a:lnTo>
                    <a:pt x="29051" y="62389"/>
                  </a:lnTo>
                  <a:cubicBezTo>
                    <a:pt x="26194" y="62389"/>
                    <a:pt x="24289" y="62389"/>
                    <a:pt x="21431" y="63341"/>
                  </a:cubicBezTo>
                  <a:cubicBezTo>
                    <a:pt x="16669" y="64294"/>
                    <a:pt x="8096" y="64294"/>
                    <a:pt x="7144" y="55721"/>
                  </a:cubicBezTo>
                  <a:lnTo>
                    <a:pt x="7144" y="48101"/>
                  </a:lnTo>
                  <a:cubicBezTo>
                    <a:pt x="8096" y="25241"/>
                    <a:pt x="26194" y="7144"/>
                    <a:pt x="50006" y="7144"/>
                  </a:cubicBezTo>
                  <a:close/>
                </a:path>
              </a:pathLst>
            </a:custGeom>
            <a:solidFill>
              <a:srgbClr val="CCCCCC"/>
            </a:solidFill>
            <a:ln w="9525" cap="flat">
              <a:noFill/>
              <a:prstDash val="solid"/>
              <a:miter/>
            </a:ln>
          </p:spPr>
          <p:txBody>
            <a:bodyPr rtlCol="0" anchor="ctr"/>
            <a:lstStyle/>
            <a:p>
              <a:pPr algn="l" defTabSz="1828800" hangingPunct="1"/>
              <a:endParaRPr lang="en-US" sz="3600" b="0" kern="1200" cap="none" dirty="0">
                <a:solidFill>
                  <a:prstClr val="black"/>
                </a:solidFill>
                <a:effectLst/>
                <a:latin typeface="Arial"/>
                <a:ea typeface="Arial Unicode MS"/>
                <a:cs typeface="+mn-cs"/>
              </a:endParaRPr>
            </a:p>
          </p:txBody>
        </p:sp>
        <p:sp>
          <p:nvSpPr>
            <p:cNvPr id="15" name="Freeform: Shape 14">
              <a:extLst>
                <a:ext uri="{FF2B5EF4-FFF2-40B4-BE49-F238E27FC236}">
                  <a16:creationId xmlns:a16="http://schemas.microsoft.com/office/drawing/2014/main" id="{C69E1E6D-8345-4CD7-B87E-446A5EC8AA47}"/>
                </a:ext>
              </a:extLst>
            </p:cNvPr>
            <p:cNvSpPr/>
            <p:nvPr/>
          </p:nvSpPr>
          <p:spPr>
            <a:xfrm>
              <a:off x="4438629" y="6215033"/>
              <a:ext cx="1618413" cy="184076"/>
            </a:xfrm>
            <a:custGeom>
              <a:avLst/>
              <a:gdLst>
                <a:gd name="connsiteX0" fmla="*/ 1478513 w 1618413"/>
                <a:gd name="connsiteY0" fmla="*/ 177499 h 184076"/>
                <a:gd name="connsiteX1" fmla="*/ 1485084 w 1618413"/>
                <a:gd name="connsiteY1" fmla="*/ 177499 h 184076"/>
                <a:gd name="connsiteX2" fmla="*/ 1502686 w 1618413"/>
                <a:gd name="connsiteY2" fmla="*/ 178122 h 184076"/>
                <a:gd name="connsiteX3" fmla="*/ 1499879 w 1618413"/>
                <a:gd name="connsiteY3" fmla="*/ 178526 h 184076"/>
                <a:gd name="connsiteX4" fmla="*/ 1478513 w 1618413"/>
                <a:gd name="connsiteY4" fmla="*/ 177499 h 184076"/>
                <a:gd name="connsiteX5" fmla="*/ 84799 w 1618413"/>
                <a:gd name="connsiteY5" fmla="*/ 170928 h 184076"/>
                <a:gd name="connsiteX6" fmla="*/ 117666 w 1618413"/>
                <a:gd name="connsiteY6" fmla="*/ 177499 h 184076"/>
                <a:gd name="connsiteX7" fmla="*/ 104518 w 1618413"/>
                <a:gd name="connsiteY7" fmla="*/ 177499 h 184076"/>
                <a:gd name="connsiteX8" fmla="*/ 84799 w 1618413"/>
                <a:gd name="connsiteY8" fmla="*/ 170928 h 184076"/>
                <a:gd name="connsiteX9" fmla="*/ 1603418 w 1618413"/>
                <a:gd name="connsiteY9" fmla="*/ 0 h 184076"/>
                <a:gd name="connsiteX10" fmla="*/ 1616567 w 1618413"/>
                <a:gd name="connsiteY10" fmla="*/ 0 h 184076"/>
                <a:gd name="connsiteX11" fmla="*/ 1511177 w 1618413"/>
                <a:gd name="connsiteY11" fmla="*/ 178423 h 184076"/>
                <a:gd name="connsiteX12" fmla="*/ 1502686 w 1618413"/>
                <a:gd name="connsiteY12" fmla="*/ 178122 h 184076"/>
                <a:gd name="connsiteX13" fmla="*/ 1521501 w 1618413"/>
                <a:gd name="connsiteY13" fmla="*/ 175419 h 184076"/>
                <a:gd name="connsiteX14" fmla="*/ 1603418 w 1618413"/>
                <a:gd name="connsiteY14" fmla="*/ 6571 h 184076"/>
                <a:gd name="connsiteX15" fmla="*/ 5911 w 1618413"/>
                <a:gd name="connsiteY15" fmla="*/ 0 h 184076"/>
                <a:gd name="connsiteX16" fmla="*/ 19060 w 1618413"/>
                <a:gd name="connsiteY16" fmla="*/ 6571 h 184076"/>
                <a:gd name="connsiteX17" fmla="*/ 91379 w 1618413"/>
                <a:gd name="connsiteY17" fmla="*/ 184076 h 184076"/>
                <a:gd name="connsiteX18" fmla="*/ 5911 w 1618413"/>
                <a:gd name="connsiteY18" fmla="*/ 0 h 184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8413" h="184076">
                  <a:moveTo>
                    <a:pt x="1478513" y="177499"/>
                  </a:moveTo>
                  <a:lnTo>
                    <a:pt x="1485084" y="177499"/>
                  </a:lnTo>
                  <a:lnTo>
                    <a:pt x="1502686" y="178122"/>
                  </a:lnTo>
                  <a:lnTo>
                    <a:pt x="1499879" y="178526"/>
                  </a:lnTo>
                  <a:cubicBezTo>
                    <a:pt x="1487142" y="179142"/>
                    <a:pt x="1478513" y="177499"/>
                    <a:pt x="1478513" y="177499"/>
                  </a:cubicBezTo>
                  <a:close/>
                  <a:moveTo>
                    <a:pt x="84799" y="170928"/>
                  </a:moveTo>
                  <a:cubicBezTo>
                    <a:pt x="97947" y="177499"/>
                    <a:pt x="104518" y="177499"/>
                    <a:pt x="117666" y="177499"/>
                  </a:cubicBezTo>
                  <a:lnTo>
                    <a:pt x="104518" y="177499"/>
                  </a:lnTo>
                  <a:cubicBezTo>
                    <a:pt x="97947" y="177499"/>
                    <a:pt x="91370" y="177499"/>
                    <a:pt x="84799" y="170928"/>
                  </a:cubicBezTo>
                  <a:close/>
                  <a:moveTo>
                    <a:pt x="1603418" y="0"/>
                  </a:moveTo>
                  <a:lnTo>
                    <a:pt x="1616567" y="0"/>
                  </a:lnTo>
                  <a:cubicBezTo>
                    <a:pt x="1631361" y="152847"/>
                    <a:pt x="1553705" y="176266"/>
                    <a:pt x="1511177" y="178423"/>
                  </a:cubicBezTo>
                  <a:lnTo>
                    <a:pt x="1502686" y="178122"/>
                  </a:lnTo>
                  <a:lnTo>
                    <a:pt x="1521501" y="175419"/>
                  </a:lnTo>
                  <a:cubicBezTo>
                    <a:pt x="1560791" y="165788"/>
                    <a:pt x="1611636" y="129836"/>
                    <a:pt x="1603418" y="6571"/>
                  </a:cubicBezTo>
                  <a:close/>
                  <a:moveTo>
                    <a:pt x="5911" y="0"/>
                  </a:moveTo>
                  <a:lnTo>
                    <a:pt x="19060" y="6571"/>
                  </a:lnTo>
                  <a:cubicBezTo>
                    <a:pt x="19060" y="6571"/>
                    <a:pt x="-20385" y="144631"/>
                    <a:pt x="91379" y="184076"/>
                  </a:cubicBezTo>
                  <a:cubicBezTo>
                    <a:pt x="-33534" y="151202"/>
                    <a:pt x="5911" y="0"/>
                    <a:pt x="5911" y="0"/>
                  </a:cubicBezTo>
                  <a:close/>
                </a:path>
              </a:pathLst>
            </a:custGeom>
            <a:solidFill>
              <a:srgbClr val="4D4D4D"/>
            </a:solidFill>
            <a:ln w="9525" cap="flat">
              <a:noFill/>
              <a:prstDash val="solid"/>
              <a:miter/>
            </a:ln>
          </p:spPr>
          <p:txBody>
            <a:bodyPr rtlCol="0" anchor="ctr"/>
            <a:lstStyle/>
            <a:p>
              <a:pPr algn="l" defTabSz="1828800" hangingPunct="1"/>
              <a:endParaRPr lang="en-US" sz="3600" b="0" kern="1200" cap="none">
                <a:solidFill>
                  <a:prstClr val="black"/>
                </a:solidFill>
                <a:effectLst/>
                <a:latin typeface="Arial"/>
                <a:ea typeface="Arial Unicode MS"/>
                <a:cs typeface="+mn-cs"/>
              </a:endParaRPr>
            </a:p>
          </p:txBody>
        </p:sp>
        <p:grpSp>
          <p:nvGrpSpPr>
            <p:cNvPr id="16" name="Group 15">
              <a:extLst>
                <a:ext uri="{FF2B5EF4-FFF2-40B4-BE49-F238E27FC236}">
                  <a16:creationId xmlns:a16="http://schemas.microsoft.com/office/drawing/2014/main" id="{D1A1B449-1213-48BE-A88A-09061B951D24}"/>
                </a:ext>
              </a:extLst>
            </p:cNvPr>
            <p:cNvGrpSpPr/>
            <p:nvPr/>
          </p:nvGrpSpPr>
          <p:grpSpPr>
            <a:xfrm>
              <a:off x="1606" y="6382978"/>
              <a:ext cx="413937" cy="115242"/>
              <a:chOff x="5955" y="6353672"/>
              <a:chExt cx="413937" cy="115242"/>
            </a:xfrm>
          </p:grpSpPr>
          <p:sp>
            <p:nvSpPr>
              <p:cNvPr id="21" name="Rectangle: Rounded Corners 20">
                <a:extLst>
                  <a:ext uri="{FF2B5EF4-FFF2-40B4-BE49-F238E27FC236}">
                    <a16:creationId xmlns:a16="http://schemas.microsoft.com/office/drawing/2014/main" id="{3FCFE97C-66F9-4A5F-8C1D-994956BCA1F7}"/>
                  </a:ext>
                </a:extLst>
              </p:cNvPr>
              <p:cNvSpPr/>
              <p:nvPr/>
            </p:nvSpPr>
            <p:spPr>
              <a:xfrm>
                <a:off x="5955" y="6353672"/>
                <a:ext cx="413937" cy="115242"/>
              </a:xfrm>
              <a:prstGeom prst="roundRect">
                <a:avLst>
                  <a:gd name="adj" fmla="val 28154"/>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endParaRPr lang="en-US" sz="3600" b="0" kern="1200" cap="none">
                  <a:solidFill>
                    <a:prstClr val="white"/>
                  </a:solidFill>
                  <a:effectLst/>
                </a:endParaRPr>
              </a:p>
            </p:txBody>
          </p:sp>
          <p:sp>
            <p:nvSpPr>
              <p:cNvPr id="22" name="Rectangle: Rounded Corners 21">
                <a:extLst>
                  <a:ext uri="{FF2B5EF4-FFF2-40B4-BE49-F238E27FC236}">
                    <a16:creationId xmlns:a16="http://schemas.microsoft.com/office/drawing/2014/main" id="{17B0A71D-C895-41E3-94E0-8F853FBA3741}"/>
                  </a:ext>
                </a:extLst>
              </p:cNvPr>
              <p:cNvSpPr/>
              <p:nvPr/>
            </p:nvSpPr>
            <p:spPr>
              <a:xfrm>
                <a:off x="99417" y="6382279"/>
                <a:ext cx="227012" cy="55272"/>
              </a:xfrm>
              <a:prstGeom prst="roundRect">
                <a:avLst>
                  <a:gd name="adj" fmla="val 28154"/>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endParaRPr lang="en-US" sz="3600" b="0" kern="1200" cap="none">
                  <a:solidFill>
                    <a:prstClr val="white"/>
                  </a:solidFill>
                  <a:effectLst/>
                </a:endParaRPr>
              </a:p>
            </p:txBody>
          </p:sp>
        </p:grpSp>
        <p:grpSp>
          <p:nvGrpSpPr>
            <p:cNvPr id="17" name="Group 16">
              <a:extLst>
                <a:ext uri="{FF2B5EF4-FFF2-40B4-BE49-F238E27FC236}">
                  <a16:creationId xmlns:a16="http://schemas.microsoft.com/office/drawing/2014/main" id="{0D3B63A6-6209-44A8-9E1D-4572CA485648}"/>
                </a:ext>
              </a:extLst>
            </p:cNvPr>
            <p:cNvGrpSpPr/>
            <p:nvPr/>
          </p:nvGrpSpPr>
          <p:grpSpPr>
            <a:xfrm>
              <a:off x="9855291" y="6381600"/>
              <a:ext cx="885989" cy="115242"/>
              <a:chOff x="5955" y="6353672"/>
              <a:chExt cx="413937" cy="115242"/>
            </a:xfrm>
          </p:grpSpPr>
          <p:sp>
            <p:nvSpPr>
              <p:cNvPr id="19" name="Rectangle: Rounded Corners 18">
                <a:extLst>
                  <a:ext uri="{FF2B5EF4-FFF2-40B4-BE49-F238E27FC236}">
                    <a16:creationId xmlns:a16="http://schemas.microsoft.com/office/drawing/2014/main" id="{2F4F5958-97EF-43C0-B151-86170967B662}"/>
                  </a:ext>
                </a:extLst>
              </p:cNvPr>
              <p:cNvSpPr/>
              <p:nvPr/>
            </p:nvSpPr>
            <p:spPr>
              <a:xfrm>
                <a:off x="5955" y="6353672"/>
                <a:ext cx="413937" cy="115242"/>
              </a:xfrm>
              <a:prstGeom prst="roundRect">
                <a:avLst>
                  <a:gd name="adj" fmla="val 28154"/>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endParaRPr lang="en-US" sz="3600" b="0" kern="1200" cap="none">
                  <a:solidFill>
                    <a:prstClr val="white"/>
                  </a:solidFill>
                  <a:effectLst/>
                </a:endParaRPr>
              </a:p>
            </p:txBody>
          </p:sp>
          <p:sp>
            <p:nvSpPr>
              <p:cNvPr id="20" name="Rectangle: Rounded Corners 19">
                <a:extLst>
                  <a:ext uri="{FF2B5EF4-FFF2-40B4-BE49-F238E27FC236}">
                    <a16:creationId xmlns:a16="http://schemas.microsoft.com/office/drawing/2014/main" id="{028C4149-E8B4-4C30-AC59-38C900DEF9B8}"/>
                  </a:ext>
                </a:extLst>
              </p:cNvPr>
              <p:cNvSpPr/>
              <p:nvPr/>
            </p:nvSpPr>
            <p:spPr>
              <a:xfrm>
                <a:off x="84761" y="6382279"/>
                <a:ext cx="256326" cy="55272"/>
              </a:xfrm>
              <a:prstGeom prst="roundRect">
                <a:avLst>
                  <a:gd name="adj" fmla="val 28154"/>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endParaRPr lang="en-US" sz="3600" b="0" kern="1200" cap="none" dirty="0">
                  <a:solidFill>
                    <a:prstClr val="white"/>
                  </a:solidFill>
                  <a:effectLst/>
                </a:endParaRPr>
              </a:p>
            </p:txBody>
          </p:sp>
        </p:grpSp>
        <p:sp>
          <p:nvSpPr>
            <p:cNvPr id="18" name="Freeform: Shape 17">
              <a:extLst>
                <a:ext uri="{FF2B5EF4-FFF2-40B4-BE49-F238E27FC236}">
                  <a16:creationId xmlns:a16="http://schemas.microsoft.com/office/drawing/2014/main" id="{FC207E51-2792-46D0-BBED-0C13978AC464}"/>
                </a:ext>
              </a:extLst>
            </p:cNvPr>
            <p:cNvSpPr/>
            <p:nvPr/>
          </p:nvSpPr>
          <p:spPr>
            <a:xfrm>
              <a:off x="3892805" y="496953"/>
              <a:ext cx="5479036" cy="5431217"/>
            </a:xfrm>
            <a:custGeom>
              <a:avLst/>
              <a:gdLst>
                <a:gd name="connsiteX0" fmla="*/ 2567127 w 4009217"/>
                <a:gd name="connsiteY0" fmla="*/ 30683 h 4295590"/>
                <a:gd name="connsiteX1" fmla="*/ 3798529 w 4009217"/>
                <a:gd name="connsiteY1" fmla="*/ 30683 h 4295590"/>
                <a:gd name="connsiteX2" fmla="*/ 4007172 w 4009217"/>
                <a:gd name="connsiteY2" fmla="*/ 272054 h 4295590"/>
                <a:gd name="connsiteX3" fmla="*/ 3998990 w 4009217"/>
                <a:gd name="connsiteY3" fmla="*/ 4268999 h 4295590"/>
                <a:gd name="connsiteX4" fmla="*/ 30683 w 4009217"/>
                <a:gd name="connsiteY4" fmla="*/ 4268999 h 4295590"/>
                <a:gd name="connsiteX0" fmla="*/ 2536444 w 3976489"/>
                <a:gd name="connsiteY0" fmla="*/ 0 h 4238316"/>
                <a:gd name="connsiteX1" fmla="*/ 3976489 w 3976489"/>
                <a:gd name="connsiteY1" fmla="*/ 241371 h 4238316"/>
                <a:gd name="connsiteX2" fmla="*/ 3968307 w 3976489"/>
                <a:gd name="connsiteY2" fmla="*/ 4238316 h 4238316"/>
                <a:gd name="connsiteX3" fmla="*/ 0 w 3976489"/>
                <a:gd name="connsiteY3" fmla="*/ 4238316 h 4238316"/>
                <a:gd name="connsiteX0" fmla="*/ 2536444 w 3976489"/>
                <a:gd name="connsiteY0" fmla="*/ 0 h 4238316"/>
                <a:gd name="connsiteX1" fmla="*/ 3976489 w 3976489"/>
                <a:gd name="connsiteY1" fmla="*/ 213683 h 4238316"/>
                <a:gd name="connsiteX2" fmla="*/ 3968307 w 3976489"/>
                <a:gd name="connsiteY2" fmla="*/ 4238316 h 4238316"/>
                <a:gd name="connsiteX3" fmla="*/ 0 w 3976489"/>
                <a:gd name="connsiteY3" fmla="*/ 4238316 h 4238316"/>
                <a:gd name="connsiteX0" fmla="*/ 2473335 w 3976489"/>
                <a:gd name="connsiteY0" fmla="*/ 0 h 4035268"/>
                <a:gd name="connsiteX1" fmla="*/ 3976489 w 3976489"/>
                <a:gd name="connsiteY1" fmla="*/ 10635 h 4035268"/>
                <a:gd name="connsiteX2" fmla="*/ 3968307 w 3976489"/>
                <a:gd name="connsiteY2" fmla="*/ 4035268 h 4035268"/>
                <a:gd name="connsiteX3" fmla="*/ 0 w 3976489"/>
                <a:gd name="connsiteY3" fmla="*/ 4035268 h 4035268"/>
              </a:gdLst>
              <a:ahLst/>
              <a:cxnLst>
                <a:cxn ang="0">
                  <a:pos x="connsiteX0" y="connsiteY0"/>
                </a:cxn>
                <a:cxn ang="0">
                  <a:pos x="connsiteX1" y="connsiteY1"/>
                </a:cxn>
                <a:cxn ang="0">
                  <a:pos x="connsiteX2" y="connsiteY2"/>
                </a:cxn>
                <a:cxn ang="0">
                  <a:pos x="connsiteX3" y="connsiteY3"/>
                </a:cxn>
              </a:cxnLst>
              <a:rect l="l" t="t" r="r" b="b"/>
              <a:pathLst>
                <a:path w="3976489" h="4035268">
                  <a:moveTo>
                    <a:pt x="2473335" y="0"/>
                  </a:moveTo>
                  <a:lnTo>
                    <a:pt x="3976489" y="10635"/>
                  </a:lnTo>
                  <a:cubicBezTo>
                    <a:pt x="3973762" y="1342950"/>
                    <a:pt x="3971034" y="2702953"/>
                    <a:pt x="3968307" y="4035268"/>
                  </a:cubicBezTo>
                  <a:lnTo>
                    <a:pt x="0" y="4035268"/>
                  </a:lnTo>
                </a:path>
              </a:pathLst>
            </a:custGeom>
            <a:solidFill>
              <a:srgbClr val="999999">
                <a:alpha val="10000"/>
              </a:srgbClr>
            </a:solidFill>
            <a:ln w="9525" cap="flat">
              <a:noFill/>
              <a:prstDash val="solid"/>
              <a:miter/>
            </a:ln>
          </p:spPr>
          <p:txBody>
            <a:bodyPr rtlCol="0" anchor="ctr"/>
            <a:lstStyle/>
            <a:p>
              <a:pPr algn="l" defTabSz="1828800" hangingPunct="1"/>
              <a:endParaRPr lang="en-US" sz="3600" b="0" kern="1200" cap="none" dirty="0">
                <a:solidFill>
                  <a:prstClr val="black"/>
                </a:solidFill>
                <a:effectLst/>
                <a:latin typeface="Arial"/>
                <a:ea typeface="Arial Unicode MS"/>
                <a:cs typeface="+mn-cs"/>
              </a:endParaRPr>
            </a:p>
          </p:txBody>
        </p:sp>
      </p:grpSp>
      <p:sp>
        <p:nvSpPr>
          <p:cNvPr id="8" name="그림 개체 틀 2">
            <a:extLst>
              <a:ext uri="{FF2B5EF4-FFF2-40B4-BE49-F238E27FC236}">
                <a16:creationId xmlns:a16="http://schemas.microsoft.com/office/drawing/2014/main" id="{F7C4B306-2CF4-4EB6-8CBC-23F4D855C74D}"/>
              </a:ext>
            </a:extLst>
          </p:cNvPr>
          <p:cNvSpPr>
            <a:spLocks noGrp="1"/>
          </p:cNvSpPr>
          <p:nvPr>
            <p:ph type="pic" sz="quarter" idx="14" hasCustomPrompt="1"/>
          </p:nvPr>
        </p:nvSpPr>
        <p:spPr>
          <a:xfrm>
            <a:off x="2504877" y="5177753"/>
            <a:ext cx="7893158" cy="4769478"/>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2400" dirty="0">
                <a:solidFill>
                  <a:schemeClr val="tx1">
                    <a:lumMod val="75000"/>
                    <a:lumOff val="25000"/>
                  </a:schemeClr>
                </a:solidFill>
              </a:defRPr>
            </a:lvl1pPr>
          </a:lstStyle>
          <a:p>
            <a:pPr marL="0" lvl="0" algn="ctr"/>
            <a:r>
              <a:rPr lang="en-US" altLang="ko-KR" dirty="0"/>
              <a:t>Place Your Picture Here</a:t>
            </a:r>
            <a:endParaRPr lang="ko-KR" altLang="en-US" dirty="0"/>
          </a:p>
        </p:txBody>
      </p:sp>
      <p:sp>
        <p:nvSpPr>
          <p:cNvPr id="9" name="Text Placeholder 9">
            <a:extLst>
              <a:ext uri="{FF2B5EF4-FFF2-40B4-BE49-F238E27FC236}">
                <a16:creationId xmlns:a16="http://schemas.microsoft.com/office/drawing/2014/main" id="{6B349E92-4877-461B-84CD-9141B175C0AD}"/>
              </a:ext>
            </a:extLst>
          </p:cNvPr>
          <p:cNvSpPr>
            <a:spLocks noGrp="1"/>
          </p:cNvSpPr>
          <p:nvPr>
            <p:ph type="body" sz="quarter" idx="10" hasCustomPrompt="1"/>
          </p:nvPr>
        </p:nvSpPr>
        <p:spPr>
          <a:xfrm>
            <a:off x="647059" y="679019"/>
            <a:ext cx="23146394" cy="1448494"/>
          </a:xfrm>
          <a:prstGeom prst="rect">
            <a:avLst/>
          </a:prstGeom>
        </p:spPr>
        <p:txBody>
          <a:bodyPr anchor="ctr"/>
          <a:lstStyle>
            <a:lvl1pPr marL="0" indent="0" algn="ctr">
              <a:buNone/>
              <a:defRPr sz="10800" b="0" baseline="0">
                <a:solidFill>
                  <a:schemeClr val="tx1">
                    <a:lumMod val="85000"/>
                    <a:lumOff val="15000"/>
                  </a:schemeClr>
                </a:solidFill>
                <a:latin typeface="+mj-lt"/>
                <a:cs typeface="Arial" pitchFamily="34" charset="0"/>
              </a:defRPr>
            </a:lvl1pPr>
          </a:lstStyle>
          <a:p>
            <a:pPr lvl="0"/>
            <a:r>
              <a:rPr lang="en-US" altLang="ko-KR" dirty="0"/>
              <a:t>BASIC LAYOUT</a:t>
            </a:r>
          </a:p>
        </p:txBody>
      </p:sp>
    </p:spTree>
    <p:extLst>
      <p:ext uri="{BB962C8B-B14F-4D97-AF65-F5344CB8AC3E}">
        <p14:creationId xmlns:p14="http://schemas.microsoft.com/office/powerpoint/2010/main" val="216264732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4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650495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5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857106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6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01893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4032" y="3177"/>
          <a:ext cx="4032" cy="3176"/>
        </p:xfrm>
        <a:graphic>
          <a:graphicData uri="http://schemas.openxmlformats.org/presentationml/2006/ole">
            <mc:AlternateContent xmlns:mc="http://schemas.openxmlformats.org/markup-compatibility/2006">
              <mc:Choice xmlns:v="urn:schemas-microsoft-com:vml" Requires="v">
                <p:oleObj spid="_x0000_s5156"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4032" y="3177"/>
                        <a:ext cx="4032" cy="3176"/>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5600"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sp>
        <p:nvSpPr>
          <p:cNvPr id="8" name="PanelGray"/>
          <p:cNvSpPr/>
          <p:nvPr userDrawn="1"/>
        </p:nvSpPr>
        <p:spPr bwMode="ltGray">
          <a:xfrm>
            <a:off x="3" y="5"/>
            <a:ext cx="9469595" cy="1371861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0" marR="0" lvl="0" indent="0" algn="l" defTabSz="2116120" rtl="0" eaLnBrk="1" fontAlgn="auto" latinLnBrk="0" hangingPunct="1">
              <a:lnSpc>
                <a:spcPct val="90000"/>
              </a:lnSpc>
              <a:spcBef>
                <a:spcPts val="0"/>
              </a:spcBef>
              <a:spcAft>
                <a:spcPts val="200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aramond"/>
              <a:ea typeface="+mn-ea"/>
              <a:cs typeface="+mn-cs"/>
              <a:sym typeface="+mn-lt"/>
            </a:endParaRPr>
          </a:p>
        </p:txBody>
      </p:sp>
      <p:sp>
        <p:nvSpPr>
          <p:cNvPr id="3" name="Date Placeholder 2"/>
          <p:cNvSpPr>
            <a:spLocks noGrp="1"/>
          </p:cNvSpPr>
          <p:nvPr>
            <p:ph type="dt" sz="half" idx="10"/>
          </p:nvPr>
        </p:nvSpPr>
        <p:spPr>
          <a:xfrm>
            <a:off x="20037833" y="12810073"/>
            <a:ext cx="1928824" cy="307777"/>
          </a:xfrm>
          <a:prstGeom prst="rect">
            <a:avLst/>
          </a:prstGeom>
        </p:spPr>
        <p:txBody>
          <a:bodyPr/>
          <a:lstStyle>
            <a:lvl1pPr>
              <a:defRPr>
                <a:latin typeface="+mn-lt"/>
                <a:ea typeface="+mn-ea"/>
                <a:cs typeface="+mn-cs"/>
                <a:sym typeface="+mn-lt"/>
              </a:defRPr>
            </a:lvl1pPr>
          </a:lstStyle>
          <a:p>
            <a:pPr defTabSz="2116120" hangingPunct="1"/>
            <a:fld id="{6F604ACA-15A4-437B-9AEC-B32816048682}" type="datetime1">
              <a:rPr lang="en-US" b="0" kern="1200" cap="none" smtClean="0">
                <a:solidFill>
                  <a:prstClr val="white">
                    <a:lumMod val="50000"/>
                  </a:prstClr>
                </a:solidFill>
                <a:effectLst/>
              </a:rPr>
              <a:t>5/6/21</a:t>
            </a:fld>
            <a:endParaRPr lang="en-US" b="0" kern="1200" cap="none" dirty="0">
              <a:solidFill>
                <a:prstClr val="white">
                  <a:lumMod val="50000"/>
                </a:prstClr>
              </a:solidFill>
              <a:effectLst/>
            </a:endParaRPr>
          </a:p>
        </p:txBody>
      </p:sp>
      <p:sp>
        <p:nvSpPr>
          <p:cNvPr id="7" name="Copyright" hidden="1"/>
          <p:cNvSpPr txBox="1"/>
          <p:nvPr userDrawn="1"/>
        </p:nvSpPr>
        <p:spPr>
          <a:xfrm rot="16200000">
            <a:off x="18899103" y="7844997"/>
            <a:ext cx="10267949" cy="193899"/>
          </a:xfrm>
          <a:prstGeom prst="rect">
            <a:avLst/>
          </a:prstGeom>
          <a:noFill/>
        </p:spPr>
        <p:txBody>
          <a:bodyPr wrap="square" lIns="0" tIns="0" rIns="0" bIns="0" rtlCol="0" anchor="t">
            <a:spAutoFit/>
          </a:bodyPr>
          <a:lstStyle/>
          <a:p>
            <a:pPr marL="0" marR="0" lvl="0" indent="0" algn="l" defTabSz="211612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prstClr val="white">
                    <a:lumMod val="50000"/>
                  </a:prstClr>
                </a:solidFill>
                <a:effectLst/>
                <a:uLnTx/>
                <a:uFillTx/>
                <a:latin typeface="Garamond"/>
                <a:ea typeface="+mn-ea"/>
                <a:cs typeface="+mn-cs"/>
                <a:sym typeface="+mn-lt"/>
              </a:rPr>
              <a:t>Copyright © 2020 by Boston Consulting Group. All rights reserved.</a:t>
            </a:r>
          </a:p>
        </p:txBody>
      </p:sp>
      <p:sp>
        <p:nvSpPr>
          <p:cNvPr id="9" name="Title 1"/>
          <p:cNvSpPr>
            <a:spLocks noGrp="1"/>
          </p:cNvSpPr>
          <p:nvPr>
            <p:ph type="title" hasCustomPrompt="1"/>
          </p:nvPr>
        </p:nvSpPr>
        <p:spPr bwMode="ltGray">
          <a:xfrm>
            <a:off x="1260000" y="3088547"/>
            <a:ext cx="7019947" cy="2991589"/>
          </a:xfrm>
          <a:noFill/>
        </p:spPr>
        <p:txBody>
          <a:bodyPr wrap="square" lIns="0" tIns="0" rIns="320040" bIns="0" anchor="b">
            <a:noAutofit/>
          </a:bodyPr>
          <a:lstStyle>
            <a:lvl1pPr>
              <a:defRPr sz="56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7730231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NG sets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647059" y="664965"/>
            <a:ext cx="23146394" cy="1448494"/>
          </a:xfrm>
          <a:prstGeom prst="rect">
            <a:avLst/>
          </a:prstGeom>
        </p:spPr>
        <p:txBody>
          <a:bodyPr anchor="ctr"/>
          <a:lstStyle>
            <a:lvl1pPr marL="0" indent="0" algn="ctr">
              <a:buNone/>
              <a:defRPr sz="10800" b="0" baseline="0">
                <a:solidFill>
                  <a:schemeClr val="tx1">
                    <a:lumMod val="85000"/>
                    <a:lumOff val="15000"/>
                  </a:schemeClr>
                </a:solidFill>
                <a:latin typeface="+mj-lt"/>
                <a:cs typeface="Arial" pitchFamily="34" charset="0"/>
              </a:defRPr>
            </a:lvl1pPr>
          </a:lstStyle>
          <a:p>
            <a:pPr lvl="0"/>
            <a:r>
              <a:rPr lang="en-US" altLang="ko-KR" dirty="0"/>
              <a:t>PNG &amp; Shapes Layout</a:t>
            </a:r>
          </a:p>
        </p:txBody>
      </p:sp>
    </p:spTree>
    <p:extLst>
      <p:ext uri="{BB962C8B-B14F-4D97-AF65-F5344CB8AC3E}">
        <p14:creationId xmlns:p14="http://schemas.microsoft.com/office/powerpoint/2010/main" val="396365173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Icon sets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647059" y="246957"/>
            <a:ext cx="23146394" cy="1448494"/>
          </a:xfrm>
          <a:prstGeom prst="rect">
            <a:avLst/>
          </a:prstGeom>
        </p:spPr>
        <p:txBody>
          <a:bodyPr anchor="ctr"/>
          <a:lstStyle>
            <a:lvl1pPr marL="0" indent="0" algn="ctr">
              <a:buNone/>
              <a:defRPr sz="10800" b="0" baseline="0">
                <a:solidFill>
                  <a:schemeClr val="tx1">
                    <a:lumMod val="85000"/>
                    <a:lumOff val="15000"/>
                  </a:schemeClr>
                </a:solidFill>
                <a:latin typeface="+mj-lt"/>
                <a:cs typeface="Arial" pitchFamily="34" charset="0"/>
              </a:defRPr>
            </a:lvl1pPr>
          </a:lstStyle>
          <a:p>
            <a:pPr lvl="0"/>
            <a:r>
              <a:rPr lang="en-US" altLang="ko-KR" dirty="0"/>
              <a:t>Icon Sets Layout</a:t>
            </a:r>
          </a:p>
        </p:txBody>
      </p:sp>
      <p:sp>
        <p:nvSpPr>
          <p:cNvPr id="3" name="Rounded Rectangle 2"/>
          <p:cNvSpPr/>
          <p:nvPr userDrawn="1"/>
        </p:nvSpPr>
        <p:spPr>
          <a:xfrm>
            <a:off x="708021" y="2263183"/>
            <a:ext cx="7121534" cy="10805122"/>
          </a:xfrm>
          <a:prstGeom prst="roundRect">
            <a:avLst>
              <a:gd name="adj" fmla="val 396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endParaRPr lang="ko-KR" altLang="en-US" sz="2702" b="0" kern="1200" cap="none">
              <a:solidFill>
                <a:prstClr val="white"/>
              </a:solidFill>
              <a:effectLst/>
            </a:endParaRPr>
          </a:p>
        </p:txBody>
      </p:sp>
      <p:sp>
        <p:nvSpPr>
          <p:cNvPr id="4" name="Rounded Rectangle 3"/>
          <p:cNvSpPr/>
          <p:nvPr userDrawn="1"/>
        </p:nvSpPr>
        <p:spPr>
          <a:xfrm>
            <a:off x="1063866" y="2695000"/>
            <a:ext cx="307736" cy="10030400"/>
          </a:xfrm>
          <a:prstGeom prst="roundRect">
            <a:avLst>
              <a:gd name="adj" fmla="val 50000"/>
            </a:avLst>
          </a:prstGeom>
          <a:solidFill>
            <a:schemeClr val="bg1">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endParaRPr lang="ko-KR" altLang="en-US" sz="2702" b="0" kern="1200" cap="none">
              <a:solidFill>
                <a:prstClr val="white"/>
              </a:solidFill>
              <a:effectLst/>
            </a:endParaRPr>
          </a:p>
        </p:txBody>
      </p:sp>
      <p:sp>
        <p:nvSpPr>
          <p:cNvPr id="5" name="Half Frame 4"/>
          <p:cNvSpPr/>
          <p:nvPr userDrawn="1"/>
        </p:nvSpPr>
        <p:spPr>
          <a:xfrm rot="5400000">
            <a:off x="6114355" y="2553306"/>
            <a:ext cx="1371698" cy="1370296"/>
          </a:xfrm>
          <a:prstGeom prst="halfFrame">
            <a:avLst>
              <a:gd name="adj1" fmla="val 23728"/>
              <a:gd name="adj2" fmla="val 24642"/>
            </a:avLst>
          </a:prstGeom>
          <a:solidFill>
            <a:schemeClr val="bg1">
              <a:alpha val="2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828800" hangingPunct="1"/>
            <a:endParaRPr lang="ko-KR" altLang="en-US" sz="2702" b="0" kern="1200" cap="none">
              <a:solidFill>
                <a:prstClr val="black">
                  <a:lumMod val="85000"/>
                  <a:lumOff val="15000"/>
                </a:prstClr>
              </a:solidFill>
              <a:effectLst/>
            </a:endParaRPr>
          </a:p>
        </p:txBody>
      </p:sp>
      <p:sp>
        <p:nvSpPr>
          <p:cNvPr id="58" name="TextBox 57">
            <a:extLst>
              <a:ext uri="{FF2B5EF4-FFF2-40B4-BE49-F238E27FC236}">
                <a16:creationId xmlns:a16="http://schemas.microsoft.com/office/drawing/2014/main" id="{5644E8BB-F13A-4AE0-889E-633DE4143787}"/>
              </a:ext>
            </a:extLst>
          </p:cNvPr>
          <p:cNvSpPr txBox="1"/>
          <p:nvPr userDrawn="1"/>
        </p:nvSpPr>
        <p:spPr>
          <a:xfrm>
            <a:off x="1423408" y="3320596"/>
            <a:ext cx="4464496" cy="954107"/>
          </a:xfrm>
          <a:prstGeom prst="rect">
            <a:avLst/>
          </a:prstGeom>
          <a:noFill/>
        </p:spPr>
        <p:txBody>
          <a:bodyPr wrap="square" rtlCol="0" anchor="ctr">
            <a:spAutoFit/>
          </a:bodyPr>
          <a:lstStyle/>
          <a:p>
            <a:pPr algn="l" defTabSz="1828800" hangingPunct="1"/>
            <a:r>
              <a:rPr lang="en-US" altLang="ko-KR" sz="2800" kern="1200" cap="none" dirty="0">
                <a:solidFill>
                  <a:prstClr val="white"/>
                </a:solidFill>
                <a:effectLst/>
                <a:latin typeface="Arial" pitchFamily="34" charset="0"/>
                <a:ea typeface="Arial Unicode MS"/>
                <a:cs typeface="Arial" pitchFamily="34" charset="0"/>
              </a:rPr>
              <a:t>You can Resize without losing quality</a:t>
            </a:r>
            <a:endParaRPr lang="ko-KR" altLang="en-US" sz="2800" kern="1200" cap="none" dirty="0">
              <a:solidFill>
                <a:prstClr val="white"/>
              </a:solidFill>
              <a:effectLst/>
              <a:latin typeface="Arial" pitchFamily="34" charset="0"/>
              <a:ea typeface="Arial Unicode MS"/>
              <a:cs typeface="Arial" pitchFamily="34" charset="0"/>
            </a:endParaRPr>
          </a:p>
        </p:txBody>
      </p:sp>
      <p:sp>
        <p:nvSpPr>
          <p:cNvPr id="59" name="TextBox 58">
            <a:extLst>
              <a:ext uri="{FF2B5EF4-FFF2-40B4-BE49-F238E27FC236}">
                <a16:creationId xmlns:a16="http://schemas.microsoft.com/office/drawing/2014/main" id="{F2CE2B8B-ED32-491A-95B2-D28904BC432C}"/>
              </a:ext>
            </a:extLst>
          </p:cNvPr>
          <p:cNvSpPr txBox="1"/>
          <p:nvPr userDrawn="1"/>
        </p:nvSpPr>
        <p:spPr>
          <a:xfrm>
            <a:off x="1423408" y="4301092"/>
            <a:ext cx="4464496" cy="1384995"/>
          </a:xfrm>
          <a:prstGeom prst="rect">
            <a:avLst/>
          </a:prstGeom>
          <a:noFill/>
        </p:spPr>
        <p:txBody>
          <a:bodyPr wrap="square" rtlCol="0" anchor="ctr">
            <a:spAutoFit/>
          </a:bodyPr>
          <a:lstStyle/>
          <a:p>
            <a:pPr algn="l" defTabSz="1828800" hangingPunct="1"/>
            <a:r>
              <a:rPr lang="en-US" altLang="ko-KR" sz="2800" kern="1200" cap="none" dirty="0">
                <a:solidFill>
                  <a:prstClr val="white"/>
                </a:solidFill>
                <a:effectLst/>
                <a:latin typeface="Arial" pitchFamily="34" charset="0"/>
                <a:ea typeface="Arial Unicode MS"/>
                <a:cs typeface="Arial" pitchFamily="34" charset="0"/>
              </a:rPr>
              <a:t>You can Change Fill Color &amp;</a:t>
            </a:r>
          </a:p>
          <a:p>
            <a:pPr algn="l" defTabSz="1828800" hangingPunct="1"/>
            <a:r>
              <a:rPr lang="en-US" altLang="ko-KR" sz="2800" kern="1200" cap="none" dirty="0">
                <a:solidFill>
                  <a:prstClr val="white"/>
                </a:solidFill>
                <a:effectLst/>
                <a:latin typeface="Arial" pitchFamily="34" charset="0"/>
                <a:ea typeface="Arial Unicode MS"/>
                <a:cs typeface="Arial" pitchFamily="34" charset="0"/>
              </a:rPr>
              <a:t>Line Color</a:t>
            </a:r>
            <a:endParaRPr lang="ko-KR" altLang="en-US" sz="2800" kern="1200" cap="none" dirty="0">
              <a:solidFill>
                <a:prstClr val="white"/>
              </a:solidFill>
              <a:effectLst/>
              <a:latin typeface="Arial" pitchFamily="34" charset="0"/>
              <a:ea typeface="Arial Unicode MS"/>
              <a:cs typeface="Arial" pitchFamily="34" charset="0"/>
            </a:endParaRPr>
          </a:p>
        </p:txBody>
      </p:sp>
      <p:sp>
        <p:nvSpPr>
          <p:cNvPr id="60" name="TextBox 59">
            <a:extLst>
              <a:ext uri="{FF2B5EF4-FFF2-40B4-BE49-F238E27FC236}">
                <a16:creationId xmlns:a16="http://schemas.microsoft.com/office/drawing/2014/main" id="{962A52DF-2523-4479-BFA3-B5ACE9887E1C}"/>
              </a:ext>
            </a:extLst>
          </p:cNvPr>
          <p:cNvSpPr txBox="1"/>
          <p:nvPr userDrawn="1"/>
        </p:nvSpPr>
        <p:spPr>
          <a:xfrm>
            <a:off x="1442458" y="11663044"/>
            <a:ext cx="4464000" cy="523220"/>
          </a:xfrm>
          <a:prstGeom prst="rect">
            <a:avLst/>
          </a:prstGeom>
          <a:noFill/>
        </p:spPr>
        <p:txBody>
          <a:bodyPr wrap="square" rtlCol="0" anchor="ctr">
            <a:spAutoFit/>
          </a:bodyPr>
          <a:lstStyle/>
          <a:p>
            <a:pPr algn="l" defTabSz="1828800" hangingPunct="1"/>
            <a:r>
              <a:rPr lang="en-US" altLang="ko-KR" sz="2800" b="0" kern="1200" cap="none" dirty="0">
                <a:solidFill>
                  <a:prstClr val="white"/>
                </a:solidFill>
                <a:effectLst/>
                <a:latin typeface="Arial" pitchFamily="34" charset="0"/>
                <a:ea typeface="Arial Unicode MS"/>
                <a:cs typeface="Arial" pitchFamily="34" charset="0"/>
              </a:rPr>
              <a:t>www.allppt.com</a:t>
            </a:r>
            <a:endParaRPr lang="ko-KR" altLang="en-US" sz="2800" b="0" kern="1200" cap="none" dirty="0">
              <a:solidFill>
                <a:prstClr val="white"/>
              </a:solidFill>
              <a:effectLst/>
              <a:latin typeface="Arial" pitchFamily="34" charset="0"/>
              <a:ea typeface="Arial Unicode MS"/>
              <a:cs typeface="Arial" pitchFamily="34" charset="0"/>
            </a:endParaRPr>
          </a:p>
        </p:txBody>
      </p:sp>
      <p:sp>
        <p:nvSpPr>
          <p:cNvPr id="61" name="TextBox 60">
            <a:extLst>
              <a:ext uri="{FF2B5EF4-FFF2-40B4-BE49-F238E27FC236}">
                <a16:creationId xmlns:a16="http://schemas.microsoft.com/office/drawing/2014/main" id="{BAAC314F-E96A-4408-95DE-A70E9ED054AF}"/>
              </a:ext>
            </a:extLst>
          </p:cNvPr>
          <p:cNvSpPr txBox="1"/>
          <p:nvPr userDrawn="1"/>
        </p:nvSpPr>
        <p:spPr>
          <a:xfrm>
            <a:off x="1442458" y="8946816"/>
            <a:ext cx="5434592" cy="2677656"/>
          </a:xfrm>
          <a:prstGeom prst="rect">
            <a:avLst/>
          </a:prstGeom>
          <a:noFill/>
        </p:spPr>
        <p:txBody>
          <a:bodyPr wrap="square" rtlCol="0" anchor="ctr">
            <a:spAutoFit/>
          </a:bodyPr>
          <a:lstStyle/>
          <a:p>
            <a:pPr algn="l" defTabSz="1828800" hangingPunct="1"/>
            <a:r>
              <a:rPr lang="en-US" altLang="ko-KR" sz="5600" kern="1200" cap="none" dirty="0">
                <a:solidFill>
                  <a:prstClr val="white"/>
                </a:solidFill>
                <a:effectLst/>
                <a:latin typeface="Arial"/>
                <a:ea typeface="Arial Unicode MS"/>
                <a:cs typeface="Arial" pitchFamily="34" charset="0"/>
              </a:rPr>
              <a:t>FREE </a:t>
            </a:r>
          </a:p>
          <a:p>
            <a:pPr algn="l" defTabSz="1828800" hangingPunct="1"/>
            <a:r>
              <a:rPr lang="en-US" altLang="ko-KR" sz="5600" kern="1200" cap="none" dirty="0">
                <a:solidFill>
                  <a:prstClr val="white"/>
                </a:solidFill>
                <a:effectLst/>
                <a:latin typeface="Arial"/>
                <a:ea typeface="Arial Unicode MS"/>
                <a:cs typeface="Arial" pitchFamily="34" charset="0"/>
              </a:rPr>
              <a:t>PPT TEMPLATES</a:t>
            </a:r>
          </a:p>
        </p:txBody>
      </p:sp>
    </p:spTree>
    <p:extLst>
      <p:ext uri="{BB962C8B-B14F-4D97-AF65-F5344CB8AC3E}">
        <p14:creationId xmlns:p14="http://schemas.microsoft.com/office/powerpoint/2010/main" val="286992951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Break Slide layout">
    <p:bg>
      <p:bgPr>
        <a:solidFill>
          <a:schemeClr val="accent4">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446221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49076124"/>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spid="_x0000_s71716" name="think-cell Slide" r:id="rId7" imgW="384" imgH="384" progId="TCLayout.ActiveDocument.1">
                  <p:embed/>
                </p:oleObj>
              </mc:Choice>
              <mc:Fallback>
                <p:oleObj name="think-cell Slide" r:id="rId7" imgW="384" imgH="384" progId="TCLayout.ActiveDocument.1">
                  <p:embed/>
                  <p:pic>
                    <p:nvPicPr>
                      <p:cNvPr id="4" name="Object 3" hidden="1"/>
                      <p:cNvPicPr/>
                      <p:nvPr/>
                    </p:nvPicPr>
                    <p:blipFill>
                      <a:blip r:embed="rId8"/>
                      <a:stretch>
                        <a:fillRect/>
                      </a:stretch>
                    </p:blipFill>
                    <p:spPr>
                      <a:xfrm>
                        <a:off x="3176" y="3176"/>
                        <a:ext cx="3176" cy="3176"/>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317500" cy="31750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108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10558367"/>
            <a:ext cx="24384000" cy="3157634"/>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2000"/>
              </a:spcAft>
            </a:pPr>
            <a:endParaRPr lang="en-US" sz="24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16943843" y="3946544"/>
            <a:ext cx="1161146" cy="13716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24384000" cy="10553700"/>
          </a:xfrm>
          <a:prstGeom prst="rect">
            <a:avLst/>
          </a:prstGeom>
        </p:spPr>
      </p:pic>
      <p:sp>
        <p:nvSpPr>
          <p:cNvPr id="20" name="Picture Placeholder 8"/>
          <p:cNvSpPr>
            <a:spLocks noGrp="1"/>
          </p:cNvSpPr>
          <p:nvPr>
            <p:ph type="pic" sz="quarter" idx="13" hasCustomPrompt="1"/>
          </p:nvPr>
        </p:nvSpPr>
        <p:spPr>
          <a:xfrm>
            <a:off x="18733123" y="11141285"/>
            <a:ext cx="3735870" cy="1793666"/>
          </a:xfrm>
          <a:prstGeom prst="rect">
            <a:avLst/>
          </a:prstGeom>
        </p:spPr>
        <p:txBody>
          <a:bodyPr anchor="b"/>
          <a:lstStyle>
            <a:lvl1pPr algn="ctr">
              <a:defRPr sz="32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1261872" y="1252400"/>
            <a:ext cx="16250400" cy="11059200"/>
          </a:xfrm>
          <a:prstGeom prst="rect">
            <a:avLst/>
          </a:prstGeom>
          <a:gradFill flip="none" rotWithShape="1">
            <a:gsLst>
              <a:gs pos="0">
                <a:srgbClr val="1D2B5D">
                  <a:alpha val="80000"/>
                </a:srgbClr>
              </a:gs>
              <a:gs pos="100000">
                <a:srgbClr val="4E67C7"/>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4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2234830" y="12415684"/>
            <a:ext cx="13737600" cy="654296"/>
          </a:xfrm>
          <a:prstGeom prst="rect">
            <a:avLst/>
          </a:prstGeom>
          <a:noFill/>
        </p:spPr>
        <p:txBody>
          <a:bodyPr anchor="ctr"/>
          <a:lstStyle>
            <a:lvl1pPr algn="l">
              <a:lnSpc>
                <a:spcPct val="110000"/>
              </a:lnSpc>
              <a:buNone/>
              <a:defRPr sz="24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457200" indent="0" algn="ctr">
              <a:buNone/>
              <a:defRPr/>
            </a:lvl4pPr>
            <a:lvl5pPr marL="9144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2234830" y="10991413"/>
            <a:ext cx="13737600" cy="872390"/>
          </a:xfrm>
          <a:prstGeom prst="rect">
            <a:avLst/>
          </a:prstGeom>
        </p:spPr>
        <p:txBody>
          <a:bodyPr anchor="ctr"/>
          <a:lstStyle>
            <a:lvl1pPr marL="0" indent="0" algn="l">
              <a:lnSpc>
                <a:spcPct val="110000"/>
              </a:lnSpc>
              <a:buNone/>
              <a:defRPr sz="3200" baseline="0">
                <a:solidFill>
                  <a:schemeClr val="bg1"/>
                </a:solidFill>
                <a:latin typeface="+mn-lt"/>
                <a:sym typeface="Trebuchet MS" panose="020B0603020202020204" pitchFamily="34" charset="0"/>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dirty="0"/>
              <a:t>Subtitle in sentence case</a:t>
            </a:r>
          </a:p>
        </p:txBody>
      </p:sp>
      <p:sp>
        <p:nvSpPr>
          <p:cNvPr id="27" name="Title 1"/>
          <p:cNvSpPr>
            <a:spLocks noGrp="1"/>
          </p:cNvSpPr>
          <p:nvPr>
            <p:ph type="ctrTitle" hasCustomPrompt="1"/>
          </p:nvPr>
        </p:nvSpPr>
        <p:spPr bwMode="ltGray">
          <a:xfrm>
            <a:off x="2234830" y="3772485"/>
            <a:ext cx="13737600" cy="6276846"/>
          </a:xfrm>
          <a:prstGeom prst="rect">
            <a:avLst/>
          </a:prstGeom>
        </p:spPr>
        <p:txBody>
          <a:bodyPr anchor="b">
            <a:normAutofit/>
          </a:bodyPr>
          <a:lstStyle>
            <a:lvl1pPr algn="l">
              <a:lnSpc>
                <a:spcPct val="93000"/>
              </a:lnSpc>
              <a:defRPr sz="108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2234830" y="2225359"/>
            <a:ext cx="4655288" cy="972958"/>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noAutofit/>
          </a:bodyPr>
          <a:lstStyle/>
          <a:p>
            <a:endParaRPr lang="en-US" sz="8400"/>
          </a:p>
        </p:txBody>
      </p:sp>
    </p:spTree>
    <p:extLst>
      <p:ext uri="{BB962C8B-B14F-4D97-AF65-F5344CB8AC3E}">
        <p14:creationId xmlns:p14="http://schemas.microsoft.com/office/powerpoint/2010/main" val="37490949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19354801" y="12810072"/>
            <a:ext cx="2964102" cy="307776"/>
          </a:xfrm>
          <a:prstGeom prst="rect">
            <a:avLst/>
          </a:prstGeom>
        </p:spPr>
        <p:txBody>
          <a:bodyPr/>
          <a:lstStyle>
            <a:lvl1pPr>
              <a:defRPr>
                <a:latin typeface="+mn-lt"/>
                <a:sym typeface="Trebuchet MS" panose="020B0603020202020204" pitchFamily="34" charset="0"/>
              </a:defRPr>
            </a:lvl1pPr>
          </a:lstStyle>
          <a:p>
            <a:fld id="{8A391951-BC98-47D5-965D-E1CF0FFD4C77}" type="datetime1">
              <a:rPr lang="en-US" smtClean="0"/>
              <a:t>5/6/21</a:t>
            </a:fld>
            <a:endParaRPr lang="en-US" dirty="0"/>
          </a:p>
        </p:txBody>
      </p:sp>
      <p:sp>
        <p:nvSpPr>
          <p:cNvPr id="7"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1260000" y="1245600"/>
            <a:ext cx="21866400" cy="941796"/>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68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1109178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1260000" y="1245600"/>
            <a:ext cx="21866700" cy="941796"/>
          </a:xfrm>
        </p:spPr>
        <p:txBody>
          <a:bodyPr/>
          <a:lstStyle>
            <a:lvl1pPr>
              <a:defRPr sz="68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1258799" y="4171257"/>
            <a:ext cx="21867602" cy="8178262"/>
          </a:xfrm>
        </p:spPr>
        <p:txBody>
          <a:bodyPr/>
          <a:lstStyle>
            <a:lvl1pPr>
              <a:lnSpc>
                <a:spcPct val="100000"/>
              </a:lnSpc>
              <a:spcBef>
                <a:spcPts val="0"/>
              </a:spcBef>
              <a:spcAft>
                <a:spcPts val="0"/>
              </a:spcAft>
              <a:defRPr sz="4000"/>
            </a:lvl1pPr>
            <a:lvl2pPr>
              <a:lnSpc>
                <a:spcPct val="100000"/>
              </a:lnSpc>
              <a:spcBef>
                <a:spcPts val="0"/>
              </a:spcBef>
              <a:spcAft>
                <a:spcPts val="0"/>
              </a:spcAft>
              <a:defRPr sz="4000"/>
            </a:lvl2pPr>
            <a:lvl3pPr>
              <a:lnSpc>
                <a:spcPct val="100000"/>
              </a:lnSpc>
              <a:spcBef>
                <a:spcPts val="0"/>
              </a:spcBef>
              <a:spcAft>
                <a:spcPts val="0"/>
              </a:spcAft>
              <a:defRPr sz="4000"/>
            </a:lvl3pPr>
            <a:lvl4pPr>
              <a:lnSpc>
                <a:spcPct val="100000"/>
              </a:lnSpc>
              <a:spcBef>
                <a:spcPts val="0"/>
              </a:spcBef>
              <a:spcAft>
                <a:spcPts val="0"/>
              </a:spcAft>
              <a:defRPr sz="5600"/>
            </a:lvl4pPr>
            <a:lvl5pPr>
              <a:lnSpc>
                <a:spcPct val="100000"/>
              </a:lnSpc>
              <a:spcBef>
                <a:spcPts val="0"/>
              </a:spcBef>
              <a:spcAft>
                <a:spcPts val="0"/>
              </a:spcAft>
              <a:defRPr sz="5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986694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2" y="-2617"/>
            <a:ext cx="9388800" cy="13718618"/>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lgn="l">
              <a:lnSpc>
                <a:spcPct val="90000"/>
              </a:lnSpc>
              <a:spcAft>
                <a:spcPts val="2000"/>
              </a:spcAft>
            </a:pPr>
            <a:endParaRPr lang="en-US" sz="2400" dirty="0">
              <a:solidFill>
                <a:schemeClr val="bg1"/>
              </a:solidFill>
              <a:latin typeface="+mn-lt"/>
            </a:endParaRPr>
          </a:p>
        </p:txBody>
      </p:sp>
      <p:sp>
        <p:nvSpPr>
          <p:cNvPr id="3" name="Date Placeholder 2"/>
          <p:cNvSpPr>
            <a:spLocks noGrp="1"/>
          </p:cNvSpPr>
          <p:nvPr>
            <p:ph type="dt" sz="half" idx="10"/>
          </p:nvPr>
        </p:nvSpPr>
        <p:spPr>
          <a:xfrm>
            <a:off x="19354801" y="12810072"/>
            <a:ext cx="2964102" cy="307776"/>
          </a:xfrm>
          <a:prstGeom prst="rect">
            <a:avLst/>
          </a:prstGeom>
        </p:spPr>
        <p:txBody>
          <a:bodyPr/>
          <a:lstStyle>
            <a:lvl1pPr>
              <a:defRPr>
                <a:latin typeface="+mn-lt"/>
                <a:sym typeface="Trebuchet MS" panose="020B0603020202020204" pitchFamily="34" charset="0"/>
              </a:defRPr>
            </a:lvl1pPr>
          </a:lstStyle>
          <a:p>
            <a:fld id="{35CB8106-06BA-4B07-BD9E-5A875D0F8560}" type="datetime1">
              <a:rPr lang="en-US" smtClean="0"/>
              <a:t>5/6/21</a:t>
            </a:fld>
            <a:endParaRPr lang="en-US" dirty="0"/>
          </a:p>
        </p:txBody>
      </p:sp>
      <p:sp>
        <p:nvSpPr>
          <p:cNvPr id="9" name="Title 1"/>
          <p:cNvSpPr>
            <a:spLocks noGrp="1"/>
          </p:cNvSpPr>
          <p:nvPr>
            <p:ph type="title" hasCustomPrompt="1"/>
          </p:nvPr>
        </p:nvSpPr>
        <p:spPr bwMode="ltGray">
          <a:xfrm>
            <a:off x="1260000" y="3088548"/>
            <a:ext cx="6904800" cy="2991588"/>
          </a:xfrm>
          <a:noFill/>
        </p:spPr>
        <p:txBody>
          <a:bodyPr wrap="square" lIns="0" tIns="0" rIns="320040" bIns="0" anchor="b">
            <a:noAutofit/>
          </a:bodyPr>
          <a:lstStyle>
            <a:lvl1pPr>
              <a:defRPr sz="6400">
                <a:solidFill>
                  <a:schemeClr val="tx2"/>
                </a:solidFill>
                <a:latin typeface="+mj-lt"/>
              </a:defRPr>
            </a:lvl1pPr>
          </a:lstStyle>
          <a:p>
            <a:r>
              <a:rPr lang="en-US" dirty="0"/>
              <a:t>Click to add title</a:t>
            </a:r>
          </a:p>
        </p:txBody>
      </p:sp>
      <p:sp>
        <p:nvSpPr>
          <p:cNvPr id="11"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lumMod val="50000"/>
                  </a:schemeClr>
                </a:solidFill>
                <a:latin typeface="+mn-lt"/>
                <a:sym typeface="Trebuchet MS" panose="020B0603020202020204" pitchFamily="34" charset="0"/>
              </a:rPr>
              <a:t>Copyright © 2020 by Boston Consulting Group. All rights reserved.</a:t>
            </a:r>
            <a:endParaRPr lang="en-US" sz="14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371031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2569485" y="5336082"/>
            <a:ext cx="19240982" cy="6402052"/>
          </a:xfrm>
          <a:prstGeom prst="rect">
            <a:avLst/>
          </a:prstGeom>
          <a:ln w="9525">
            <a:solidFill>
              <a:schemeClr val="bg1"/>
            </a:solidFill>
          </a:ln>
        </p:spPr>
        <p:txBody>
          <a:bodyPr lIns="274320" tIns="274320" rIns="274320" bIns="137160" anchor="b">
            <a:noAutofit/>
          </a:bodyPr>
          <a:lstStyle>
            <a:lvl1pPr marL="0" algn="l" defTabSz="1828800" rtl="0" eaLnBrk="1" fontAlgn="auto" latinLnBrk="0" hangingPunct="1">
              <a:lnSpc>
                <a:spcPts val="12000"/>
              </a:lnSpc>
              <a:spcBef>
                <a:spcPts val="0"/>
              </a:spcBef>
              <a:spcAft>
                <a:spcPts val="0"/>
              </a:spcAft>
              <a:defRPr lang="en-US" sz="108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19354801" y="12810072"/>
            <a:ext cx="2964102" cy="307776"/>
          </a:xfrm>
          <a:prstGeom prst="rect">
            <a:avLst/>
          </a:prstGeom>
        </p:spPr>
        <p:txBody>
          <a:bodyPr/>
          <a:lstStyle>
            <a:lvl1pPr>
              <a:defRPr>
                <a:solidFill>
                  <a:schemeClr val="bg1"/>
                </a:solidFill>
                <a:latin typeface="+mn-lt"/>
                <a:sym typeface="Trebuchet MS" panose="020B0603020202020204" pitchFamily="34" charset="0"/>
              </a:defRPr>
            </a:lvl1pPr>
          </a:lstStyle>
          <a:p>
            <a:fld id="{836DD866-29D6-49BB-9221-C1DA086EE02B}" type="datetime1">
              <a:rPr lang="en-US" smtClean="0"/>
              <a:t>5/6/21</a:t>
            </a:fld>
            <a:endParaRPr lang="en-US" dirty="0"/>
          </a:p>
        </p:txBody>
      </p:sp>
      <p:sp>
        <p:nvSpPr>
          <p:cNvPr id="12"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mn-lt"/>
                <a:sym typeface="Trebuchet MS" panose="020B0603020202020204" pitchFamily="34" charset="0"/>
              </a:rPr>
              <a:t>Copyright © 2020 by Boston Consulting Group. All rights reserved.</a:t>
            </a:r>
            <a:endParaRPr lang="en-US" sz="1400" dirty="0">
              <a:solidFill>
                <a:schemeClr val="bg1"/>
              </a:solidFill>
              <a:latin typeface="+mn-lt"/>
              <a:sym typeface="Trebuchet MS" panose="020B0603020202020204" pitchFamily="34" charset="0"/>
            </a:endParaRPr>
          </a:p>
        </p:txBody>
      </p:sp>
      <p:sp>
        <p:nvSpPr>
          <p:cNvPr id="59" name="Rectangle 58"/>
          <p:cNvSpPr/>
          <p:nvPr userDrawn="1"/>
        </p:nvSpPr>
        <p:spPr bwMode="white">
          <a:xfrm>
            <a:off x="2569486" y="2856262"/>
            <a:ext cx="1895344" cy="1895344"/>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24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6737434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19354801" y="12810072"/>
            <a:ext cx="2964102" cy="307776"/>
          </a:xfrm>
          <a:prstGeom prst="rect">
            <a:avLst/>
          </a:prstGeom>
        </p:spPr>
        <p:txBody>
          <a:bodyPr/>
          <a:lstStyle>
            <a:lvl1pPr>
              <a:defRPr>
                <a:solidFill>
                  <a:schemeClr val="bg1"/>
                </a:solidFill>
                <a:latin typeface="+mn-lt"/>
                <a:sym typeface="Trebuchet MS" panose="020B0603020202020204" pitchFamily="34" charset="0"/>
              </a:defRPr>
            </a:lvl1pPr>
          </a:lstStyle>
          <a:p>
            <a:fld id="{B5AD5658-32EE-4120-8303-48C0DD0AA1B4}" type="datetime1">
              <a:rPr lang="en-US" smtClean="0"/>
              <a:t>5/6/21</a:t>
            </a:fld>
            <a:endParaRPr lang="en-US" dirty="0"/>
          </a:p>
        </p:txBody>
      </p:sp>
      <p:sp>
        <p:nvSpPr>
          <p:cNvPr id="147" name="Title 1"/>
          <p:cNvSpPr>
            <a:spLocks noGrp="1"/>
          </p:cNvSpPr>
          <p:nvPr>
            <p:ph type="title" hasCustomPrompt="1"/>
          </p:nvPr>
        </p:nvSpPr>
        <p:spPr bwMode="blackWhite">
          <a:xfrm>
            <a:off x="1260000" y="7653600"/>
            <a:ext cx="21873600" cy="4082400"/>
          </a:xfrm>
        </p:spPr>
        <p:txBody>
          <a:bodyPr anchor="t">
            <a:noAutofit/>
          </a:bodyPr>
          <a:lstStyle>
            <a:lvl1pPr>
              <a:defRPr sz="108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1237796" y="7360032"/>
            <a:ext cx="23152608"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38663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8129989" y="0"/>
            <a:ext cx="833902" cy="13716000"/>
          </a:xfrm>
          <a:prstGeom prst="rect">
            <a:avLst/>
          </a:prstGeom>
        </p:spPr>
      </p:pic>
      <p:sp>
        <p:nvSpPr>
          <p:cNvPr id="17" name="Date Placeholder 1"/>
          <p:cNvSpPr>
            <a:spLocks noGrp="1"/>
          </p:cNvSpPr>
          <p:nvPr>
            <p:ph type="dt" sz="half" idx="31"/>
          </p:nvPr>
        </p:nvSpPr>
        <p:spPr>
          <a:xfrm>
            <a:off x="19354801" y="12810072"/>
            <a:ext cx="2964102" cy="307776"/>
          </a:xfrm>
          <a:prstGeom prst="rect">
            <a:avLst/>
          </a:prstGeom>
        </p:spPr>
        <p:txBody>
          <a:bodyPr/>
          <a:lstStyle>
            <a:lvl1pPr>
              <a:defRPr>
                <a:solidFill>
                  <a:schemeClr val="bg1"/>
                </a:solidFill>
                <a:latin typeface="+mn-lt"/>
                <a:sym typeface="Trebuchet MS" panose="020B0603020202020204" pitchFamily="34" charset="0"/>
              </a:defRPr>
            </a:lvl1pPr>
          </a:lstStyle>
          <a:p>
            <a:fld id="{41EA341A-81D4-4A47-9E39-7D260D25E392}" type="datetime1">
              <a:rPr lang="en-US" smtClean="0"/>
              <a:t>5/6/21</a:t>
            </a:fld>
            <a:endParaRPr lang="en-US" dirty="0"/>
          </a:p>
        </p:txBody>
      </p:sp>
      <p:sp>
        <p:nvSpPr>
          <p:cNvPr id="25" name="Copyright"/>
          <p:cNvSpPr txBox="1"/>
          <p:nvPr userDrawn="1"/>
        </p:nvSpPr>
        <p:spPr>
          <a:xfrm rot="16200000">
            <a:off x="18973801" y="7844996"/>
            <a:ext cx="10267950" cy="193899"/>
          </a:xfrm>
          <a:prstGeom prst="rect">
            <a:avLst/>
          </a:prstGeom>
          <a:noFill/>
        </p:spPr>
        <p:txBody>
          <a:bodyPr wrap="square" lIns="0" tIns="0" rIns="0" bIns="0" rtlCol="0" anchor="t">
            <a:spAutoFit/>
          </a:bodyPr>
          <a:lstStyle/>
          <a:p>
            <a:pPr>
              <a:lnSpc>
                <a:spcPct val="90000"/>
              </a:lnSpc>
              <a:spcAft>
                <a:spcPts val="1200"/>
              </a:spcAft>
            </a:pPr>
            <a:r>
              <a:rPr lang="en-ZA" sz="1400">
                <a:solidFill>
                  <a:schemeClr val="bg1"/>
                </a:solidFill>
                <a:latin typeface="+mn-lt"/>
                <a:sym typeface="Trebuchet MS" panose="020B0603020202020204" pitchFamily="34" charset="0"/>
              </a:rPr>
              <a:t>Copyright © 2020 by Boston Consulting Group. All rights reserved.</a:t>
            </a:r>
            <a:endParaRPr lang="en-US" sz="1400" dirty="0">
              <a:solidFill>
                <a:schemeClr val="bg1"/>
              </a:solidFill>
              <a:latin typeface="+mn-lt"/>
              <a:sym typeface="Trebuchet MS" panose="020B0603020202020204" pitchFamily="34" charset="0"/>
            </a:endParaRPr>
          </a:p>
        </p:txBody>
      </p:sp>
      <p:sp>
        <p:nvSpPr>
          <p:cNvPr id="20" name="TextBox 19"/>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8159016" cy="1371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24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1260001" y="5362206"/>
            <a:ext cx="6255762" cy="2991588"/>
          </a:xfrm>
          <a:prstGeom prst="rect">
            <a:avLst/>
          </a:prstGeom>
        </p:spPr>
        <p:txBody>
          <a:bodyPr anchor="ctr">
            <a:noAutofit/>
          </a:bodyPr>
          <a:lstStyle>
            <a:lvl1pPr>
              <a:defRPr sz="6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8016303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1.xml"/><Relationship Id="rId21" Type="http://schemas.openxmlformats.org/officeDocument/2006/relationships/slideLayout" Target="../slideLayouts/slideLayout26.xml"/><Relationship Id="rId42" Type="http://schemas.openxmlformats.org/officeDocument/2006/relationships/slideLayout" Target="../slideLayouts/slideLayout47.xml"/><Relationship Id="rId47" Type="http://schemas.openxmlformats.org/officeDocument/2006/relationships/slideLayout" Target="../slideLayouts/slideLayout52.xml"/><Relationship Id="rId63" Type="http://schemas.openxmlformats.org/officeDocument/2006/relationships/slideLayout" Target="../slideLayouts/slideLayout68.xml"/><Relationship Id="rId68" Type="http://schemas.openxmlformats.org/officeDocument/2006/relationships/theme" Target="../theme/theme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9" Type="http://schemas.openxmlformats.org/officeDocument/2006/relationships/slideLayout" Target="../slideLayouts/slideLayout34.xml"/><Relationship Id="rId11" Type="http://schemas.openxmlformats.org/officeDocument/2006/relationships/slideLayout" Target="../slideLayouts/slideLayout16.xml"/><Relationship Id="rId24" Type="http://schemas.openxmlformats.org/officeDocument/2006/relationships/slideLayout" Target="../slideLayouts/slideLayout29.xml"/><Relationship Id="rId32" Type="http://schemas.openxmlformats.org/officeDocument/2006/relationships/slideLayout" Target="../slideLayouts/slideLayout37.xml"/><Relationship Id="rId37" Type="http://schemas.openxmlformats.org/officeDocument/2006/relationships/slideLayout" Target="../slideLayouts/slideLayout42.xml"/><Relationship Id="rId40" Type="http://schemas.openxmlformats.org/officeDocument/2006/relationships/slideLayout" Target="../slideLayouts/slideLayout45.xml"/><Relationship Id="rId45" Type="http://schemas.openxmlformats.org/officeDocument/2006/relationships/slideLayout" Target="../slideLayouts/slideLayout50.xml"/><Relationship Id="rId53" Type="http://schemas.openxmlformats.org/officeDocument/2006/relationships/slideLayout" Target="../slideLayouts/slideLayout58.xml"/><Relationship Id="rId58" Type="http://schemas.openxmlformats.org/officeDocument/2006/relationships/slideLayout" Target="../slideLayouts/slideLayout63.xml"/><Relationship Id="rId66" Type="http://schemas.openxmlformats.org/officeDocument/2006/relationships/slideLayout" Target="../slideLayouts/slideLayout71.xml"/><Relationship Id="rId5" Type="http://schemas.openxmlformats.org/officeDocument/2006/relationships/slideLayout" Target="../slideLayouts/slideLayout10.xml"/><Relationship Id="rId61" Type="http://schemas.openxmlformats.org/officeDocument/2006/relationships/slideLayout" Target="../slideLayouts/slideLayout66.xml"/><Relationship Id="rId19" Type="http://schemas.openxmlformats.org/officeDocument/2006/relationships/slideLayout" Target="../slideLayouts/slideLayout24.xml"/><Relationship Id="rId14" Type="http://schemas.openxmlformats.org/officeDocument/2006/relationships/slideLayout" Target="../slideLayouts/slideLayout19.xml"/><Relationship Id="rId22" Type="http://schemas.openxmlformats.org/officeDocument/2006/relationships/slideLayout" Target="../slideLayouts/slideLayout27.xml"/><Relationship Id="rId27" Type="http://schemas.openxmlformats.org/officeDocument/2006/relationships/slideLayout" Target="../slideLayouts/slideLayout32.xml"/><Relationship Id="rId30" Type="http://schemas.openxmlformats.org/officeDocument/2006/relationships/slideLayout" Target="../slideLayouts/slideLayout35.xml"/><Relationship Id="rId35" Type="http://schemas.openxmlformats.org/officeDocument/2006/relationships/slideLayout" Target="../slideLayouts/slideLayout40.xml"/><Relationship Id="rId43" Type="http://schemas.openxmlformats.org/officeDocument/2006/relationships/slideLayout" Target="../slideLayouts/slideLayout48.xml"/><Relationship Id="rId48" Type="http://schemas.openxmlformats.org/officeDocument/2006/relationships/slideLayout" Target="../slideLayouts/slideLayout53.xml"/><Relationship Id="rId56" Type="http://schemas.openxmlformats.org/officeDocument/2006/relationships/slideLayout" Target="../slideLayouts/slideLayout61.xml"/><Relationship Id="rId64" Type="http://schemas.openxmlformats.org/officeDocument/2006/relationships/slideLayout" Target="../slideLayouts/slideLayout69.xml"/><Relationship Id="rId69" Type="http://schemas.openxmlformats.org/officeDocument/2006/relationships/vmlDrawing" Target="../drawings/vmlDrawing1.vml"/><Relationship Id="rId8" Type="http://schemas.openxmlformats.org/officeDocument/2006/relationships/slideLayout" Target="../slideLayouts/slideLayout13.xml"/><Relationship Id="rId51" Type="http://schemas.openxmlformats.org/officeDocument/2006/relationships/slideLayout" Target="../slideLayouts/slideLayout56.xml"/><Relationship Id="rId72" Type="http://schemas.openxmlformats.org/officeDocument/2006/relationships/oleObject" Target="../embeddings/oleObject1.bin"/><Relationship Id="rId3" Type="http://schemas.openxmlformats.org/officeDocument/2006/relationships/slideLayout" Target="../slideLayouts/slideLayout8.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slideLayout" Target="../slideLayouts/slideLayout30.xml"/><Relationship Id="rId33" Type="http://schemas.openxmlformats.org/officeDocument/2006/relationships/slideLayout" Target="../slideLayouts/slideLayout38.xml"/><Relationship Id="rId38" Type="http://schemas.openxmlformats.org/officeDocument/2006/relationships/slideLayout" Target="../slideLayouts/slideLayout43.xml"/><Relationship Id="rId46" Type="http://schemas.openxmlformats.org/officeDocument/2006/relationships/slideLayout" Target="../slideLayouts/slideLayout51.xml"/><Relationship Id="rId59" Type="http://schemas.openxmlformats.org/officeDocument/2006/relationships/slideLayout" Target="../slideLayouts/slideLayout64.xml"/><Relationship Id="rId67" Type="http://schemas.openxmlformats.org/officeDocument/2006/relationships/slideLayout" Target="../slideLayouts/slideLayout72.xml"/><Relationship Id="rId20" Type="http://schemas.openxmlformats.org/officeDocument/2006/relationships/slideLayout" Target="../slideLayouts/slideLayout25.xml"/><Relationship Id="rId41" Type="http://schemas.openxmlformats.org/officeDocument/2006/relationships/slideLayout" Target="../slideLayouts/slideLayout46.xml"/><Relationship Id="rId54" Type="http://schemas.openxmlformats.org/officeDocument/2006/relationships/slideLayout" Target="../slideLayouts/slideLayout59.xml"/><Relationship Id="rId62" Type="http://schemas.openxmlformats.org/officeDocument/2006/relationships/slideLayout" Target="../slideLayouts/slideLayout67.xml"/><Relationship Id="rId70" Type="http://schemas.openxmlformats.org/officeDocument/2006/relationships/tags" Target="../tags/tag1.xml"/><Relationship Id="rId1" Type="http://schemas.openxmlformats.org/officeDocument/2006/relationships/slideLayout" Target="../slideLayouts/slideLayout6.xml"/><Relationship Id="rId6" Type="http://schemas.openxmlformats.org/officeDocument/2006/relationships/slideLayout" Target="../slideLayouts/slideLayout11.xml"/><Relationship Id="rId15" Type="http://schemas.openxmlformats.org/officeDocument/2006/relationships/slideLayout" Target="../slideLayouts/slideLayout20.xml"/><Relationship Id="rId23" Type="http://schemas.openxmlformats.org/officeDocument/2006/relationships/slideLayout" Target="../slideLayouts/slideLayout28.xml"/><Relationship Id="rId28" Type="http://schemas.openxmlformats.org/officeDocument/2006/relationships/slideLayout" Target="../slideLayouts/slideLayout33.xml"/><Relationship Id="rId36" Type="http://schemas.openxmlformats.org/officeDocument/2006/relationships/slideLayout" Target="../slideLayouts/slideLayout41.xml"/><Relationship Id="rId49" Type="http://schemas.openxmlformats.org/officeDocument/2006/relationships/slideLayout" Target="../slideLayouts/slideLayout54.xml"/><Relationship Id="rId57" Type="http://schemas.openxmlformats.org/officeDocument/2006/relationships/slideLayout" Target="../slideLayouts/slideLayout62.xml"/><Relationship Id="rId10" Type="http://schemas.openxmlformats.org/officeDocument/2006/relationships/slideLayout" Target="../slideLayouts/slideLayout15.xml"/><Relationship Id="rId31" Type="http://schemas.openxmlformats.org/officeDocument/2006/relationships/slideLayout" Target="../slideLayouts/slideLayout36.xml"/><Relationship Id="rId44" Type="http://schemas.openxmlformats.org/officeDocument/2006/relationships/slideLayout" Target="../slideLayouts/slideLayout49.xml"/><Relationship Id="rId52" Type="http://schemas.openxmlformats.org/officeDocument/2006/relationships/slideLayout" Target="../slideLayouts/slideLayout57.xml"/><Relationship Id="rId60" Type="http://schemas.openxmlformats.org/officeDocument/2006/relationships/slideLayout" Target="../slideLayouts/slideLayout65.xml"/><Relationship Id="rId65" Type="http://schemas.openxmlformats.org/officeDocument/2006/relationships/slideLayout" Target="../slideLayouts/slideLayout70.xml"/><Relationship Id="rId73" Type="http://schemas.openxmlformats.org/officeDocument/2006/relationships/image" Target="../media/image5.emf"/><Relationship Id="rId4" Type="http://schemas.openxmlformats.org/officeDocument/2006/relationships/slideLayout" Target="../slideLayouts/slideLayout9.xml"/><Relationship Id="rId9" Type="http://schemas.openxmlformats.org/officeDocument/2006/relationships/slideLayout" Target="../slideLayouts/slideLayout14.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39" Type="http://schemas.openxmlformats.org/officeDocument/2006/relationships/slideLayout" Target="../slideLayouts/slideLayout44.xml"/><Relationship Id="rId34" Type="http://schemas.openxmlformats.org/officeDocument/2006/relationships/slideLayout" Target="../slideLayouts/slideLayout39.xml"/><Relationship Id="rId50" Type="http://schemas.openxmlformats.org/officeDocument/2006/relationships/slideLayout" Target="../slideLayouts/slideLayout55.xml"/><Relationship Id="rId55" Type="http://schemas.openxmlformats.org/officeDocument/2006/relationships/slideLayout" Target="../slideLayouts/slideLayout60.xml"/><Relationship Id="rId7" Type="http://schemas.openxmlformats.org/officeDocument/2006/relationships/slideLayout" Target="../slideLayouts/slideLayout12.xml"/><Relationship Id="rId71"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theme" Target="../theme/theme3.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92.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118.xml"/><Relationship Id="rId21" Type="http://schemas.openxmlformats.org/officeDocument/2006/relationships/slideLayout" Target="../slideLayouts/slideLayout113.xml"/><Relationship Id="rId42" Type="http://schemas.openxmlformats.org/officeDocument/2006/relationships/slideLayout" Target="../slideLayouts/slideLayout134.xml"/><Relationship Id="rId47" Type="http://schemas.openxmlformats.org/officeDocument/2006/relationships/slideLayout" Target="../slideLayouts/slideLayout139.xml"/><Relationship Id="rId63" Type="http://schemas.openxmlformats.org/officeDocument/2006/relationships/slideLayout" Target="../slideLayouts/slideLayout155.xml"/><Relationship Id="rId68" Type="http://schemas.openxmlformats.org/officeDocument/2006/relationships/theme" Target="../theme/theme5.xml"/><Relationship Id="rId7" Type="http://schemas.openxmlformats.org/officeDocument/2006/relationships/slideLayout" Target="../slideLayouts/slideLayout99.xml"/><Relationship Id="rId71" Type="http://schemas.openxmlformats.org/officeDocument/2006/relationships/oleObject" Target="../embeddings/oleObject69.bin"/><Relationship Id="rId2" Type="http://schemas.openxmlformats.org/officeDocument/2006/relationships/slideLayout" Target="../slideLayouts/slideLayout94.xml"/><Relationship Id="rId16" Type="http://schemas.openxmlformats.org/officeDocument/2006/relationships/slideLayout" Target="../slideLayouts/slideLayout108.xml"/><Relationship Id="rId29" Type="http://schemas.openxmlformats.org/officeDocument/2006/relationships/slideLayout" Target="../slideLayouts/slideLayout121.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32" Type="http://schemas.openxmlformats.org/officeDocument/2006/relationships/slideLayout" Target="../slideLayouts/slideLayout124.xml"/><Relationship Id="rId37" Type="http://schemas.openxmlformats.org/officeDocument/2006/relationships/slideLayout" Target="../slideLayouts/slideLayout129.xml"/><Relationship Id="rId40" Type="http://schemas.openxmlformats.org/officeDocument/2006/relationships/slideLayout" Target="../slideLayouts/slideLayout132.xml"/><Relationship Id="rId45" Type="http://schemas.openxmlformats.org/officeDocument/2006/relationships/slideLayout" Target="../slideLayouts/slideLayout137.xml"/><Relationship Id="rId53" Type="http://schemas.openxmlformats.org/officeDocument/2006/relationships/slideLayout" Target="../slideLayouts/slideLayout145.xml"/><Relationship Id="rId58" Type="http://schemas.openxmlformats.org/officeDocument/2006/relationships/slideLayout" Target="../slideLayouts/slideLayout150.xml"/><Relationship Id="rId66" Type="http://schemas.openxmlformats.org/officeDocument/2006/relationships/slideLayout" Target="../slideLayouts/slideLayout158.xml"/><Relationship Id="rId5" Type="http://schemas.openxmlformats.org/officeDocument/2006/relationships/slideLayout" Target="../slideLayouts/slideLayout97.xml"/><Relationship Id="rId61" Type="http://schemas.openxmlformats.org/officeDocument/2006/relationships/slideLayout" Target="../slideLayouts/slideLayout153.xml"/><Relationship Id="rId19" Type="http://schemas.openxmlformats.org/officeDocument/2006/relationships/slideLayout" Target="../slideLayouts/slideLayout11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slideLayout" Target="../slideLayouts/slideLayout119.xml"/><Relationship Id="rId30" Type="http://schemas.openxmlformats.org/officeDocument/2006/relationships/slideLayout" Target="../slideLayouts/slideLayout122.xml"/><Relationship Id="rId35" Type="http://schemas.openxmlformats.org/officeDocument/2006/relationships/slideLayout" Target="../slideLayouts/slideLayout127.xml"/><Relationship Id="rId43" Type="http://schemas.openxmlformats.org/officeDocument/2006/relationships/slideLayout" Target="../slideLayouts/slideLayout135.xml"/><Relationship Id="rId48" Type="http://schemas.openxmlformats.org/officeDocument/2006/relationships/slideLayout" Target="../slideLayouts/slideLayout140.xml"/><Relationship Id="rId56" Type="http://schemas.openxmlformats.org/officeDocument/2006/relationships/slideLayout" Target="../slideLayouts/slideLayout148.xml"/><Relationship Id="rId64" Type="http://schemas.openxmlformats.org/officeDocument/2006/relationships/slideLayout" Target="../slideLayouts/slideLayout156.xml"/><Relationship Id="rId69" Type="http://schemas.openxmlformats.org/officeDocument/2006/relationships/vmlDrawing" Target="../drawings/vmlDrawing69.vml"/><Relationship Id="rId8" Type="http://schemas.openxmlformats.org/officeDocument/2006/relationships/slideLayout" Target="../slideLayouts/slideLayout100.xml"/><Relationship Id="rId51" Type="http://schemas.openxmlformats.org/officeDocument/2006/relationships/slideLayout" Target="../slideLayouts/slideLayout143.xml"/><Relationship Id="rId72" Type="http://schemas.openxmlformats.org/officeDocument/2006/relationships/image" Target="../media/image21.emf"/><Relationship Id="rId3" Type="http://schemas.openxmlformats.org/officeDocument/2006/relationships/slideLayout" Target="../slideLayouts/slideLayout95.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33" Type="http://schemas.openxmlformats.org/officeDocument/2006/relationships/slideLayout" Target="../slideLayouts/slideLayout125.xml"/><Relationship Id="rId38" Type="http://schemas.openxmlformats.org/officeDocument/2006/relationships/slideLayout" Target="../slideLayouts/slideLayout130.xml"/><Relationship Id="rId46" Type="http://schemas.openxmlformats.org/officeDocument/2006/relationships/slideLayout" Target="../slideLayouts/slideLayout138.xml"/><Relationship Id="rId59" Type="http://schemas.openxmlformats.org/officeDocument/2006/relationships/slideLayout" Target="../slideLayouts/slideLayout151.xml"/><Relationship Id="rId67" Type="http://schemas.openxmlformats.org/officeDocument/2006/relationships/slideLayout" Target="../slideLayouts/slideLayout159.xml"/><Relationship Id="rId20" Type="http://schemas.openxmlformats.org/officeDocument/2006/relationships/slideLayout" Target="../slideLayouts/slideLayout112.xml"/><Relationship Id="rId41" Type="http://schemas.openxmlformats.org/officeDocument/2006/relationships/slideLayout" Target="../slideLayouts/slideLayout133.xml"/><Relationship Id="rId54" Type="http://schemas.openxmlformats.org/officeDocument/2006/relationships/slideLayout" Target="../slideLayouts/slideLayout146.xml"/><Relationship Id="rId62" Type="http://schemas.openxmlformats.org/officeDocument/2006/relationships/slideLayout" Target="../slideLayouts/slideLayout154.xml"/><Relationship Id="rId70" Type="http://schemas.openxmlformats.org/officeDocument/2006/relationships/tags" Target="../tags/tag129.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28" Type="http://schemas.openxmlformats.org/officeDocument/2006/relationships/slideLayout" Target="../slideLayouts/slideLayout120.xml"/><Relationship Id="rId36" Type="http://schemas.openxmlformats.org/officeDocument/2006/relationships/slideLayout" Target="../slideLayouts/slideLayout128.xml"/><Relationship Id="rId49" Type="http://schemas.openxmlformats.org/officeDocument/2006/relationships/slideLayout" Target="../slideLayouts/slideLayout141.xml"/><Relationship Id="rId57" Type="http://schemas.openxmlformats.org/officeDocument/2006/relationships/slideLayout" Target="../slideLayouts/slideLayout149.xml"/><Relationship Id="rId10" Type="http://schemas.openxmlformats.org/officeDocument/2006/relationships/slideLayout" Target="../slideLayouts/slideLayout102.xml"/><Relationship Id="rId31" Type="http://schemas.openxmlformats.org/officeDocument/2006/relationships/slideLayout" Target="../slideLayouts/slideLayout123.xml"/><Relationship Id="rId44" Type="http://schemas.openxmlformats.org/officeDocument/2006/relationships/slideLayout" Target="../slideLayouts/slideLayout136.xml"/><Relationship Id="rId52" Type="http://schemas.openxmlformats.org/officeDocument/2006/relationships/slideLayout" Target="../slideLayouts/slideLayout144.xml"/><Relationship Id="rId60" Type="http://schemas.openxmlformats.org/officeDocument/2006/relationships/slideLayout" Target="../slideLayouts/slideLayout152.xml"/><Relationship Id="rId65" Type="http://schemas.openxmlformats.org/officeDocument/2006/relationships/slideLayout" Target="../slideLayouts/slideLayout157.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39" Type="http://schemas.openxmlformats.org/officeDocument/2006/relationships/slideLayout" Target="../slideLayouts/slideLayout131.xml"/><Relationship Id="rId34" Type="http://schemas.openxmlformats.org/officeDocument/2006/relationships/slideLayout" Target="../slideLayouts/slideLayout126.xml"/><Relationship Id="rId50" Type="http://schemas.openxmlformats.org/officeDocument/2006/relationships/slideLayout" Target="../slideLayouts/slideLayout142.xml"/><Relationship Id="rId55" Type="http://schemas.openxmlformats.org/officeDocument/2006/relationships/slideLayout" Target="../slideLayouts/slideLayout147.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185.xml"/><Relationship Id="rId21" Type="http://schemas.openxmlformats.org/officeDocument/2006/relationships/slideLayout" Target="../slideLayouts/slideLayout180.xml"/><Relationship Id="rId42" Type="http://schemas.openxmlformats.org/officeDocument/2006/relationships/slideLayout" Target="../slideLayouts/slideLayout201.xml"/><Relationship Id="rId47" Type="http://schemas.openxmlformats.org/officeDocument/2006/relationships/slideLayout" Target="../slideLayouts/slideLayout206.xml"/><Relationship Id="rId63" Type="http://schemas.openxmlformats.org/officeDocument/2006/relationships/slideLayout" Target="../slideLayouts/slideLayout222.xml"/><Relationship Id="rId68" Type="http://schemas.openxmlformats.org/officeDocument/2006/relationships/theme" Target="../theme/theme6.xml"/><Relationship Id="rId7" Type="http://schemas.openxmlformats.org/officeDocument/2006/relationships/slideLayout" Target="../slideLayouts/slideLayout166.xml"/><Relationship Id="rId71" Type="http://schemas.openxmlformats.org/officeDocument/2006/relationships/oleObject" Target="../embeddings/oleObject87.bin"/><Relationship Id="rId2" Type="http://schemas.openxmlformats.org/officeDocument/2006/relationships/slideLayout" Target="../slideLayouts/slideLayout161.xml"/><Relationship Id="rId16" Type="http://schemas.openxmlformats.org/officeDocument/2006/relationships/slideLayout" Target="../slideLayouts/slideLayout175.xml"/><Relationship Id="rId29" Type="http://schemas.openxmlformats.org/officeDocument/2006/relationships/slideLayout" Target="../slideLayouts/slideLayout188.xml"/><Relationship Id="rId11" Type="http://schemas.openxmlformats.org/officeDocument/2006/relationships/slideLayout" Target="../slideLayouts/slideLayout170.xml"/><Relationship Id="rId24" Type="http://schemas.openxmlformats.org/officeDocument/2006/relationships/slideLayout" Target="../slideLayouts/slideLayout183.xml"/><Relationship Id="rId32" Type="http://schemas.openxmlformats.org/officeDocument/2006/relationships/slideLayout" Target="../slideLayouts/slideLayout191.xml"/><Relationship Id="rId37" Type="http://schemas.openxmlformats.org/officeDocument/2006/relationships/slideLayout" Target="../slideLayouts/slideLayout196.xml"/><Relationship Id="rId40" Type="http://schemas.openxmlformats.org/officeDocument/2006/relationships/slideLayout" Target="../slideLayouts/slideLayout199.xml"/><Relationship Id="rId45" Type="http://schemas.openxmlformats.org/officeDocument/2006/relationships/slideLayout" Target="../slideLayouts/slideLayout204.xml"/><Relationship Id="rId53" Type="http://schemas.openxmlformats.org/officeDocument/2006/relationships/slideLayout" Target="../slideLayouts/slideLayout212.xml"/><Relationship Id="rId58" Type="http://schemas.openxmlformats.org/officeDocument/2006/relationships/slideLayout" Target="../slideLayouts/slideLayout217.xml"/><Relationship Id="rId66" Type="http://schemas.openxmlformats.org/officeDocument/2006/relationships/slideLayout" Target="../slideLayouts/slideLayout225.xml"/><Relationship Id="rId5" Type="http://schemas.openxmlformats.org/officeDocument/2006/relationships/slideLayout" Target="../slideLayouts/slideLayout164.xml"/><Relationship Id="rId61" Type="http://schemas.openxmlformats.org/officeDocument/2006/relationships/slideLayout" Target="../slideLayouts/slideLayout220.xml"/><Relationship Id="rId19" Type="http://schemas.openxmlformats.org/officeDocument/2006/relationships/slideLayout" Target="../slideLayouts/slideLayout178.xml"/><Relationship Id="rId14" Type="http://schemas.openxmlformats.org/officeDocument/2006/relationships/slideLayout" Target="../slideLayouts/slideLayout173.xml"/><Relationship Id="rId22" Type="http://schemas.openxmlformats.org/officeDocument/2006/relationships/slideLayout" Target="../slideLayouts/slideLayout181.xml"/><Relationship Id="rId27" Type="http://schemas.openxmlformats.org/officeDocument/2006/relationships/slideLayout" Target="../slideLayouts/slideLayout186.xml"/><Relationship Id="rId30" Type="http://schemas.openxmlformats.org/officeDocument/2006/relationships/slideLayout" Target="../slideLayouts/slideLayout189.xml"/><Relationship Id="rId35" Type="http://schemas.openxmlformats.org/officeDocument/2006/relationships/slideLayout" Target="../slideLayouts/slideLayout194.xml"/><Relationship Id="rId43" Type="http://schemas.openxmlformats.org/officeDocument/2006/relationships/slideLayout" Target="../slideLayouts/slideLayout202.xml"/><Relationship Id="rId48" Type="http://schemas.openxmlformats.org/officeDocument/2006/relationships/slideLayout" Target="../slideLayouts/slideLayout207.xml"/><Relationship Id="rId56" Type="http://schemas.openxmlformats.org/officeDocument/2006/relationships/slideLayout" Target="../slideLayouts/slideLayout215.xml"/><Relationship Id="rId64" Type="http://schemas.openxmlformats.org/officeDocument/2006/relationships/slideLayout" Target="../slideLayouts/slideLayout223.xml"/><Relationship Id="rId69" Type="http://schemas.openxmlformats.org/officeDocument/2006/relationships/vmlDrawing" Target="../drawings/vmlDrawing87.vml"/><Relationship Id="rId8" Type="http://schemas.openxmlformats.org/officeDocument/2006/relationships/slideLayout" Target="../slideLayouts/slideLayout167.xml"/><Relationship Id="rId51" Type="http://schemas.openxmlformats.org/officeDocument/2006/relationships/slideLayout" Target="../slideLayouts/slideLayout210.xml"/><Relationship Id="rId72" Type="http://schemas.openxmlformats.org/officeDocument/2006/relationships/image" Target="../media/image21.emf"/><Relationship Id="rId3" Type="http://schemas.openxmlformats.org/officeDocument/2006/relationships/slideLayout" Target="../slideLayouts/slideLayout162.xml"/><Relationship Id="rId12" Type="http://schemas.openxmlformats.org/officeDocument/2006/relationships/slideLayout" Target="../slideLayouts/slideLayout171.xml"/><Relationship Id="rId17" Type="http://schemas.openxmlformats.org/officeDocument/2006/relationships/slideLayout" Target="../slideLayouts/slideLayout176.xml"/><Relationship Id="rId25" Type="http://schemas.openxmlformats.org/officeDocument/2006/relationships/slideLayout" Target="../slideLayouts/slideLayout184.xml"/><Relationship Id="rId33" Type="http://schemas.openxmlformats.org/officeDocument/2006/relationships/slideLayout" Target="../slideLayouts/slideLayout192.xml"/><Relationship Id="rId38" Type="http://schemas.openxmlformats.org/officeDocument/2006/relationships/slideLayout" Target="../slideLayouts/slideLayout197.xml"/><Relationship Id="rId46" Type="http://schemas.openxmlformats.org/officeDocument/2006/relationships/slideLayout" Target="../slideLayouts/slideLayout205.xml"/><Relationship Id="rId59" Type="http://schemas.openxmlformats.org/officeDocument/2006/relationships/slideLayout" Target="../slideLayouts/slideLayout218.xml"/><Relationship Id="rId67" Type="http://schemas.openxmlformats.org/officeDocument/2006/relationships/slideLayout" Target="../slideLayouts/slideLayout226.xml"/><Relationship Id="rId20" Type="http://schemas.openxmlformats.org/officeDocument/2006/relationships/slideLayout" Target="../slideLayouts/slideLayout179.xml"/><Relationship Id="rId41" Type="http://schemas.openxmlformats.org/officeDocument/2006/relationships/slideLayout" Target="../slideLayouts/slideLayout200.xml"/><Relationship Id="rId54" Type="http://schemas.openxmlformats.org/officeDocument/2006/relationships/slideLayout" Target="../slideLayouts/slideLayout213.xml"/><Relationship Id="rId62" Type="http://schemas.openxmlformats.org/officeDocument/2006/relationships/slideLayout" Target="../slideLayouts/slideLayout221.xml"/><Relationship Id="rId70" Type="http://schemas.openxmlformats.org/officeDocument/2006/relationships/tags" Target="../tags/tag159.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5" Type="http://schemas.openxmlformats.org/officeDocument/2006/relationships/slideLayout" Target="../slideLayouts/slideLayout174.xml"/><Relationship Id="rId23" Type="http://schemas.openxmlformats.org/officeDocument/2006/relationships/slideLayout" Target="../slideLayouts/slideLayout182.xml"/><Relationship Id="rId28" Type="http://schemas.openxmlformats.org/officeDocument/2006/relationships/slideLayout" Target="../slideLayouts/slideLayout187.xml"/><Relationship Id="rId36" Type="http://schemas.openxmlformats.org/officeDocument/2006/relationships/slideLayout" Target="../slideLayouts/slideLayout195.xml"/><Relationship Id="rId49" Type="http://schemas.openxmlformats.org/officeDocument/2006/relationships/slideLayout" Target="../slideLayouts/slideLayout208.xml"/><Relationship Id="rId57" Type="http://schemas.openxmlformats.org/officeDocument/2006/relationships/slideLayout" Target="../slideLayouts/slideLayout216.xml"/><Relationship Id="rId10" Type="http://schemas.openxmlformats.org/officeDocument/2006/relationships/slideLayout" Target="../slideLayouts/slideLayout169.xml"/><Relationship Id="rId31" Type="http://schemas.openxmlformats.org/officeDocument/2006/relationships/slideLayout" Target="../slideLayouts/slideLayout190.xml"/><Relationship Id="rId44" Type="http://schemas.openxmlformats.org/officeDocument/2006/relationships/slideLayout" Target="../slideLayouts/slideLayout203.xml"/><Relationship Id="rId52" Type="http://schemas.openxmlformats.org/officeDocument/2006/relationships/slideLayout" Target="../slideLayouts/slideLayout211.xml"/><Relationship Id="rId60" Type="http://schemas.openxmlformats.org/officeDocument/2006/relationships/slideLayout" Target="../slideLayouts/slideLayout219.xml"/><Relationship Id="rId65" Type="http://schemas.openxmlformats.org/officeDocument/2006/relationships/slideLayout" Target="../slideLayouts/slideLayout224.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3" Type="http://schemas.openxmlformats.org/officeDocument/2006/relationships/slideLayout" Target="../slideLayouts/slideLayout172.xml"/><Relationship Id="rId18" Type="http://schemas.openxmlformats.org/officeDocument/2006/relationships/slideLayout" Target="../slideLayouts/slideLayout177.xml"/><Relationship Id="rId39" Type="http://schemas.openxmlformats.org/officeDocument/2006/relationships/slideLayout" Target="../slideLayouts/slideLayout198.xml"/><Relationship Id="rId34" Type="http://schemas.openxmlformats.org/officeDocument/2006/relationships/slideLayout" Target="../slideLayouts/slideLayout193.xml"/><Relationship Id="rId50" Type="http://schemas.openxmlformats.org/officeDocument/2006/relationships/slideLayout" Target="../slideLayouts/slideLayout209.xml"/><Relationship Id="rId55" Type="http://schemas.openxmlformats.org/officeDocument/2006/relationships/slideLayout" Target="../slideLayouts/slideLayout2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hape"/>
          <p:cNvSpPr/>
          <p:nvPr/>
        </p:nvSpPr>
        <p:spPr>
          <a:xfrm>
            <a:off x="-146867" y="-101601"/>
            <a:ext cx="8833667" cy="13905735"/>
          </a:xfrm>
          <a:custGeom>
            <a:avLst/>
            <a:gdLst/>
            <a:ahLst/>
            <a:cxnLst>
              <a:cxn ang="0">
                <a:pos x="wd2" y="hd2"/>
              </a:cxn>
              <a:cxn ang="5400000">
                <a:pos x="wd2" y="hd2"/>
              </a:cxn>
              <a:cxn ang="10800000">
                <a:pos x="wd2" y="hd2"/>
              </a:cxn>
              <a:cxn ang="16200000">
                <a:pos x="wd2" y="hd2"/>
              </a:cxn>
            </a:cxnLst>
            <a:rect l="0" t="0" r="r" b="b"/>
            <a:pathLst>
              <a:path w="21600" h="21600" extrusionOk="0">
                <a:moveTo>
                  <a:pt x="21600" y="21463"/>
                </a:moveTo>
                <a:lnTo>
                  <a:pt x="4086" y="0"/>
                </a:lnTo>
                <a:lnTo>
                  <a:pt x="0" y="21"/>
                </a:lnTo>
                <a:lnTo>
                  <a:pt x="216" y="21600"/>
                </a:lnTo>
                <a:close/>
              </a:path>
            </a:pathLst>
          </a:custGeom>
          <a:solidFill>
            <a:srgbClr val="FFFFFF">
              <a:alpha val="17690"/>
            </a:srgbClr>
          </a:solidFill>
          <a:ln w="12700">
            <a:miter lim="400000"/>
          </a:ln>
        </p:spPr>
        <p:txBody>
          <a:bodyPr lIns="121919" tIns="121919" rIns="121919" bIns="121919"/>
          <a:lstStyle/>
          <a:p>
            <a:pPr defTabSz="914400">
              <a:defRPr sz="1700" cap="none">
                <a:solidFill>
                  <a:srgbClr val="FFFFFF"/>
                </a:solidFill>
                <a:effectLst/>
              </a:defRPr>
            </a:pPr>
            <a:endParaRPr/>
          </a:p>
        </p:txBody>
      </p:sp>
      <p:sp>
        <p:nvSpPr>
          <p:cNvPr id="3" name="Shape"/>
          <p:cNvSpPr/>
          <p:nvPr/>
        </p:nvSpPr>
        <p:spPr>
          <a:xfrm flipH="1">
            <a:off x="1259021" y="-25401"/>
            <a:ext cx="1382401" cy="19976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6202" y="0"/>
                </a:lnTo>
                <a:lnTo>
                  <a:pt x="21600" y="0"/>
                </a:lnTo>
                <a:lnTo>
                  <a:pt x="5398" y="21600"/>
                </a:lnTo>
                <a:close/>
              </a:path>
            </a:pathLst>
          </a:custGeom>
          <a:solidFill>
            <a:srgbClr val="FFFFFF"/>
          </a:solidFill>
          <a:ln w="12700">
            <a:miter lim="400000"/>
          </a:ln>
        </p:spPr>
        <p:txBody>
          <a:bodyPr lIns="121919" tIns="121919" rIns="121919" bIns="121919" anchor="ctr"/>
          <a:lstStyle/>
          <a:p>
            <a:pPr defTabSz="914400">
              <a:defRPr sz="1700" cap="none">
                <a:solidFill>
                  <a:srgbClr val="FFFFFF"/>
                </a:solidFill>
                <a:effectLst/>
              </a:defRPr>
            </a:pPr>
            <a:endParaRPr/>
          </a:p>
        </p:txBody>
      </p:sp>
      <p:sp>
        <p:nvSpPr>
          <p:cNvPr id="4" name="Shape"/>
          <p:cNvSpPr/>
          <p:nvPr/>
        </p:nvSpPr>
        <p:spPr>
          <a:xfrm flipH="1">
            <a:off x="2640996" y="13135599"/>
            <a:ext cx="22319202" cy="607999"/>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03" y="0"/>
                </a:lnTo>
                <a:lnTo>
                  <a:pt x="21600" y="0"/>
                </a:lnTo>
                <a:lnTo>
                  <a:pt x="21297" y="21600"/>
                </a:lnTo>
                <a:close/>
              </a:path>
            </a:pathLst>
          </a:custGeom>
          <a:solidFill>
            <a:schemeClr val="accent3"/>
          </a:solidFill>
          <a:ln w="12700">
            <a:miter lim="400000"/>
          </a:ln>
        </p:spPr>
        <p:txBody>
          <a:bodyPr lIns="121919" tIns="121919" rIns="121919" bIns="121919" anchor="ctr"/>
          <a:lstStyle/>
          <a:p>
            <a:pPr defTabSz="914400">
              <a:defRPr sz="1700" cap="none">
                <a:solidFill>
                  <a:srgbClr val="FFFFFF"/>
                </a:solidFill>
                <a:effectLst/>
              </a:defRPr>
            </a:pPr>
            <a:endParaRPr/>
          </a:p>
        </p:txBody>
      </p:sp>
      <p:sp>
        <p:nvSpPr>
          <p:cNvPr id="5" name="Title Text"/>
          <p:cNvSpPr txBox="1">
            <a:spLocks noGrp="1"/>
          </p:cNvSpPr>
          <p:nvPr>
            <p:ph type="title"/>
          </p:nvPr>
        </p:nvSpPr>
        <p:spPr>
          <a:xfrm>
            <a:off x="2946399" y="736199"/>
            <a:ext cx="17932001" cy="19976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43799" tIns="243799" rIns="243799" bIns="243799" anchor="ctr">
            <a:normAutofit/>
          </a:bodyPr>
          <a:lstStyle/>
          <a:p>
            <a:r>
              <a:t>Title Text</a:t>
            </a:r>
          </a:p>
        </p:txBody>
      </p:sp>
      <p:sp>
        <p:nvSpPr>
          <p:cNvPr id="6" name="Body Level One…"/>
          <p:cNvSpPr txBox="1">
            <a:spLocks noGrp="1"/>
          </p:cNvSpPr>
          <p:nvPr>
            <p:ph type="body" idx="1"/>
          </p:nvPr>
        </p:nvSpPr>
        <p:spPr>
          <a:xfrm>
            <a:off x="1219199" y="3200399"/>
            <a:ext cx="21945601" cy="105156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43799" tIns="243799" rIns="243799" bIns="243799"/>
          <a:lstStyle/>
          <a:p>
            <a:r>
              <a:t>Body Level One</a:t>
            </a:r>
          </a:p>
          <a:p>
            <a:pPr lvl="1"/>
            <a:r>
              <a:t>Body Level Two</a:t>
            </a:r>
          </a:p>
          <a:p>
            <a:pPr lvl="2"/>
            <a:r>
              <a:t>Body Level Three</a:t>
            </a:r>
          </a:p>
          <a:p>
            <a:pPr lvl="3"/>
            <a:r>
              <a:t>Body Level Four</a:t>
            </a:r>
          </a:p>
          <a:p>
            <a:pPr lvl="4"/>
            <a:r>
              <a:t>Body Level Five</a:t>
            </a:r>
          </a:p>
        </p:txBody>
      </p:sp>
      <p:sp>
        <p:nvSpPr>
          <p:cNvPr id="7" name="Slide Number"/>
          <p:cNvSpPr txBox="1">
            <a:spLocks noGrp="1"/>
          </p:cNvSpPr>
          <p:nvPr>
            <p:ph type="sldNum" sz="quarter" idx="2"/>
          </p:nvPr>
        </p:nvSpPr>
        <p:spPr>
          <a:xfrm>
            <a:off x="96565" y="293649"/>
            <a:ext cx="1393270" cy="1363901"/>
          </a:xfrm>
          <a:prstGeom prst="rect">
            <a:avLst/>
          </a:prstGeom>
          <a:ln w="12700">
            <a:miter lim="400000"/>
          </a:ln>
        </p:spPr>
        <p:txBody>
          <a:bodyPr wrap="none" lIns="243799" tIns="243799" rIns="243799" bIns="243799" anchor="ctr">
            <a:spAutoFit/>
          </a:bodyPr>
          <a:lstStyle>
            <a:lvl1pPr defTabSz="914400">
              <a:defRPr sz="6000" cap="none">
                <a:solidFill>
                  <a:srgbClr val="FFFFFF"/>
                </a:solidFill>
                <a:effectLst>
                  <a:outerShdw blurRad="12700" dist="12700" dir="18900000" rotWithShape="0">
                    <a:srgbClr val="000000">
                      <a:alpha val="50000"/>
                    </a:srgbClr>
                  </a:outerShdw>
                </a:effectLst>
              </a:defRPr>
            </a:lvl1pPr>
          </a:lstStyle>
          <a:p>
            <a:fld id="{86CB4B4D-7CA3-9044-876B-883B54F8677D}" type="slidenum">
              <a:t>‹#›</a:t>
            </a:fld>
            <a:endParaRPr/>
          </a:p>
        </p:txBody>
      </p:sp>
      <p:sp>
        <p:nvSpPr>
          <p:cNvPr id="13" name="Slide Number">
            <a:extLst>
              <a:ext uri="{FF2B5EF4-FFF2-40B4-BE49-F238E27FC236}">
                <a16:creationId xmlns:a16="http://schemas.microsoft.com/office/drawing/2014/main" id="{8125AC78-E071-4FB2-A402-06F579BFB43D}"/>
              </a:ext>
            </a:extLst>
          </p:cNvPr>
          <p:cNvSpPr txBox="1">
            <a:spLocks/>
          </p:cNvSpPr>
          <p:nvPr userDrawn="1"/>
        </p:nvSpPr>
        <p:spPr>
          <a:xfrm>
            <a:off x="22707051" y="12510894"/>
            <a:ext cx="535385" cy="5207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8100" tIns="38100" rIns="38100" bIns="3810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535353"/>
                </a:solidFill>
                <a:effectLst>
                  <a:outerShdw blurRad="12700" dist="12700" dir="18900000" rotWithShape="0">
                    <a:srgbClr val="000000">
                      <a:alpha val="50000"/>
                    </a:srgbClr>
                  </a:outerShdw>
                </a:effectLst>
                <a:uFillTx/>
                <a:latin typeface="Trebuchet MS"/>
                <a:ea typeface="Trebuchet MS"/>
                <a:cs typeface="Trebuchet MS"/>
                <a:sym typeface="Trebuchet MS"/>
              </a:defRPr>
            </a:lvl1pPr>
            <a:lvl2pPr marL="0" marR="0" indent="0" algn="ctr" defTabSz="825500" rtl="0" fontAlgn="auto" latinLnBrk="0" hangingPunct="0">
              <a:lnSpc>
                <a:spcPct val="100000"/>
              </a:lnSpc>
              <a:spcBef>
                <a:spcPts val="0"/>
              </a:spcBef>
              <a:spcAft>
                <a:spcPts val="0"/>
              </a:spcAft>
              <a:buClrTx/>
              <a:buSzTx/>
              <a:buFontTx/>
              <a:buNone/>
              <a:tabLst/>
              <a:defRPr kumimoji="0" sz="4200" b="1" i="0" u="none" strike="noStrike" cap="small" spc="0" normalizeH="0" baseline="0">
                <a:ln>
                  <a:noFill/>
                </a:ln>
                <a:solidFill>
                  <a:schemeClr val="accent3"/>
                </a:solidFill>
                <a:effectLst>
                  <a:outerShdw blurRad="12700" dist="12700" dir="18900000" rotWithShape="0">
                    <a:srgbClr val="000000">
                      <a:alpha val="40000"/>
                    </a:srgbClr>
                  </a:outerShdw>
                </a:effectLst>
                <a:uFillTx/>
                <a:latin typeface="Trebuchet MS"/>
                <a:ea typeface="Trebuchet MS"/>
                <a:cs typeface="Trebuchet MS"/>
                <a:sym typeface="Trebuchet MS"/>
              </a:defRPr>
            </a:lvl2pPr>
            <a:lvl3pPr marL="0" marR="0" indent="0" algn="ctr" defTabSz="825500" rtl="0" fontAlgn="auto" latinLnBrk="0" hangingPunct="0">
              <a:lnSpc>
                <a:spcPct val="100000"/>
              </a:lnSpc>
              <a:spcBef>
                <a:spcPts val="0"/>
              </a:spcBef>
              <a:spcAft>
                <a:spcPts val="0"/>
              </a:spcAft>
              <a:buClrTx/>
              <a:buSzTx/>
              <a:buFontTx/>
              <a:buNone/>
              <a:tabLst/>
              <a:defRPr kumimoji="0" sz="4200" b="1" i="0" u="none" strike="noStrike" cap="small" spc="0" normalizeH="0" baseline="0">
                <a:ln>
                  <a:noFill/>
                </a:ln>
                <a:solidFill>
                  <a:schemeClr val="accent3"/>
                </a:solidFill>
                <a:effectLst>
                  <a:outerShdw blurRad="12700" dist="12700" dir="18900000" rotWithShape="0">
                    <a:srgbClr val="000000">
                      <a:alpha val="40000"/>
                    </a:srgbClr>
                  </a:outerShdw>
                </a:effectLst>
                <a:uFillTx/>
                <a:latin typeface="Trebuchet MS"/>
                <a:ea typeface="Trebuchet MS"/>
                <a:cs typeface="Trebuchet MS"/>
                <a:sym typeface="Trebuchet MS"/>
              </a:defRPr>
            </a:lvl3pPr>
            <a:lvl4pPr marL="0" marR="0" indent="0" algn="ctr" defTabSz="825500" rtl="0" fontAlgn="auto" latinLnBrk="0" hangingPunct="0">
              <a:lnSpc>
                <a:spcPct val="100000"/>
              </a:lnSpc>
              <a:spcBef>
                <a:spcPts val="0"/>
              </a:spcBef>
              <a:spcAft>
                <a:spcPts val="0"/>
              </a:spcAft>
              <a:buClrTx/>
              <a:buSzTx/>
              <a:buFontTx/>
              <a:buNone/>
              <a:tabLst/>
              <a:defRPr kumimoji="0" sz="4200" b="1" i="0" u="none" strike="noStrike" cap="small" spc="0" normalizeH="0" baseline="0">
                <a:ln>
                  <a:noFill/>
                </a:ln>
                <a:solidFill>
                  <a:schemeClr val="accent3"/>
                </a:solidFill>
                <a:effectLst>
                  <a:outerShdw blurRad="12700" dist="12700" dir="18900000" rotWithShape="0">
                    <a:srgbClr val="000000">
                      <a:alpha val="40000"/>
                    </a:srgbClr>
                  </a:outerShdw>
                </a:effectLst>
                <a:uFillTx/>
                <a:latin typeface="Trebuchet MS"/>
                <a:ea typeface="Trebuchet MS"/>
                <a:cs typeface="Trebuchet MS"/>
                <a:sym typeface="Trebuchet MS"/>
              </a:defRPr>
            </a:lvl4pPr>
            <a:lvl5pPr marL="0" marR="0" indent="0" algn="ctr" defTabSz="825500" rtl="0" fontAlgn="auto" latinLnBrk="0" hangingPunct="0">
              <a:lnSpc>
                <a:spcPct val="100000"/>
              </a:lnSpc>
              <a:spcBef>
                <a:spcPts val="0"/>
              </a:spcBef>
              <a:spcAft>
                <a:spcPts val="0"/>
              </a:spcAft>
              <a:buClrTx/>
              <a:buSzTx/>
              <a:buFontTx/>
              <a:buNone/>
              <a:tabLst/>
              <a:defRPr kumimoji="0" sz="4200" b="1" i="0" u="none" strike="noStrike" cap="small" spc="0" normalizeH="0" baseline="0">
                <a:ln>
                  <a:noFill/>
                </a:ln>
                <a:solidFill>
                  <a:schemeClr val="accent3"/>
                </a:solidFill>
                <a:effectLst>
                  <a:outerShdw blurRad="12700" dist="12700" dir="18900000" rotWithShape="0">
                    <a:srgbClr val="000000">
                      <a:alpha val="40000"/>
                    </a:srgbClr>
                  </a:outerShdw>
                </a:effectLst>
                <a:uFillTx/>
                <a:latin typeface="Trebuchet MS"/>
                <a:ea typeface="Trebuchet MS"/>
                <a:cs typeface="Trebuchet MS"/>
                <a:sym typeface="Trebuchet MS"/>
              </a:defRPr>
            </a:lvl5pPr>
            <a:lvl6pPr marL="0" marR="0" indent="0" algn="ctr" defTabSz="825500" rtl="0" fontAlgn="auto" latinLnBrk="0" hangingPunct="0">
              <a:lnSpc>
                <a:spcPct val="100000"/>
              </a:lnSpc>
              <a:spcBef>
                <a:spcPts val="0"/>
              </a:spcBef>
              <a:spcAft>
                <a:spcPts val="0"/>
              </a:spcAft>
              <a:buClrTx/>
              <a:buSzTx/>
              <a:buFontTx/>
              <a:buNone/>
              <a:tabLst/>
              <a:defRPr kumimoji="0" sz="4200" b="1" i="0" u="none" strike="noStrike" cap="small" spc="0" normalizeH="0" baseline="0">
                <a:ln>
                  <a:noFill/>
                </a:ln>
                <a:solidFill>
                  <a:schemeClr val="accent3"/>
                </a:solidFill>
                <a:effectLst>
                  <a:outerShdw blurRad="12700" dist="12700" dir="18900000" rotWithShape="0">
                    <a:srgbClr val="000000">
                      <a:alpha val="40000"/>
                    </a:srgbClr>
                  </a:outerShdw>
                </a:effectLst>
                <a:uFillTx/>
                <a:latin typeface="Trebuchet MS"/>
                <a:ea typeface="Trebuchet MS"/>
                <a:cs typeface="Trebuchet MS"/>
                <a:sym typeface="Trebuchet MS"/>
              </a:defRPr>
            </a:lvl6pPr>
            <a:lvl7pPr marL="0" marR="0" indent="0" algn="ctr" defTabSz="825500" rtl="0" fontAlgn="auto" latinLnBrk="0" hangingPunct="0">
              <a:lnSpc>
                <a:spcPct val="100000"/>
              </a:lnSpc>
              <a:spcBef>
                <a:spcPts val="0"/>
              </a:spcBef>
              <a:spcAft>
                <a:spcPts val="0"/>
              </a:spcAft>
              <a:buClrTx/>
              <a:buSzTx/>
              <a:buFontTx/>
              <a:buNone/>
              <a:tabLst/>
              <a:defRPr kumimoji="0" sz="4200" b="1" i="0" u="none" strike="noStrike" cap="small" spc="0" normalizeH="0" baseline="0">
                <a:ln>
                  <a:noFill/>
                </a:ln>
                <a:solidFill>
                  <a:schemeClr val="accent3"/>
                </a:solidFill>
                <a:effectLst>
                  <a:outerShdw blurRad="12700" dist="12700" dir="18900000" rotWithShape="0">
                    <a:srgbClr val="000000">
                      <a:alpha val="40000"/>
                    </a:srgbClr>
                  </a:outerShdw>
                </a:effectLst>
                <a:uFillTx/>
                <a:latin typeface="Trebuchet MS"/>
                <a:ea typeface="Trebuchet MS"/>
                <a:cs typeface="Trebuchet MS"/>
                <a:sym typeface="Trebuchet MS"/>
              </a:defRPr>
            </a:lvl7pPr>
            <a:lvl8pPr marL="0" marR="0" indent="0" algn="ctr" defTabSz="825500" rtl="0" fontAlgn="auto" latinLnBrk="0" hangingPunct="0">
              <a:lnSpc>
                <a:spcPct val="100000"/>
              </a:lnSpc>
              <a:spcBef>
                <a:spcPts val="0"/>
              </a:spcBef>
              <a:spcAft>
                <a:spcPts val="0"/>
              </a:spcAft>
              <a:buClrTx/>
              <a:buSzTx/>
              <a:buFontTx/>
              <a:buNone/>
              <a:tabLst/>
              <a:defRPr kumimoji="0" sz="4200" b="1" i="0" u="none" strike="noStrike" cap="small" spc="0" normalizeH="0" baseline="0">
                <a:ln>
                  <a:noFill/>
                </a:ln>
                <a:solidFill>
                  <a:schemeClr val="accent3"/>
                </a:solidFill>
                <a:effectLst>
                  <a:outerShdw blurRad="12700" dist="12700" dir="18900000" rotWithShape="0">
                    <a:srgbClr val="000000">
                      <a:alpha val="40000"/>
                    </a:srgbClr>
                  </a:outerShdw>
                </a:effectLst>
                <a:uFillTx/>
                <a:latin typeface="Trebuchet MS"/>
                <a:ea typeface="Trebuchet MS"/>
                <a:cs typeface="Trebuchet MS"/>
                <a:sym typeface="Trebuchet MS"/>
              </a:defRPr>
            </a:lvl8pPr>
            <a:lvl9pPr marL="0" marR="0" indent="0" algn="ctr" defTabSz="825500" rtl="0" fontAlgn="auto" latinLnBrk="0" hangingPunct="0">
              <a:lnSpc>
                <a:spcPct val="100000"/>
              </a:lnSpc>
              <a:spcBef>
                <a:spcPts val="0"/>
              </a:spcBef>
              <a:spcAft>
                <a:spcPts val="0"/>
              </a:spcAft>
              <a:buClrTx/>
              <a:buSzTx/>
              <a:buFontTx/>
              <a:buNone/>
              <a:tabLst/>
              <a:defRPr kumimoji="0" sz="4200" b="1" i="0" u="none" strike="noStrike" cap="small" spc="0" normalizeH="0" baseline="0">
                <a:ln>
                  <a:noFill/>
                </a:ln>
                <a:solidFill>
                  <a:schemeClr val="accent3"/>
                </a:solidFill>
                <a:effectLst>
                  <a:outerShdw blurRad="12700" dist="12700" dir="18900000" rotWithShape="0">
                    <a:srgbClr val="000000">
                      <a:alpha val="40000"/>
                    </a:srgbClr>
                  </a:outerShdw>
                </a:effectLst>
                <a:uFillTx/>
                <a:latin typeface="Trebuchet MS"/>
                <a:ea typeface="Trebuchet MS"/>
                <a:cs typeface="Trebuchet MS"/>
                <a:sym typeface="Trebuchet MS"/>
              </a:defRPr>
            </a:lvl9pPr>
          </a:lstStyle>
          <a:p>
            <a:pPr>
              <a:defRPr>
                <a:effectLst/>
              </a:defRPr>
            </a:pPr>
            <a:fld id="{86CB4B4D-7CA3-9044-876B-883B54F8677D}" type="slidenum">
              <a:rPr lang="en-US" smtClean="0">
                <a:effectLst/>
              </a:rPr>
              <a:pPr>
                <a:defRPr>
                  <a:effectLst/>
                </a:defRPr>
              </a:pPr>
              <a:t>‹#›</a:t>
            </a:fld>
            <a:endParaRPr lang="en-US" dirty="0">
              <a:effectLst/>
            </a:endParaRPr>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4155" r:id="rId5"/>
  </p:sldLayoutIdLst>
  <p:transition spd="med"/>
  <p:hf sldNum="0" hdr="0" ftr="0" dt="0"/>
  <p:txStyles>
    <p:titleStyle>
      <a:lvl1pPr marL="0" marR="0" indent="0" algn="ctr" defTabSz="2438400" latinLnBrk="0">
        <a:lnSpc>
          <a:spcPct val="100000"/>
        </a:lnSpc>
        <a:spcBef>
          <a:spcPts val="0"/>
        </a:spcBef>
        <a:spcAft>
          <a:spcPts val="0"/>
        </a:spcAft>
        <a:buClrTx/>
        <a:buSzTx/>
        <a:buFontTx/>
        <a:buNone/>
        <a:tabLst/>
        <a:defRPr sz="4400" b="0" i="0" u="none" strike="noStrike" cap="small" spc="0" baseline="0">
          <a:solidFill>
            <a:srgbClr val="FFFFFF"/>
          </a:solidFill>
          <a:effectLst>
            <a:outerShdw blurRad="25400" dist="25400" dir="18900000" rotWithShape="0">
              <a:srgbClr val="000000"/>
            </a:outerShdw>
          </a:effectLst>
          <a:uFillTx/>
          <a:latin typeface="Trebuchet MS"/>
          <a:ea typeface="Trebuchet MS"/>
          <a:cs typeface="Trebuchet MS"/>
          <a:sym typeface="Trebuchet MS"/>
        </a:defRPr>
      </a:lvl1pPr>
      <a:lvl2pPr marL="0" marR="0" indent="0" algn="ctr" defTabSz="2438400" latinLnBrk="0">
        <a:lnSpc>
          <a:spcPct val="100000"/>
        </a:lnSpc>
        <a:spcBef>
          <a:spcPts val="0"/>
        </a:spcBef>
        <a:spcAft>
          <a:spcPts val="0"/>
        </a:spcAft>
        <a:buClrTx/>
        <a:buSzTx/>
        <a:buFontTx/>
        <a:buNone/>
        <a:tabLst/>
        <a:defRPr sz="4400" b="0" i="0" u="none" strike="noStrike" cap="small" spc="0" baseline="0">
          <a:solidFill>
            <a:srgbClr val="FFFFFF"/>
          </a:solidFill>
          <a:effectLst>
            <a:outerShdw blurRad="25400" dist="25400" dir="18900000" rotWithShape="0">
              <a:srgbClr val="000000"/>
            </a:outerShdw>
          </a:effectLst>
          <a:uFillTx/>
          <a:latin typeface="Trebuchet MS"/>
          <a:ea typeface="Trebuchet MS"/>
          <a:cs typeface="Trebuchet MS"/>
          <a:sym typeface="Trebuchet MS"/>
        </a:defRPr>
      </a:lvl2pPr>
      <a:lvl3pPr marL="0" marR="0" indent="0" algn="ctr" defTabSz="2438400" latinLnBrk="0">
        <a:lnSpc>
          <a:spcPct val="100000"/>
        </a:lnSpc>
        <a:spcBef>
          <a:spcPts val="0"/>
        </a:spcBef>
        <a:spcAft>
          <a:spcPts val="0"/>
        </a:spcAft>
        <a:buClrTx/>
        <a:buSzTx/>
        <a:buFontTx/>
        <a:buNone/>
        <a:tabLst/>
        <a:defRPr sz="4400" b="0" i="0" u="none" strike="noStrike" cap="small" spc="0" baseline="0">
          <a:solidFill>
            <a:srgbClr val="FFFFFF"/>
          </a:solidFill>
          <a:effectLst>
            <a:outerShdw blurRad="25400" dist="25400" dir="18900000" rotWithShape="0">
              <a:srgbClr val="000000"/>
            </a:outerShdw>
          </a:effectLst>
          <a:uFillTx/>
          <a:latin typeface="Trebuchet MS"/>
          <a:ea typeface="Trebuchet MS"/>
          <a:cs typeface="Trebuchet MS"/>
          <a:sym typeface="Trebuchet MS"/>
        </a:defRPr>
      </a:lvl3pPr>
      <a:lvl4pPr marL="0" marR="0" indent="0" algn="ctr" defTabSz="2438400" latinLnBrk="0">
        <a:lnSpc>
          <a:spcPct val="100000"/>
        </a:lnSpc>
        <a:spcBef>
          <a:spcPts val="0"/>
        </a:spcBef>
        <a:spcAft>
          <a:spcPts val="0"/>
        </a:spcAft>
        <a:buClrTx/>
        <a:buSzTx/>
        <a:buFontTx/>
        <a:buNone/>
        <a:tabLst/>
        <a:defRPr sz="4400" b="0" i="0" u="none" strike="noStrike" cap="small" spc="0" baseline="0">
          <a:solidFill>
            <a:srgbClr val="FFFFFF"/>
          </a:solidFill>
          <a:effectLst>
            <a:outerShdw blurRad="25400" dist="25400" dir="18900000" rotWithShape="0">
              <a:srgbClr val="000000"/>
            </a:outerShdw>
          </a:effectLst>
          <a:uFillTx/>
          <a:latin typeface="Trebuchet MS"/>
          <a:ea typeface="Trebuchet MS"/>
          <a:cs typeface="Trebuchet MS"/>
          <a:sym typeface="Trebuchet MS"/>
        </a:defRPr>
      </a:lvl4pPr>
      <a:lvl5pPr marL="0" marR="0" indent="0" algn="ctr" defTabSz="2438400" latinLnBrk="0">
        <a:lnSpc>
          <a:spcPct val="100000"/>
        </a:lnSpc>
        <a:spcBef>
          <a:spcPts val="0"/>
        </a:spcBef>
        <a:spcAft>
          <a:spcPts val="0"/>
        </a:spcAft>
        <a:buClrTx/>
        <a:buSzTx/>
        <a:buFontTx/>
        <a:buNone/>
        <a:tabLst/>
        <a:defRPr sz="4400" b="0" i="0" u="none" strike="noStrike" cap="small" spc="0" baseline="0">
          <a:solidFill>
            <a:srgbClr val="FFFFFF"/>
          </a:solidFill>
          <a:effectLst>
            <a:outerShdw blurRad="25400" dist="25400" dir="18900000" rotWithShape="0">
              <a:srgbClr val="000000"/>
            </a:outerShdw>
          </a:effectLst>
          <a:uFillTx/>
          <a:latin typeface="Trebuchet MS"/>
          <a:ea typeface="Trebuchet MS"/>
          <a:cs typeface="Trebuchet MS"/>
          <a:sym typeface="Trebuchet MS"/>
        </a:defRPr>
      </a:lvl5pPr>
      <a:lvl6pPr marL="0" marR="0" indent="0" algn="ctr" defTabSz="2438400" latinLnBrk="0">
        <a:lnSpc>
          <a:spcPct val="100000"/>
        </a:lnSpc>
        <a:spcBef>
          <a:spcPts val="0"/>
        </a:spcBef>
        <a:spcAft>
          <a:spcPts val="0"/>
        </a:spcAft>
        <a:buClrTx/>
        <a:buSzTx/>
        <a:buFontTx/>
        <a:buNone/>
        <a:tabLst/>
        <a:defRPr sz="4400" b="0" i="0" u="none" strike="noStrike" cap="small" spc="0" baseline="0">
          <a:solidFill>
            <a:srgbClr val="FFFFFF"/>
          </a:solidFill>
          <a:effectLst>
            <a:outerShdw blurRad="25400" dist="25400" dir="18900000" rotWithShape="0">
              <a:srgbClr val="000000"/>
            </a:outerShdw>
          </a:effectLst>
          <a:uFillTx/>
          <a:latin typeface="Trebuchet MS"/>
          <a:ea typeface="Trebuchet MS"/>
          <a:cs typeface="Trebuchet MS"/>
          <a:sym typeface="Trebuchet MS"/>
        </a:defRPr>
      </a:lvl6pPr>
      <a:lvl7pPr marL="0" marR="0" indent="0" algn="ctr" defTabSz="2438400" latinLnBrk="0">
        <a:lnSpc>
          <a:spcPct val="100000"/>
        </a:lnSpc>
        <a:spcBef>
          <a:spcPts val="0"/>
        </a:spcBef>
        <a:spcAft>
          <a:spcPts val="0"/>
        </a:spcAft>
        <a:buClrTx/>
        <a:buSzTx/>
        <a:buFontTx/>
        <a:buNone/>
        <a:tabLst/>
        <a:defRPr sz="4400" b="0" i="0" u="none" strike="noStrike" cap="small" spc="0" baseline="0">
          <a:solidFill>
            <a:srgbClr val="FFFFFF"/>
          </a:solidFill>
          <a:effectLst>
            <a:outerShdw blurRad="25400" dist="25400" dir="18900000" rotWithShape="0">
              <a:srgbClr val="000000"/>
            </a:outerShdw>
          </a:effectLst>
          <a:uFillTx/>
          <a:latin typeface="Trebuchet MS"/>
          <a:ea typeface="Trebuchet MS"/>
          <a:cs typeface="Trebuchet MS"/>
          <a:sym typeface="Trebuchet MS"/>
        </a:defRPr>
      </a:lvl7pPr>
      <a:lvl8pPr marL="0" marR="0" indent="0" algn="ctr" defTabSz="2438400" latinLnBrk="0">
        <a:lnSpc>
          <a:spcPct val="100000"/>
        </a:lnSpc>
        <a:spcBef>
          <a:spcPts val="0"/>
        </a:spcBef>
        <a:spcAft>
          <a:spcPts val="0"/>
        </a:spcAft>
        <a:buClrTx/>
        <a:buSzTx/>
        <a:buFontTx/>
        <a:buNone/>
        <a:tabLst/>
        <a:defRPr sz="4400" b="0" i="0" u="none" strike="noStrike" cap="small" spc="0" baseline="0">
          <a:solidFill>
            <a:srgbClr val="FFFFFF"/>
          </a:solidFill>
          <a:effectLst>
            <a:outerShdw blurRad="25400" dist="25400" dir="18900000" rotWithShape="0">
              <a:srgbClr val="000000"/>
            </a:outerShdw>
          </a:effectLst>
          <a:uFillTx/>
          <a:latin typeface="Trebuchet MS"/>
          <a:ea typeface="Trebuchet MS"/>
          <a:cs typeface="Trebuchet MS"/>
          <a:sym typeface="Trebuchet MS"/>
        </a:defRPr>
      </a:lvl8pPr>
      <a:lvl9pPr marL="0" marR="0" indent="0" algn="ctr" defTabSz="2438400" latinLnBrk="0">
        <a:lnSpc>
          <a:spcPct val="100000"/>
        </a:lnSpc>
        <a:spcBef>
          <a:spcPts val="0"/>
        </a:spcBef>
        <a:spcAft>
          <a:spcPts val="0"/>
        </a:spcAft>
        <a:buClrTx/>
        <a:buSzTx/>
        <a:buFontTx/>
        <a:buNone/>
        <a:tabLst/>
        <a:defRPr sz="4400" b="0" i="0" u="none" strike="noStrike" cap="small" spc="0" baseline="0">
          <a:solidFill>
            <a:srgbClr val="FFFFFF"/>
          </a:solidFill>
          <a:effectLst>
            <a:outerShdw blurRad="25400" dist="25400" dir="18900000" rotWithShape="0">
              <a:srgbClr val="000000"/>
            </a:outerShdw>
          </a:effectLst>
          <a:uFillTx/>
          <a:latin typeface="Trebuchet MS"/>
          <a:ea typeface="Trebuchet MS"/>
          <a:cs typeface="Trebuchet MS"/>
          <a:sym typeface="Trebuchet MS"/>
        </a:defRPr>
      </a:lvl9pPr>
    </p:titleStyle>
    <p:bodyStyle>
      <a:lvl1pPr marL="754474" marR="0" indent="-500474" algn="l" defTabSz="2438400" latinLnBrk="0">
        <a:lnSpc>
          <a:spcPct val="130000"/>
        </a:lnSpc>
        <a:spcBef>
          <a:spcPts val="0"/>
        </a:spcBef>
        <a:spcAft>
          <a:spcPts val="0"/>
        </a:spcAft>
        <a:buClr>
          <a:srgbClr val="FF8700"/>
        </a:buClr>
        <a:buSzPct val="122000"/>
        <a:buFont typeface="Helvetica"/>
        <a:buChar char="▸"/>
        <a:tabLst/>
        <a:defRPr sz="3800" b="0" i="0" u="none" strike="noStrike" cap="small" spc="0" baseline="0">
          <a:solidFill>
            <a:srgbClr val="222222"/>
          </a:solidFill>
          <a:uFillTx/>
          <a:latin typeface="Trebuchet MS"/>
          <a:ea typeface="Trebuchet MS"/>
          <a:cs typeface="Trebuchet MS"/>
          <a:sym typeface="Trebuchet MS"/>
        </a:defRPr>
      </a:lvl1pPr>
      <a:lvl2pPr marL="1022095" marR="0" indent="-463295" algn="l" defTabSz="2438400" latinLnBrk="0">
        <a:lnSpc>
          <a:spcPct val="130000"/>
        </a:lnSpc>
        <a:spcBef>
          <a:spcPts val="0"/>
        </a:spcBef>
        <a:spcAft>
          <a:spcPts val="0"/>
        </a:spcAft>
        <a:buClr>
          <a:srgbClr val="FF8700"/>
        </a:buClr>
        <a:buSzPct val="100000"/>
        <a:buFont typeface="Helvetica"/>
        <a:buChar char="▹"/>
        <a:tabLst/>
        <a:defRPr sz="3800" b="0" i="0" u="none" strike="noStrike" cap="small" spc="0" baseline="0">
          <a:solidFill>
            <a:srgbClr val="222222"/>
          </a:solidFill>
          <a:uFillTx/>
          <a:latin typeface="Trebuchet MS"/>
          <a:ea typeface="Trebuchet MS"/>
          <a:cs typeface="Trebuchet MS"/>
          <a:sym typeface="Trebuchet MS"/>
        </a:defRPr>
      </a:lvl2pPr>
      <a:lvl3pPr marL="0" marR="0" indent="0" algn="l" defTabSz="2438400" latinLnBrk="0">
        <a:lnSpc>
          <a:spcPct val="130000"/>
        </a:lnSpc>
        <a:spcBef>
          <a:spcPts val="0"/>
        </a:spcBef>
        <a:spcAft>
          <a:spcPts val="0"/>
        </a:spcAft>
        <a:buClr>
          <a:srgbClr val="FF8700"/>
        </a:buClr>
        <a:buSzPct val="100000"/>
        <a:buFont typeface="Helvetica"/>
        <a:buChar char="▹"/>
        <a:tabLst/>
        <a:defRPr sz="3800" b="0" i="0" u="none" strike="noStrike" cap="small" spc="0" baseline="0">
          <a:solidFill>
            <a:srgbClr val="222222"/>
          </a:solidFill>
          <a:uFillTx/>
          <a:latin typeface="Trebuchet MS"/>
          <a:ea typeface="Trebuchet MS"/>
          <a:cs typeface="Trebuchet MS"/>
          <a:sym typeface="Trebuchet MS"/>
        </a:defRPr>
      </a:lvl3pPr>
      <a:lvl4pPr marL="0" marR="0" indent="0" algn="l" defTabSz="2438400" latinLnBrk="0">
        <a:lnSpc>
          <a:spcPct val="130000"/>
        </a:lnSpc>
        <a:spcBef>
          <a:spcPts val="0"/>
        </a:spcBef>
        <a:spcAft>
          <a:spcPts val="0"/>
        </a:spcAft>
        <a:buClr>
          <a:srgbClr val="FF8700"/>
        </a:buClr>
        <a:buSzPct val="100000"/>
        <a:buFont typeface="Helvetica"/>
        <a:buChar char="▹"/>
        <a:tabLst/>
        <a:defRPr sz="3800" b="0" i="0" u="none" strike="noStrike" cap="small" spc="0" baseline="0">
          <a:solidFill>
            <a:srgbClr val="222222"/>
          </a:solidFill>
          <a:uFillTx/>
          <a:latin typeface="Trebuchet MS"/>
          <a:ea typeface="Trebuchet MS"/>
          <a:cs typeface="Trebuchet MS"/>
          <a:sym typeface="Trebuchet MS"/>
        </a:defRPr>
      </a:lvl4pPr>
      <a:lvl5pPr marL="0" marR="0" indent="0" algn="l" defTabSz="2438400" latinLnBrk="0">
        <a:lnSpc>
          <a:spcPct val="130000"/>
        </a:lnSpc>
        <a:spcBef>
          <a:spcPts val="0"/>
        </a:spcBef>
        <a:spcAft>
          <a:spcPts val="0"/>
        </a:spcAft>
        <a:buClr>
          <a:srgbClr val="FF8700"/>
        </a:buClr>
        <a:buSzPct val="100000"/>
        <a:buFont typeface="Helvetica"/>
        <a:buChar char="▹"/>
        <a:tabLst/>
        <a:defRPr sz="3800" b="0" i="0" u="none" strike="noStrike" cap="small" spc="0" baseline="0">
          <a:solidFill>
            <a:srgbClr val="222222"/>
          </a:solidFill>
          <a:uFillTx/>
          <a:latin typeface="Trebuchet MS"/>
          <a:ea typeface="Trebuchet MS"/>
          <a:cs typeface="Trebuchet MS"/>
          <a:sym typeface="Trebuchet MS"/>
        </a:defRPr>
      </a:lvl5pPr>
      <a:lvl6pPr marL="0" marR="0" indent="0" algn="l" defTabSz="2438400" latinLnBrk="0">
        <a:lnSpc>
          <a:spcPct val="130000"/>
        </a:lnSpc>
        <a:spcBef>
          <a:spcPts val="0"/>
        </a:spcBef>
        <a:spcAft>
          <a:spcPts val="0"/>
        </a:spcAft>
        <a:buClr>
          <a:srgbClr val="FF8700"/>
        </a:buClr>
        <a:buSzPct val="100000"/>
        <a:buFont typeface="Helvetica"/>
        <a:buChar char="▹"/>
        <a:tabLst/>
        <a:defRPr sz="3800" b="0" i="0" u="none" strike="noStrike" cap="small" spc="0" baseline="0">
          <a:solidFill>
            <a:srgbClr val="222222"/>
          </a:solidFill>
          <a:uFillTx/>
          <a:latin typeface="Trebuchet MS"/>
          <a:ea typeface="Trebuchet MS"/>
          <a:cs typeface="Trebuchet MS"/>
          <a:sym typeface="Trebuchet MS"/>
        </a:defRPr>
      </a:lvl6pPr>
      <a:lvl7pPr marL="1022095" marR="0" indent="-463295" algn="l" defTabSz="2438400" latinLnBrk="0">
        <a:lnSpc>
          <a:spcPct val="130000"/>
        </a:lnSpc>
        <a:spcBef>
          <a:spcPts val="0"/>
        </a:spcBef>
        <a:spcAft>
          <a:spcPts val="0"/>
        </a:spcAft>
        <a:buClr>
          <a:srgbClr val="FF8700"/>
        </a:buClr>
        <a:buSzPct val="100000"/>
        <a:buFont typeface="Helvetica"/>
        <a:buChar char="▹"/>
        <a:tabLst/>
        <a:defRPr sz="3800" b="0" i="0" u="none" strike="noStrike" cap="small" spc="0" baseline="0">
          <a:solidFill>
            <a:srgbClr val="222222"/>
          </a:solidFill>
          <a:uFillTx/>
          <a:latin typeface="Trebuchet MS"/>
          <a:ea typeface="Trebuchet MS"/>
          <a:cs typeface="Trebuchet MS"/>
          <a:sym typeface="Trebuchet MS"/>
        </a:defRPr>
      </a:lvl7pPr>
      <a:lvl8pPr marL="0" marR="0" indent="0" algn="l" defTabSz="2438400" latinLnBrk="0">
        <a:lnSpc>
          <a:spcPct val="130000"/>
        </a:lnSpc>
        <a:spcBef>
          <a:spcPts val="0"/>
        </a:spcBef>
        <a:spcAft>
          <a:spcPts val="0"/>
        </a:spcAft>
        <a:buClr>
          <a:srgbClr val="FF8700"/>
        </a:buClr>
        <a:buSzPct val="100000"/>
        <a:buFont typeface="Helvetica"/>
        <a:buChar char="▹"/>
        <a:tabLst/>
        <a:defRPr sz="3800" b="0" i="0" u="none" strike="noStrike" cap="small" spc="0" baseline="0">
          <a:solidFill>
            <a:srgbClr val="222222"/>
          </a:solidFill>
          <a:uFillTx/>
          <a:latin typeface="Trebuchet MS"/>
          <a:ea typeface="Trebuchet MS"/>
          <a:cs typeface="Trebuchet MS"/>
          <a:sym typeface="Trebuchet MS"/>
        </a:defRPr>
      </a:lvl8pPr>
      <a:lvl9pPr marL="0" marR="0" indent="0" algn="l" defTabSz="2438400" latinLnBrk="0">
        <a:lnSpc>
          <a:spcPct val="130000"/>
        </a:lnSpc>
        <a:spcBef>
          <a:spcPts val="0"/>
        </a:spcBef>
        <a:spcAft>
          <a:spcPts val="0"/>
        </a:spcAft>
        <a:buClr>
          <a:srgbClr val="FF8700"/>
        </a:buClr>
        <a:buSzPct val="100000"/>
        <a:buFont typeface="Helvetica"/>
        <a:buChar char="▹"/>
        <a:tabLst/>
        <a:defRPr sz="3800" b="0" i="0" u="none" strike="noStrike" cap="small" spc="0" baseline="0">
          <a:solidFill>
            <a:srgbClr val="222222"/>
          </a:solidFill>
          <a:uFillTx/>
          <a:latin typeface="Trebuchet MS"/>
          <a:ea typeface="Trebuchet MS"/>
          <a:cs typeface="Trebuchet MS"/>
          <a:sym typeface="Trebuchet MS"/>
        </a:defRPr>
      </a:lvl9pPr>
    </p:bodyStyle>
    <p:otherStyle>
      <a:lvl1pPr marL="0" marR="0" indent="0" algn="ctr" defTabSz="914400" latinLnBrk="0">
        <a:lnSpc>
          <a:spcPct val="100000"/>
        </a:lnSpc>
        <a:spcBef>
          <a:spcPts val="0"/>
        </a:spcBef>
        <a:spcAft>
          <a:spcPts val="0"/>
        </a:spcAft>
        <a:buClrTx/>
        <a:buSzTx/>
        <a:buFontTx/>
        <a:buNone/>
        <a:tabLst/>
        <a:defRPr sz="6000" b="1" i="0" u="none" strike="noStrike" cap="none" spc="0" baseline="0">
          <a:solidFill>
            <a:schemeClr val="tx1"/>
          </a:solidFill>
          <a:effectLst>
            <a:outerShdw blurRad="12700" dist="12700" dir="18900000" rotWithShape="0">
              <a:srgbClr val="000000">
                <a:alpha val="50000"/>
              </a:srgbClr>
            </a:outerShdw>
          </a:effectLst>
          <a:uFillTx/>
          <a:latin typeface="+mn-lt"/>
          <a:ea typeface="+mn-ea"/>
          <a:cs typeface="+mn-cs"/>
          <a:sym typeface="Trebuchet MS"/>
        </a:defRPr>
      </a:lvl1pPr>
      <a:lvl2pPr marL="0" marR="0" indent="0" algn="ctr" defTabSz="914400" latinLnBrk="0">
        <a:lnSpc>
          <a:spcPct val="100000"/>
        </a:lnSpc>
        <a:spcBef>
          <a:spcPts val="0"/>
        </a:spcBef>
        <a:spcAft>
          <a:spcPts val="0"/>
        </a:spcAft>
        <a:buClrTx/>
        <a:buSzTx/>
        <a:buFontTx/>
        <a:buNone/>
        <a:tabLst/>
        <a:defRPr sz="6000" b="1" i="0" u="none" strike="noStrike" cap="none" spc="0" baseline="0">
          <a:solidFill>
            <a:schemeClr val="tx1"/>
          </a:solidFill>
          <a:effectLst>
            <a:outerShdw blurRad="12700" dist="12700" dir="18900000" rotWithShape="0">
              <a:srgbClr val="000000">
                <a:alpha val="50000"/>
              </a:srgbClr>
            </a:outerShdw>
          </a:effectLst>
          <a:uFillTx/>
          <a:latin typeface="+mn-lt"/>
          <a:ea typeface="+mn-ea"/>
          <a:cs typeface="+mn-cs"/>
          <a:sym typeface="Trebuchet MS"/>
        </a:defRPr>
      </a:lvl2pPr>
      <a:lvl3pPr marL="0" marR="0" indent="0" algn="ctr" defTabSz="914400" latinLnBrk="0">
        <a:lnSpc>
          <a:spcPct val="100000"/>
        </a:lnSpc>
        <a:spcBef>
          <a:spcPts val="0"/>
        </a:spcBef>
        <a:spcAft>
          <a:spcPts val="0"/>
        </a:spcAft>
        <a:buClrTx/>
        <a:buSzTx/>
        <a:buFontTx/>
        <a:buNone/>
        <a:tabLst/>
        <a:defRPr sz="6000" b="1" i="0" u="none" strike="noStrike" cap="none" spc="0" baseline="0">
          <a:solidFill>
            <a:schemeClr val="tx1"/>
          </a:solidFill>
          <a:effectLst>
            <a:outerShdw blurRad="12700" dist="12700" dir="18900000" rotWithShape="0">
              <a:srgbClr val="000000">
                <a:alpha val="50000"/>
              </a:srgbClr>
            </a:outerShdw>
          </a:effectLst>
          <a:uFillTx/>
          <a:latin typeface="+mn-lt"/>
          <a:ea typeface="+mn-ea"/>
          <a:cs typeface="+mn-cs"/>
          <a:sym typeface="Trebuchet MS"/>
        </a:defRPr>
      </a:lvl3pPr>
      <a:lvl4pPr marL="0" marR="0" indent="0" algn="ctr" defTabSz="914400" latinLnBrk="0">
        <a:lnSpc>
          <a:spcPct val="100000"/>
        </a:lnSpc>
        <a:spcBef>
          <a:spcPts val="0"/>
        </a:spcBef>
        <a:spcAft>
          <a:spcPts val="0"/>
        </a:spcAft>
        <a:buClrTx/>
        <a:buSzTx/>
        <a:buFontTx/>
        <a:buNone/>
        <a:tabLst/>
        <a:defRPr sz="6000" b="1" i="0" u="none" strike="noStrike" cap="none" spc="0" baseline="0">
          <a:solidFill>
            <a:schemeClr val="tx1"/>
          </a:solidFill>
          <a:effectLst>
            <a:outerShdw blurRad="12700" dist="12700" dir="18900000" rotWithShape="0">
              <a:srgbClr val="000000">
                <a:alpha val="50000"/>
              </a:srgbClr>
            </a:outerShdw>
          </a:effectLst>
          <a:uFillTx/>
          <a:latin typeface="+mn-lt"/>
          <a:ea typeface="+mn-ea"/>
          <a:cs typeface="+mn-cs"/>
          <a:sym typeface="Trebuchet MS"/>
        </a:defRPr>
      </a:lvl4pPr>
      <a:lvl5pPr marL="0" marR="0" indent="0" algn="ctr" defTabSz="914400" latinLnBrk="0">
        <a:lnSpc>
          <a:spcPct val="100000"/>
        </a:lnSpc>
        <a:spcBef>
          <a:spcPts val="0"/>
        </a:spcBef>
        <a:spcAft>
          <a:spcPts val="0"/>
        </a:spcAft>
        <a:buClrTx/>
        <a:buSzTx/>
        <a:buFontTx/>
        <a:buNone/>
        <a:tabLst/>
        <a:defRPr sz="6000" b="1" i="0" u="none" strike="noStrike" cap="none" spc="0" baseline="0">
          <a:solidFill>
            <a:schemeClr val="tx1"/>
          </a:solidFill>
          <a:effectLst>
            <a:outerShdw blurRad="12700" dist="12700" dir="18900000" rotWithShape="0">
              <a:srgbClr val="000000">
                <a:alpha val="50000"/>
              </a:srgbClr>
            </a:outerShdw>
          </a:effectLst>
          <a:uFillTx/>
          <a:latin typeface="+mn-lt"/>
          <a:ea typeface="+mn-ea"/>
          <a:cs typeface="+mn-cs"/>
          <a:sym typeface="Trebuchet MS"/>
        </a:defRPr>
      </a:lvl5pPr>
      <a:lvl6pPr marL="0" marR="0" indent="0" algn="ctr" defTabSz="914400" latinLnBrk="0">
        <a:lnSpc>
          <a:spcPct val="100000"/>
        </a:lnSpc>
        <a:spcBef>
          <a:spcPts val="0"/>
        </a:spcBef>
        <a:spcAft>
          <a:spcPts val="0"/>
        </a:spcAft>
        <a:buClrTx/>
        <a:buSzTx/>
        <a:buFontTx/>
        <a:buNone/>
        <a:tabLst/>
        <a:defRPr sz="6000" b="1" i="0" u="none" strike="noStrike" cap="none" spc="0" baseline="0">
          <a:solidFill>
            <a:schemeClr val="tx1"/>
          </a:solidFill>
          <a:effectLst>
            <a:outerShdw blurRad="12700" dist="12700" dir="18900000" rotWithShape="0">
              <a:srgbClr val="000000">
                <a:alpha val="50000"/>
              </a:srgbClr>
            </a:outerShdw>
          </a:effectLst>
          <a:uFillTx/>
          <a:latin typeface="+mn-lt"/>
          <a:ea typeface="+mn-ea"/>
          <a:cs typeface="+mn-cs"/>
          <a:sym typeface="Trebuchet MS"/>
        </a:defRPr>
      </a:lvl6pPr>
      <a:lvl7pPr marL="0" marR="0" indent="0" algn="ctr" defTabSz="914400" latinLnBrk="0">
        <a:lnSpc>
          <a:spcPct val="100000"/>
        </a:lnSpc>
        <a:spcBef>
          <a:spcPts val="0"/>
        </a:spcBef>
        <a:spcAft>
          <a:spcPts val="0"/>
        </a:spcAft>
        <a:buClrTx/>
        <a:buSzTx/>
        <a:buFontTx/>
        <a:buNone/>
        <a:tabLst/>
        <a:defRPr sz="6000" b="1" i="0" u="none" strike="noStrike" cap="none" spc="0" baseline="0">
          <a:solidFill>
            <a:schemeClr val="tx1"/>
          </a:solidFill>
          <a:effectLst>
            <a:outerShdw blurRad="12700" dist="12700" dir="18900000" rotWithShape="0">
              <a:srgbClr val="000000">
                <a:alpha val="50000"/>
              </a:srgbClr>
            </a:outerShdw>
          </a:effectLst>
          <a:uFillTx/>
          <a:latin typeface="+mn-lt"/>
          <a:ea typeface="+mn-ea"/>
          <a:cs typeface="+mn-cs"/>
          <a:sym typeface="Trebuchet MS"/>
        </a:defRPr>
      </a:lvl7pPr>
      <a:lvl8pPr marL="0" marR="0" indent="0" algn="ctr" defTabSz="914400" latinLnBrk="0">
        <a:lnSpc>
          <a:spcPct val="100000"/>
        </a:lnSpc>
        <a:spcBef>
          <a:spcPts val="0"/>
        </a:spcBef>
        <a:spcAft>
          <a:spcPts val="0"/>
        </a:spcAft>
        <a:buClrTx/>
        <a:buSzTx/>
        <a:buFontTx/>
        <a:buNone/>
        <a:tabLst/>
        <a:defRPr sz="6000" b="1" i="0" u="none" strike="noStrike" cap="none" spc="0" baseline="0">
          <a:solidFill>
            <a:schemeClr val="tx1"/>
          </a:solidFill>
          <a:effectLst>
            <a:outerShdw blurRad="12700" dist="12700" dir="18900000" rotWithShape="0">
              <a:srgbClr val="000000">
                <a:alpha val="50000"/>
              </a:srgbClr>
            </a:outerShdw>
          </a:effectLst>
          <a:uFillTx/>
          <a:latin typeface="+mn-lt"/>
          <a:ea typeface="+mn-ea"/>
          <a:cs typeface="+mn-cs"/>
          <a:sym typeface="Trebuchet MS"/>
        </a:defRPr>
      </a:lvl8pPr>
      <a:lvl9pPr marL="0" marR="0" indent="0" algn="ctr" defTabSz="914400" latinLnBrk="0">
        <a:lnSpc>
          <a:spcPct val="100000"/>
        </a:lnSpc>
        <a:spcBef>
          <a:spcPts val="0"/>
        </a:spcBef>
        <a:spcAft>
          <a:spcPts val="0"/>
        </a:spcAft>
        <a:buClrTx/>
        <a:buSzTx/>
        <a:buFontTx/>
        <a:buNone/>
        <a:tabLst/>
        <a:defRPr sz="6000" b="1" i="0" u="none" strike="noStrike" cap="none" spc="0" baseline="0">
          <a:solidFill>
            <a:schemeClr val="tx1"/>
          </a:solidFill>
          <a:effectLst>
            <a:outerShdw blurRad="12700" dist="12700" dir="18900000" rotWithShape="0">
              <a:srgbClr val="000000">
                <a:alpha val="50000"/>
              </a:srgbClr>
            </a:outerShdw>
          </a:effectLst>
          <a:uFillTx/>
          <a:latin typeface="+mn-lt"/>
          <a:ea typeface="+mn-ea"/>
          <a:cs typeface="+mn-cs"/>
          <a:sym typeface="Trebuchet M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70"/>
            </p:custDataLst>
          </p:nvPr>
        </p:nvGraphicFramePr>
        <p:xfrm>
          <a:off x="4032" y="3180"/>
          <a:ext cx="4032" cy="3176"/>
        </p:xfrm>
        <a:graphic>
          <a:graphicData uri="http://schemas.openxmlformats.org/presentationml/2006/ole">
            <mc:AlternateContent xmlns:mc="http://schemas.openxmlformats.org/markup-compatibility/2006">
              <mc:Choice xmlns:v="urn:schemas-microsoft-com:vml" Requires="v">
                <p:oleObj spid="_x0000_s1060" name="think-cell Slide" r:id="rId72" imgW="286" imgH="286" progId="TCLayout.ActiveDocument.1">
                  <p:embed/>
                </p:oleObj>
              </mc:Choice>
              <mc:Fallback>
                <p:oleObj name="think-cell Slide" r:id="rId72" imgW="286" imgH="286" progId="TCLayout.ActiveDocument.1">
                  <p:embed/>
                  <p:pic>
                    <p:nvPicPr>
                      <p:cNvPr id="3" name="Object 2" hidden="1"/>
                      <p:cNvPicPr/>
                      <p:nvPr/>
                    </p:nvPicPr>
                    <p:blipFill>
                      <a:blip r:embed="rId73"/>
                      <a:stretch>
                        <a:fillRect/>
                      </a:stretch>
                    </p:blipFill>
                    <p:spPr>
                      <a:xfrm>
                        <a:off x="4032" y="3180"/>
                        <a:ext cx="4032" cy="3176"/>
                      </a:xfrm>
                      <a:prstGeom prst="rect">
                        <a:avLst/>
                      </a:prstGeom>
                    </p:spPr>
                  </p:pic>
                </p:oleObj>
              </mc:Fallback>
            </mc:AlternateContent>
          </a:graphicData>
        </a:graphic>
      </p:graphicFrame>
      <p:sp>
        <p:nvSpPr>
          <p:cNvPr id="2" name="Rectangle 1" hidden="1"/>
          <p:cNvSpPr/>
          <p:nvPr userDrawn="1">
            <p:custDataLst>
              <p:tags r:id="rId71"/>
            </p:custDataLst>
          </p:nvPr>
        </p:nvSpPr>
        <p:spPr>
          <a:xfrm>
            <a:off x="0" y="0"/>
            <a:ext cx="423333" cy="423333"/>
          </a:xfrm>
          <a:prstGeom prst="rect">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211612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srgbClr val="FFFFFF"/>
              </a:solidFill>
              <a:effectLst/>
              <a:uLnTx/>
              <a:uFillTx/>
              <a:latin typeface="Garamond" panose="02020404030301010803" pitchFamily="18" charset="0"/>
              <a:ea typeface="+mn-ea"/>
              <a:cs typeface="+mn-cs"/>
              <a:sym typeface="Garamond" panose="02020404030301010803" pitchFamily="18" charset="0"/>
            </a:endParaRPr>
          </a:p>
        </p:txBody>
      </p:sp>
      <p:sp>
        <p:nvSpPr>
          <p:cNvPr id="12" name="Page"/>
          <p:cNvSpPr txBox="1"/>
          <p:nvPr userDrawn="1"/>
        </p:nvSpPr>
        <p:spPr>
          <a:xfrm>
            <a:off x="21966653" y="12810073"/>
            <a:ext cx="786155" cy="307777"/>
          </a:xfrm>
          <a:prstGeom prst="rect">
            <a:avLst/>
          </a:prstGeom>
          <a:noFill/>
        </p:spPr>
        <p:txBody>
          <a:bodyPr wrap="square" lIns="0" tIns="0" rIns="0" bIns="0" rtlCol="0" anchor="b">
            <a:spAutoFit/>
          </a:bodyPr>
          <a:lstStyle/>
          <a:p>
            <a:pPr marL="0" marR="0" lvl="0" indent="0" algn="r" defTabSz="1828778" rtl="0" eaLnBrk="1" fontAlgn="auto" latinLnBrk="0" hangingPunct="1">
              <a:lnSpc>
                <a:spcPct val="100000"/>
              </a:lnSpc>
              <a:spcBef>
                <a:spcPts val="0"/>
              </a:spcBef>
              <a:spcAft>
                <a:spcPts val="0"/>
              </a:spcAft>
              <a:buClrTx/>
              <a:buSzTx/>
              <a:buFontTx/>
              <a:buNone/>
              <a:tabLst/>
              <a:defRPr/>
            </a:pPr>
            <a:fld id="{DFCF27A5-1A5B-48D3-A060-2758FFBB1ADD}" type="slidenum">
              <a:rPr kumimoji="0" lang="en-US" sz="2000" b="0" i="0" u="none" strike="noStrike" kern="1200" cap="none" spc="0" normalizeH="0" baseline="0" noProof="0" smtClean="0">
                <a:ln>
                  <a:noFill/>
                </a:ln>
                <a:solidFill>
                  <a:prstClr val="white">
                    <a:lumMod val="50000"/>
                  </a:prstClr>
                </a:solidFill>
                <a:effectLst/>
                <a:uLnTx/>
                <a:uFillTx/>
                <a:latin typeface="Garamond"/>
                <a:ea typeface="+mn-ea"/>
                <a:cs typeface="+mn-cs"/>
                <a:sym typeface="+mn-lt"/>
              </a:rPr>
              <a:pPr marL="0" marR="0" lvl="0" indent="0" algn="r" defTabSz="1828778" rtl="0" eaLnBrk="1" fontAlgn="auto" latinLnBrk="0" hangingPunct="1">
                <a:lnSpc>
                  <a:spcPct val="100000"/>
                </a:lnSpc>
                <a:spcBef>
                  <a:spcPts val="0"/>
                </a:spcBef>
                <a:spcAft>
                  <a:spcPts val="0"/>
                </a:spcAft>
                <a:buClrTx/>
                <a:buSzTx/>
                <a:buFontTx/>
                <a:buNone/>
                <a:tabLst/>
                <a:defRPr/>
              </a:pPr>
              <a:t>‹#›</a:t>
            </a:fld>
            <a:endParaRPr kumimoji="0" lang="en-US" sz="2000" b="0" i="0" u="none" strike="noStrike" kern="1200" cap="none" spc="0" normalizeH="0" baseline="0" noProof="0" dirty="0">
              <a:ln>
                <a:noFill/>
              </a:ln>
              <a:solidFill>
                <a:prstClr val="white">
                  <a:lumMod val="50000"/>
                </a:prstClr>
              </a:solidFill>
              <a:effectLst/>
              <a:uLnTx/>
              <a:uFillTx/>
              <a:latin typeface="Garamond"/>
              <a:ea typeface="+mn-ea"/>
              <a:cs typeface="+mn-cs"/>
              <a:sym typeface="+mn-lt"/>
            </a:endParaRPr>
          </a:p>
        </p:txBody>
      </p:sp>
      <p:sp>
        <p:nvSpPr>
          <p:cNvPr id="11" name="Date Placeholder 3"/>
          <p:cNvSpPr>
            <a:spLocks noGrp="1"/>
          </p:cNvSpPr>
          <p:nvPr>
            <p:ph type="dt" sz="half" idx="2"/>
          </p:nvPr>
        </p:nvSpPr>
        <p:spPr>
          <a:xfrm>
            <a:off x="20037833" y="12810073"/>
            <a:ext cx="1928824" cy="307777"/>
          </a:xfrm>
          <a:prstGeom prst="rect">
            <a:avLst/>
          </a:prstGeom>
        </p:spPr>
        <p:txBody>
          <a:bodyPr vert="horz" wrap="square" lIns="0" tIns="0" rIns="0" bIns="0" rtlCol="0" anchor="b">
            <a:spAutoFit/>
          </a:bodyPr>
          <a:lstStyle>
            <a:lvl1pPr algn="r">
              <a:defRPr sz="2000">
                <a:solidFill>
                  <a:schemeClr val="bg1">
                    <a:lumMod val="50000"/>
                  </a:schemeClr>
                </a:solidFill>
                <a:latin typeface="+mn-lt"/>
                <a:ea typeface="+mn-ea"/>
                <a:cs typeface="+mn-cs"/>
                <a:sym typeface="+mn-lt"/>
              </a:defRPr>
            </a:lvl1pPr>
          </a:lstStyle>
          <a:p>
            <a:pPr defTabSz="2116120" hangingPunct="1"/>
            <a:fld id="{C207B9C7-74ED-42F5-B4F1-979196C4A721}" type="datetime1">
              <a:rPr lang="en-US" b="0" kern="1200" cap="none" smtClean="0">
                <a:solidFill>
                  <a:prstClr val="white">
                    <a:lumMod val="50000"/>
                  </a:prstClr>
                </a:solidFill>
                <a:effectLst/>
              </a:rPr>
              <a:t>5/6/21</a:t>
            </a:fld>
            <a:endParaRPr lang="en-US" b="0" kern="1200" cap="none" dirty="0">
              <a:solidFill>
                <a:prstClr val="white">
                  <a:lumMod val="50000"/>
                </a:prstClr>
              </a:solidFill>
              <a:effectLst/>
            </a:endParaRPr>
          </a:p>
        </p:txBody>
      </p:sp>
      <p:sp>
        <p:nvSpPr>
          <p:cNvPr id="4" name="Text Placeholder 3"/>
          <p:cNvSpPr>
            <a:spLocks noGrp="1"/>
          </p:cNvSpPr>
          <p:nvPr>
            <p:ph type="body" idx="1"/>
          </p:nvPr>
        </p:nvSpPr>
        <p:spPr>
          <a:xfrm>
            <a:off x="1599739" y="4161600"/>
            <a:ext cx="21180496" cy="75744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
        <p:nvSpPr>
          <p:cNvPr id="9" name="Title Placeholder 1"/>
          <p:cNvSpPr>
            <a:spLocks noGrp="1"/>
          </p:cNvSpPr>
          <p:nvPr>
            <p:ph type="title"/>
          </p:nvPr>
        </p:nvSpPr>
        <p:spPr>
          <a:xfrm>
            <a:off x="1599739" y="1245607"/>
            <a:ext cx="21180496" cy="664797"/>
          </a:xfrm>
          <a:prstGeom prst="rect">
            <a:avLst/>
          </a:prstGeom>
        </p:spPr>
        <p:txBody>
          <a:bodyPr vert="horz" wrap="square" lIns="0" tIns="0" rIns="0" bIns="0" rtlCol="0" anchor="t">
            <a:spAutoFit/>
          </a:bodyPr>
          <a:lstStyle/>
          <a:p>
            <a:r>
              <a:rPr lang="en-US" dirty="0"/>
              <a:t>Click to edit Master title style</a:t>
            </a:r>
          </a:p>
        </p:txBody>
      </p:sp>
      <p:sp>
        <p:nvSpPr>
          <p:cNvPr id="8" name="Slide Number">
            <a:extLst>
              <a:ext uri="{FF2B5EF4-FFF2-40B4-BE49-F238E27FC236}">
                <a16:creationId xmlns:a16="http://schemas.microsoft.com/office/drawing/2014/main" id="{67083861-E4E3-4671-9595-A40E6A0117F6}"/>
              </a:ext>
            </a:extLst>
          </p:cNvPr>
          <p:cNvSpPr txBox="1">
            <a:spLocks/>
          </p:cNvSpPr>
          <p:nvPr userDrawn="1"/>
        </p:nvSpPr>
        <p:spPr>
          <a:xfrm>
            <a:off x="22707051" y="12510894"/>
            <a:ext cx="535385" cy="5207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8100" tIns="38100" rIns="38100" bIns="3810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535353"/>
                </a:solidFill>
                <a:effectLst>
                  <a:outerShdw blurRad="12700" dist="12700" dir="18900000" rotWithShape="0">
                    <a:srgbClr val="000000">
                      <a:alpha val="50000"/>
                    </a:srgbClr>
                  </a:outerShdw>
                </a:effectLst>
                <a:uFillTx/>
                <a:latin typeface="Trebuchet MS"/>
                <a:ea typeface="Trebuchet MS"/>
                <a:cs typeface="Trebuchet MS"/>
                <a:sym typeface="Trebuchet MS"/>
              </a:defRPr>
            </a:lvl1pPr>
            <a:lvl2pPr marL="0" marR="0" indent="0" algn="ctr" defTabSz="825500" rtl="0" fontAlgn="auto" latinLnBrk="0" hangingPunct="0">
              <a:lnSpc>
                <a:spcPct val="100000"/>
              </a:lnSpc>
              <a:spcBef>
                <a:spcPts val="0"/>
              </a:spcBef>
              <a:spcAft>
                <a:spcPts val="0"/>
              </a:spcAft>
              <a:buClrTx/>
              <a:buSzTx/>
              <a:buFontTx/>
              <a:buNone/>
              <a:tabLst/>
              <a:defRPr kumimoji="0" sz="4200" b="1" i="0" u="none" strike="noStrike" cap="small" spc="0" normalizeH="0" baseline="0">
                <a:ln>
                  <a:noFill/>
                </a:ln>
                <a:solidFill>
                  <a:schemeClr val="accent3"/>
                </a:solidFill>
                <a:effectLst>
                  <a:outerShdw blurRad="12700" dist="12700" dir="18900000" rotWithShape="0">
                    <a:srgbClr val="000000">
                      <a:alpha val="40000"/>
                    </a:srgbClr>
                  </a:outerShdw>
                </a:effectLst>
                <a:uFillTx/>
                <a:latin typeface="Trebuchet MS"/>
                <a:ea typeface="Trebuchet MS"/>
                <a:cs typeface="Trebuchet MS"/>
                <a:sym typeface="Trebuchet MS"/>
              </a:defRPr>
            </a:lvl2pPr>
            <a:lvl3pPr marL="0" marR="0" indent="0" algn="ctr" defTabSz="825500" rtl="0" fontAlgn="auto" latinLnBrk="0" hangingPunct="0">
              <a:lnSpc>
                <a:spcPct val="100000"/>
              </a:lnSpc>
              <a:spcBef>
                <a:spcPts val="0"/>
              </a:spcBef>
              <a:spcAft>
                <a:spcPts val="0"/>
              </a:spcAft>
              <a:buClrTx/>
              <a:buSzTx/>
              <a:buFontTx/>
              <a:buNone/>
              <a:tabLst/>
              <a:defRPr kumimoji="0" sz="4200" b="1" i="0" u="none" strike="noStrike" cap="small" spc="0" normalizeH="0" baseline="0">
                <a:ln>
                  <a:noFill/>
                </a:ln>
                <a:solidFill>
                  <a:schemeClr val="accent3"/>
                </a:solidFill>
                <a:effectLst>
                  <a:outerShdw blurRad="12700" dist="12700" dir="18900000" rotWithShape="0">
                    <a:srgbClr val="000000">
                      <a:alpha val="40000"/>
                    </a:srgbClr>
                  </a:outerShdw>
                </a:effectLst>
                <a:uFillTx/>
                <a:latin typeface="Trebuchet MS"/>
                <a:ea typeface="Trebuchet MS"/>
                <a:cs typeface="Trebuchet MS"/>
                <a:sym typeface="Trebuchet MS"/>
              </a:defRPr>
            </a:lvl3pPr>
            <a:lvl4pPr marL="0" marR="0" indent="0" algn="ctr" defTabSz="825500" rtl="0" fontAlgn="auto" latinLnBrk="0" hangingPunct="0">
              <a:lnSpc>
                <a:spcPct val="100000"/>
              </a:lnSpc>
              <a:spcBef>
                <a:spcPts val="0"/>
              </a:spcBef>
              <a:spcAft>
                <a:spcPts val="0"/>
              </a:spcAft>
              <a:buClrTx/>
              <a:buSzTx/>
              <a:buFontTx/>
              <a:buNone/>
              <a:tabLst/>
              <a:defRPr kumimoji="0" sz="4200" b="1" i="0" u="none" strike="noStrike" cap="small" spc="0" normalizeH="0" baseline="0">
                <a:ln>
                  <a:noFill/>
                </a:ln>
                <a:solidFill>
                  <a:schemeClr val="accent3"/>
                </a:solidFill>
                <a:effectLst>
                  <a:outerShdw blurRad="12700" dist="12700" dir="18900000" rotWithShape="0">
                    <a:srgbClr val="000000">
                      <a:alpha val="40000"/>
                    </a:srgbClr>
                  </a:outerShdw>
                </a:effectLst>
                <a:uFillTx/>
                <a:latin typeface="Trebuchet MS"/>
                <a:ea typeface="Trebuchet MS"/>
                <a:cs typeface="Trebuchet MS"/>
                <a:sym typeface="Trebuchet MS"/>
              </a:defRPr>
            </a:lvl4pPr>
            <a:lvl5pPr marL="0" marR="0" indent="0" algn="ctr" defTabSz="825500" rtl="0" fontAlgn="auto" latinLnBrk="0" hangingPunct="0">
              <a:lnSpc>
                <a:spcPct val="100000"/>
              </a:lnSpc>
              <a:spcBef>
                <a:spcPts val="0"/>
              </a:spcBef>
              <a:spcAft>
                <a:spcPts val="0"/>
              </a:spcAft>
              <a:buClrTx/>
              <a:buSzTx/>
              <a:buFontTx/>
              <a:buNone/>
              <a:tabLst/>
              <a:defRPr kumimoji="0" sz="4200" b="1" i="0" u="none" strike="noStrike" cap="small" spc="0" normalizeH="0" baseline="0">
                <a:ln>
                  <a:noFill/>
                </a:ln>
                <a:solidFill>
                  <a:schemeClr val="accent3"/>
                </a:solidFill>
                <a:effectLst>
                  <a:outerShdw blurRad="12700" dist="12700" dir="18900000" rotWithShape="0">
                    <a:srgbClr val="000000">
                      <a:alpha val="40000"/>
                    </a:srgbClr>
                  </a:outerShdw>
                </a:effectLst>
                <a:uFillTx/>
                <a:latin typeface="Trebuchet MS"/>
                <a:ea typeface="Trebuchet MS"/>
                <a:cs typeface="Trebuchet MS"/>
                <a:sym typeface="Trebuchet MS"/>
              </a:defRPr>
            </a:lvl5pPr>
            <a:lvl6pPr marL="0" marR="0" indent="0" algn="ctr" defTabSz="825500" rtl="0" fontAlgn="auto" latinLnBrk="0" hangingPunct="0">
              <a:lnSpc>
                <a:spcPct val="100000"/>
              </a:lnSpc>
              <a:spcBef>
                <a:spcPts val="0"/>
              </a:spcBef>
              <a:spcAft>
                <a:spcPts val="0"/>
              </a:spcAft>
              <a:buClrTx/>
              <a:buSzTx/>
              <a:buFontTx/>
              <a:buNone/>
              <a:tabLst/>
              <a:defRPr kumimoji="0" sz="4200" b="1" i="0" u="none" strike="noStrike" cap="small" spc="0" normalizeH="0" baseline="0">
                <a:ln>
                  <a:noFill/>
                </a:ln>
                <a:solidFill>
                  <a:schemeClr val="accent3"/>
                </a:solidFill>
                <a:effectLst>
                  <a:outerShdw blurRad="12700" dist="12700" dir="18900000" rotWithShape="0">
                    <a:srgbClr val="000000">
                      <a:alpha val="40000"/>
                    </a:srgbClr>
                  </a:outerShdw>
                </a:effectLst>
                <a:uFillTx/>
                <a:latin typeface="Trebuchet MS"/>
                <a:ea typeface="Trebuchet MS"/>
                <a:cs typeface="Trebuchet MS"/>
                <a:sym typeface="Trebuchet MS"/>
              </a:defRPr>
            </a:lvl6pPr>
            <a:lvl7pPr marL="0" marR="0" indent="0" algn="ctr" defTabSz="825500" rtl="0" fontAlgn="auto" latinLnBrk="0" hangingPunct="0">
              <a:lnSpc>
                <a:spcPct val="100000"/>
              </a:lnSpc>
              <a:spcBef>
                <a:spcPts val="0"/>
              </a:spcBef>
              <a:spcAft>
                <a:spcPts val="0"/>
              </a:spcAft>
              <a:buClrTx/>
              <a:buSzTx/>
              <a:buFontTx/>
              <a:buNone/>
              <a:tabLst/>
              <a:defRPr kumimoji="0" sz="4200" b="1" i="0" u="none" strike="noStrike" cap="small" spc="0" normalizeH="0" baseline="0">
                <a:ln>
                  <a:noFill/>
                </a:ln>
                <a:solidFill>
                  <a:schemeClr val="accent3"/>
                </a:solidFill>
                <a:effectLst>
                  <a:outerShdw blurRad="12700" dist="12700" dir="18900000" rotWithShape="0">
                    <a:srgbClr val="000000">
                      <a:alpha val="40000"/>
                    </a:srgbClr>
                  </a:outerShdw>
                </a:effectLst>
                <a:uFillTx/>
                <a:latin typeface="Trebuchet MS"/>
                <a:ea typeface="Trebuchet MS"/>
                <a:cs typeface="Trebuchet MS"/>
                <a:sym typeface="Trebuchet MS"/>
              </a:defRPr>
            </a:lvl7pPr>
            <a:lvl8pPr marL="0" marR="0" indent="0" algn="ctr" defTabSz="825500" rtl="0" fontAlgn="auto" latinLnBrk="0" hangingPunct="0">
              <a:lnSpc>
                <a:spcPct val="100000"/>
              </a:lnSpc>
              <a:spcBef>
                <a:spcPts val="0"/>
              </a:spcBef>
              <a:spcAft>
                <a:spcPts val="0"/>
              </a:spcAft>
              <a:buClrTx/>
              <a:buSzTx/>
              <a:buFontTx/>
              <a:buNone/>
              <a:tabLst/>
              <a:defRPr kumimoji="0" sz="4200" b="1" i="0" u="none" strike="noStrike" cap="small" spc="0" normalizeH="0" baseline="0">
                <a:ln>
                  <a:noFill/>
                </a:ln>
                <a:solidFill>
                  <a:schemeClr val="accent3"/>
                </a:solidFill>
                <a:effectLst>
                  <a:outerShdw blurRad="12700" dist="12700" dir="18900000" rotWithShape="0">
                    <a:srgbClr val="000000">
                      <a:alpha val="40000"/>
                    </a:srgbClr>
                  </a:outerShdw>
                </a:effectLst>
                <a:uFillTx/>
                <a:latin typeface="Trebuchet MS"/>
                <a:ea typeface="Trebuchet MS"/>
                <a:cs typeface="Trebuchet MS"/>
                <a:sym typeface="Trebuchet MS"/>
              </a:defRPr>
            </a:lvl8pPr>
            <a:lvl9pPr marL="0" marR="0" indent="0" algn="ctr" defTabSz="825500" rtl="0" fontAlgn="auto" latinLnBrk="0" hangingPunct="0">
              <a:lnSpc>
                <a:spcPct val="100000"/>
              </a:lnSpc>
              <a:spcBef>
                <a:spcPts val="0"/>
              </a:spcBef>
              <a:spcAft>
                <a:spcPts val="0"/>
              </a:spcAft>
              <a:buClrTx/>
              <a:buSzTx/>
              <a:buFontTx/>
              <a:buNone/>
              <a:tabLst/>
              <a:defRPr kumimoji="0" sz="4200" b="1" i="0" u="none" strike="noStrike" cap="small" spc="0" normalizeH="0" baseline="0">
                <a:ln>
                  <a:noFill/>
                </a:ln>
                <a:solidFill>
                  <a:schemeClr val="accent3"/>
                </a:solidFill>
                <a:effectLst>
                  <a:outerShdw blurRad="12700" dist="12700" dir="18900000" rotWithShape="0">
                    <a:srgbClr val="000000">
                      <a:alpha val="40000"/>
                    </a:srgbClr>
                  </a:outerShdw>
                </a:effectLst>
                <a:uFillTx/>
                <a:latin typeface="Trebuchet MS"/>
                <a:ea typeface="Trebuchet MS"/>
                <a:cs typeface="Trebuchet MS"/>
                <a:sym typeface="Trebuchet MS"/>
              </a:defRPr>
            </a:lvl9pPr>
          </a:lstStyle>
          <a:p>
            <a:pPr>
              <a:defRPr>
                <a:effectLst/>
              </a:defRPr>
            </a:pPr>
            <a:fld id="{86CB4B4D-7CA3-9044-876B-883B54F8677D}" type="slidenum">
              <a:rPr lang="en-US" smtClean="0">
                <a:effectLst/>
              </a:rPr>
              <a:pPr>
                <a:defRPr>
                  <a:effectLst/>
                </a:defRPr>
              </a:pPr>
              <a:t>‹#›</a:t>
            </a:fld>
            <a:endParaRPr lang="en-US" dirty="0">
              <a:effectLst/>
            </a:endParaRPr>
          </a:p>
        </p:txBody>
      </p:sp>
    </p:spTree>
    <p:extLst>
      <p:ext uri="{BB962C8B-B14F-4D97-AF65-F5344CB8AC3E}">
        <p14:creationId xmlns:p14="http://schemas.microsoft.com/office/powerpoint/2010/main" val="3732201488"/>
      </p:ext>
    </p:extLst>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672" r:id="rId15"/>
    <p:sldLayoutId id="2147483673" r:id="rId16"/>
    <p:sldLayoutId id="2147483674" r:id="rId17"/>
    <p:sldLayoutId id="2147483675" r:id="rId18"/>
    <p:sldLayoutId id="2147483676" r:id="rId19"/>
    <p:sldLayoutId id="2147483677" r:id="rId20"/>
    <p:sldLayoutId id="2147483678" r:id="rId21"/>
    <p:sldLayoutId id="2147483679" r:id="rId22"/>
    <p:sldLayoutId id="2147483680" r:id="rId23"/>
    <p:sldLayoutId id="2147483681" r:id="rId24"/>
    <p:sldLayoutId id="2147483682" r:id="rId25"/>
    <p:sldLayoutId id="2147483683" r:id="rId26"/>
    <p:sldLayoutId id="2147483684" r:id="rId27"/>
    <p:sldLayoutId id="2147483685" r:id="rId28"/>
    <p:sldLayoutId id="2147483686" r:id="rId29"/>
    <p:sldLayoutId id="2147483687" r:id="rId30"/>
    <p:sldLayoutId id="2147483688" r:id="rId31"/>
    <p:sldLayoutId id="2147483689" r:id="rId32"/>
    <p:sldLayoutId id="2147483690" r:id="rId33"/>
    <p:sldLayoutId id="2147483691" r:id="rId34"/>
    <p:sldLayoutId id="2147483692" r:id="rId35"/>
    <p:sldLayoutId id="2147483693" r:id="rId36"/>
    <p:sldLayoutId id="2147483694" r:id="rId37"/>
    <p:sldLayoutId id="2147483695" r:id="rId38"/>
    <p:sldLayoutId id="2147483696" r:id="rId39"/>
    <p:sldLayoutId id="2147483697" r:id="rId40"/>
    <p:sldLayoutId id="2147483698" r:id="rId41"/>
    <p:sldLayoutId id="2147483699" r:id="rId42"/>
    <p:sldLayoutId id="2147483700" r:id="rId43"/>
    <p:sldLayoutId id="2147483701" r:id="rId44"/>
    <p:sldLayoutId id="2147483702" r:id="rId45"/>
    <p:sldLayoutId id="2147483703" r:id="rId46"/>
    <p:sldLayoutId id="2147483704" r:id="rId47"/>
    <p:sldLayoutId id="2147483705" r:id="rId48"/>
    <p:sldLayoutId id="2147483706" r:id="rId49"/>
    <p:sldLayoutId id="2147483707" r:id="rId50"/>
    <p:sldLayoutId id="2147483708" r:id="rId51"/>
    <p:sldLayoutId id="2147483709" r:id="rId52"/>
    <p:sldLayoutId id="2147483710" r:id="rId53"/>
    <p:sldLayoutId id="2147483711" r:id="rId54"/>
    <p:sldLayoutId id="2147483712" r:id="rId55"/>
    <p:sldLayoutId id="2147483713" r:id="rId56"/>
    <p:sldLayoutId id="2147483714" r:id="rId57"/>
    <p:sldLayoutId id="2147483715" r:id="rId58"/>
    <p:sldLayoutId id="2147483716" r:id="rId59"/>
    <p:sldLayoutId id="2147483717" r:id="rId60"/>
    <p:sldLayoutId id="2147483718" r:id="rId61"/>
    <p:sldLayoutId id="2147483719" r:id="rId62"/>
    <p:sldLayoutId id="2147483720" r:id="rId63"/>
    <p:sldLayoutId id="2147483721" r:id="rId64"/>
    <p:sldLayoutId id="2147483722" r:id="rId65"/>
    <p:sldLayoutId id="2147483723" r:id="rId66"/>
    <p:sldLayoutId id="2147483724"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1828778" rtl="0" eaLnBrk="1" latinLnBrk="0" hangingPunct="1">
        <a:lnSpc>
          <a:spcPct val="90000"/>
        </a:lnSpc>
        <a:spcBef>
          <a:spcPct val="0"/>
        </a:spcBef>
        <a:buNone/>
        <a:defRPr sz="4800" kern="1200">
          <a:solidFill>
            <a:schemeClr val="tx2"/>
          </a:solidFill>
          <a:latin typeface="+mj-lt"/>
          <a:ea typeface="+mj-ea"/>
          <a:cs typeface="+mj-cs"/>
          <a:sym typeface="+mj-lt"/>
        </a:defRPr>
      </a:lvl1pPr>
    </p:titleStyle>
    <p:bodyStyle>
      <a:lvl1pPr marL="0" indent="0" algn="l" defTabSz="1828778" rtl="0" eaLnBrk="1" latinLnBrk="0" hangingPunct="1">
        <a:lnSpc>
          <a:spcPct val="110000"/>
        </a:lnSpc>
        <a:spcBef>
          <a:spcPts val="1200"/>
        </a:spcBef>
        <a:spcAft>
          <a:spcPts val="600"/>
        </a:spcAft>
        <a:buFont typeface="Arial" panose="020B0604020202020204" pitchFamily="34" charset="0"/>
        <a:buChar char="​"/>
        <a:defRPr lang="en-US" sz="2400" kern="1200">
          <a:solidFill>
            <a:schemeClr val="tx1"/>
          </a:solidFill>
          <a:latin typeface="+mn-lt"/>
          <a:ea typeface="+mn-ea"/>
          <a:cs typeface="+mn-cs"/>
          <a:sym typeface="+mn-lt"/>
        </a:defRPr>
      </a:lvl1pPr>
      <a:lvl2pPr marL="568794" indent="-345596" algn="l" defTabSz="1828778" rtl="0" eaLnBrk="1" latinLnBrk="0" hangingPunct="1">
        <a:lnSpc>
          <a:spcPct val="90000"/>
        </a:lnSpc>
        <a:spcBef>
          <a:spcPts val="0"/>
        </a:spcBef>
        <a:spcAft>
          <a:spcPts val="600"/>
        </a:spcAft>
        <a:buClr>
          <a:schemeClr val="tx2"/>
        </a:buClr>
        <a:buFont typeface="Arial" panose="020B0604020202020204" pitchFamily="34" charset="0"/>
        <a:buChar char="•"/>
        <a:defRPr lang="en-US" sz="2400" kern="1200">
          <a:solidFill>
            <a:schemeClr val="tx1"/>
          </a:solidFill>
          <a:latin typeface="+mn-lt"/>
          <a:ea typeface="+mn-ea"/>
          <a:cs typeface="+mn-cs"/>
          <a:sym typeface="+mn-lt"/>
        </a:defRPr>
      </a:lvl2pPr>
      <a:lvl3pPr marL="1022386" indent="-331196" algn="l" defTabSz="1828778" rtl="0" eaLnBrk="1" latinLnBrk="0" hangingPunct="1">
        <a:lnSpc>
          <a:spcPct val="90000"/>
        </a:lnSpc>
        <a:spcBef>
          <a:spcPts val="0"/>
        </a:spcBef>
        <a:spcAft>
          <a:spcPts val="600"/>
        </a:spcAft>
        <a:buClr>
          <a:schemeClr val="tx2"/>
        </a:buClr>
        <a:buFont typeface="Trebuchet MS" panose="020B0603020202020204" pitchFamily="34" charset="0"/>
        <a:buChar char="–"/>
        <a:defRPr lang="en-US" sz="2400" kern="1200">
          <a:solidFill>
            <a:schemeClr val="tx1"/>
          </a:solidFill>
          <a:latin typeface="+mn-lt"/>
          <a:ea typeface="+mn-ea"/>
          <a:cs typeface="+mn-cs"/>
          <a:sym typeface="+mn-lt"/>
        </a:defRPr>
      </a:lvl3pPr>
      <a:lvl4pPr marL="0" indent="0" algn="l" defTabSz="1828778" rtl="0" eaLnBrk="1" latinLnBrk="0" hangingPunct="1">
        <a:lnSpc>
          <a:spcPct val="110000"/>
        </a:lnSpc>
        <a:spcBef>
          <a:spcPts val="600"/>
        </a:spcBef>
        <a:spcAft>
          <a:spcPts val="600"/>
        </a:spcAft>
        <a:buClr>
          <a:schemeClr val="tx2"/>
        </a:buClr>
        <a:buFont typeface="Arial" panose="020B0604020202020204" pitchFamily="34" charset="0"/>
        <a:buChar char="​"/>
        <a:defRPr lang="en-US" sz="3200" kern="1200">
          <a:solidFill>
            <a:schemeClr val="tx2"/>
          </a:solidFill>
          <a:latin typeface="+mn-lt"/>
          <a:ea typeface="+mn-ea"/>
          <a:cs typeface="+mn-cs"/>
          <a:sym typeface="+mn-lt"/>
        </a:defRPr>
      </a:lvl4pPr>
      <a:lvl5pPr marL="0" indent="0" algn="l" defTabSz="1828778" rtl="0" eaLnBrk="1" latinLnBrk="0" hangingPunct="1">
        <a:lnSpc>
          <a:spcPct val="100000"/>
        </a:lnSpc>
        <a:spcBef>
          <a:spcPts val="0"/>
        </a:spcBef>
        <a:spcAft>
          <a:spcPts val="600"/>
        </a:spcAft>
        <a:buClrTx/>
        <a:buFont typeface="Arial" panose="020B0604020202020204" pitchFamily="34" charset="0"/>
        <a:buChar char="​"/>
        <a:defRPr lang="en-US" sz="3200" b="1" kern="1200" smtClean="0">
          <a:solidFill>
            <a:schemeClr val="tx1"/>
          </a:solidFill>
          <a:latin typeface="+mn-lt"/>
          <a:ea typeface="+mn-ea"/>
          <a:cs typeface="+mn-cs"/>
          <a:sym typeface="+mn-lt"/>
        </a:defRPr>
      </a:lvl5pPr>
      <a:lvl6pPr marL="539743" indent="-304796" algn="l" defTabSz="1828778" rtl="0" eaLnBrk="1" latinLnBrk="0" hangingPunct="1">
        <a:lnSpc>
          <a:spcPct val="90000"/>
        </a:lnSpc>
        <a:spcBef>
          <a:spcPts val="0"/>
        </a:spcBef>
        <a:spcAft>
          <a:spcPts val="1200"/>
        </a:spcAft>
        <a:buClr>
          <a:schemeClr val="tx2"/>
        </a:buClr>
        <a:buFont typeface="Arial" panose="020B0604020202020204" pitchFamily="34" charset="0"/>
        <a:buChar char="•"/>
        <a:defRPr lang="en-US" sz="3200" kern="1200" smtClean="0">
          <a:solidFill>
            <a:schemeClr val="tx1"/>
          </a:solidFill>
          <a:latin typeface="+mn-lt"/>
          <a:ea typeface="+mn-ea"/>
          <a:cs typeface="+mn-cs"/>
          <a:sym typeface="+mn-lt"/>
        </a:defRPr>
      </a:lvl6pPr>
      <a:lvl7pPr marL="0" indent="0" algn="l" defTabSz="1828778" rtl="0" eaLnBrk="1" latinLnBrk="0" hangingPunct="1">
        <a:lnSpc>
          <a:spcPct val="90000"/>
        </a:lnSpc>
        <a:spcBef>
          <a:spcPts val="1800"/>
        </a:spcBef>
        <a:spcAft>
          <a:spcPts val="1800"/>
        </a:spcAft>
        <a:buFont typeface="Arial" panose="020B0604020202020204" pitchFamily="34" charset="0"/>
        <a:buChar char="​"/>
        <a:defRPr lang="en-US" sz="8800" kern="1200" baseline="0" smtClean="0">
          <a:solidFill>
            <a:schemeClr val="tx1"/>
          </a:solidFill>
          <a:latin typeface="+mn-lt"/>
          <a:ea typeface="+mn-ea"/>
          <a:cs typeface="+mn-cs"/>
          <a:sym typeface="+mn-lt"/>
        </a:defRPr>
      </a:lvl7pPr>
      <a:lvl8pPr marL="0" indent="0" algn="l" defTabSz="1828778" rtl="0" eaLnBrk="1" latinLnBrk="0" hangingPunct="1">
        <a:lnSpc>
          <a:spcPct val="90000"/>
        </a:lnSpc>
        <a:spcBef>
          <a:spcPts val="1800"/>
        </a:spcBef>
        <a:spcAft>
          <a:spcPts val="0"/>
        </a:spcAft>
        <a:buFont typeface="Arial" panose="020B0604020202020204" pitchFamily="34" charset="0"/>
        <a:buChar char="​"/>
        <a:defRPr lang="en-US" sz="10800" kern="1200" baseline="0" smtClean="0">
          <a:solidFill>
            <a:schemeClr val="tx2"/>
          </a:solidFill>
          <a:latin typeface="+mn-lt"/>
          <a:ea typeface="+mn-ea"/>
          <a:cs typeface="+mn-cs"/>
          <a:sym typeface="+mn-lt"/>
        </a:defRPr>
      </a:lvl8pPr>
      <a:lvl9pPr marL="0" indent="0" algn="l" defTabSz="1828778" rtl="0" eaLnBrk="1" latinLnBrk="0" hangingPunct="1">
        <a:lnSpc>
          <a:spcPct val="100000"/>
        </a:lnSpc>
        <a:spcBef>
          <a:spcPts val="0"/>
        </a:spcBef>
        <a:spcAft>
          <a:spcPts val="1800"/>
        </a:spcAft>
        <a:buFont typeface="Arial" panose="020B0604020202020204" pitchFamily="34" charset="0"/>
        <a:buChar char="​"/>
        <a:defRPr lang="en-US" sz="4800" kern="1200" baseline="0" dirty="0">
          <a:solidFill>
            <a:schemeClr val="tx2"/>
          </a:solidFill>
          <a:latin typeface="+mn-lt"/>
          <a:ea typeface="+mn-ea"/>
          <a:cs typeface="+mn-cs"/>
          <a:sym typeface="+mn-lt"/>
        </a:defRPr>
      </a:lvl9pPr>
    </p:bodyStyle>
    <p:otherStyle>
      <a:defPPr>
        <a:defRPr lang="en-US"/>
      </a:defPPr>
      <a:lvl1pPr marL="0" algn="l" defTabSz="1828778" rtl="0" eaLnBrk="1" latinLnBrk="0" hangingPunct="1">
        <a:defRPr sz="3600" kern="1200">
          <a:solidFill>
            <a:schemeClr val="tx1"/>
          </a:solidFill>
          <a:latin typeface="+mn-lt"/>
          <a:ea typeface="+mn-ea"/>
          <a:cs typeface="+mn-cs"/>
        </a:defRPr>
      </a:lvl1pPr>
      <a:lvl2pPr marL="914390" algn="l" defTabSz="1828778" rtl="0" eaLnBrk="1" latinLnBrk="0" hangingPunct="1">
        <a:defRPr sz="3600" kern="1200">
          <a:solidFill>
            <a:schemeClr val="tx1"/>
          </a:solidFill>
          <a:latin typeface="+mn-lt"/>
          <a:ea typeface="+mn-ea"/>
          <a:cs typeface="+mn-cs"/>
        </a:defRPr>
      </a:lvl2pPr>
      <a:lvl3pPr marL="1828778" algn="l" defTabSz="1828778" rtl="0" eaLnBrk="1" latinLnBrk="0" hangingPunct="1">
        <a:defRPr sz="3600" kern="1200">
          <a:solidFill>
            <a:schemeClr val="tx1"/>
          </a:solidFill>
          <a:latin typeface="+mn-lt"/>
          <a:ea typeface="+mn-ea"/>
          <a:cs typeface="+mn-cs"/>
        </a:defRPr>
      </a:lvl3pPr>
      <a:lvl4pPr marL="2743168" algn="l" defTabSz="1828778" rtl="0" eaLnBrk="1" latinLnBrk="0" hangingPunct="1">
        <a:defRPr sz="3600" kern="1200">
          <a:solidFill>
            <a:schemeClr val="tx1"/>
          </a:solidFill>
          <a:latin typeface="+mn-lt"/>
          <a:ea typeface="+mn-ea"/>
          <a:cs typeface="+mn-cs"/>
        </a:defRPr>
      </a:lvl4pPr>
      <a:lvl5pPr marL="3657555" algn="l" defTabSz="1828778" rtl="0" eaLnBrk="1" latinLnBrk="0" hangingPunct="1">
        <a:defRPr sz="3600" kern="1200">
          <a:solidFill>
            <a:schemeClr val="tx1"/>
          </a:solidFill>
          <a:latin typeface="+mn-lt"/>
          <a:ea typeface="+mn-ea"/>
          <a:cs typeface="+mn-cs"/>
        </a:defRPr>
      </a:lvl5pPr>
      <a:lvl6pPr marL="4571942" algn="l" defTabSz="1828778" rtl="0" eaLnBrk="1" latinLnBrk="0" hangingPunct="1">
        <a:defRPr sz="3600" kern="1200">
          <a:solidFill>
            <a:schemeClr val="tx1"/>
          </a:solidFill>
          <a:latin typeface="+mn-lt"/>
          <a:ea typeface="+mn-ea"/>
          <a:cs typeface="+mn-cs"/>
        </a:defRPr>
      </a:lvl6pPr>
      <a:lvl7pPr marL="5486330" algn="l" defTabSz="1828778" rtl="0" eaLnBrk="1" latinLnBrk="0" hangingPunct="1">
        <a:defRPr sz="3600" kern="1200">
          <a:solidFill>
            <a:schemeClr val="tx1"/>
          </a:solidFill>
          <a:latin typeface="+mn-lt"/>
          <a:ea typeface="+mn-ea"/>
          <a:cs typeface="+mn-cs"/>
        </a:defRPr>
      </a:lvl7pPr>
      <a:lvl8pPr marL="6400720" algn="l" defTabSz="1828778" rtl="0" eaLnBrk="1" latinLnBrk="0" hangingPunct="1">
        <a:defRPr sz="3600" kern="1200">
          <a:solidFill>
            <a:schemeClr val="tx1"/>
          </a:solidFill>
          <a:latin typeface="+mn-lt"/>
          <a:ea typeface="+mn-ea"/>
          <a:cs typeface="+mn-cs"/>
        </a:defRPr>
      </a:lvl8pPr>
      <a:lvl9pPr marL="7315110" algn="l" defTabSz="1828778"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85">
          <p15:clr>
            <a:srgbClr val="F26B43"/>
          </p15:clr>
        </p15:guide>
        <p15:guide id="2" pos="377">
          <p15:clr>
            <a:srgbClr val="F26B43"/>
          </p15:clr>
        </p15:guide>
        <p15:guide id="3" pos="5382">
          <p15:clr>
            <a:srgbClr val="F26B43"/>
          </p15:clr>
        </p15:guide>
        <p15:guide id="4" orient="horz" pos="290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745932"/>
      </p:ext>
    </p:extLst>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 id="2147484007" r:id="rId10"/>
    <p:sldLayoutId id="2147484008" r:id="rId11"/>
    <p:sldLayoutId id="2147484009" r:id="rId12"/>
    <p:sldLayoutId id="2147484010" r:id="rId13"/>
    <p:sldLayoutId id="2147484011" r:id="rId14"/>
    <p:sldLayoutId id="2147484012" r:id="rId15"/>
    <p:sldLayoutId id="2147484013" r:id="rId16"/>
    <p:sldLayoutId id="2147484014" r:id="rId17"/>
    <p:sldLayoutId id="2147484015" r:id="rId18"/>
    <p:sldLayoutId id="2147484016" r:id="rId19"/>
  </p:sldLayoutIdLst>
  <p:hf sldNum="0" hdr="0" ftr="0" dt="0"/>
  <p:txStyles>
    <p:titleStyle>
      <a:lvl1pPr algn="l" defTabSz="1828800" rtl="0" eaLnBrk="1" latinLnBrk="0" hangingPunct="1">
        <a:lnSpc>
          <a:spcPct val="90000"/>
        </a:lnSpc>
        <a:spcBef>
          <a:spcPct val="0"/>
        </a:spcBef>
        <a:buNone/>
        <a:defRPr sz="8800" kern="1200">
          <a:solidFill>
            <a:schemeClr val="tx1"/>
          </a:solidFill>
          <a:latin typeface="+mj-lt"/>
          <a:ea typeface="+mj-ea"/>
          <a:cs typeface="+mj-cs"/>
        </a:defRPr>
      </a:lvl1pPr>
    </p:titleStyle>
    <p:bodyStyle>
      <a:lvl1pPr marL="457200" indent="-457200" algn="l" defTabSz="1828800"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1451831"/>
      </p:ext>
    </p:extLst>
  </p:cSld>
  <p:clrMap bg1="lt1" tx1="dk1" bg2="lt2" tx2="dk2" accent1="accent1" accent2="accent2" accent3="accent3" accent4="accent4" accent5="accent5" accent6="accent6" hlink="hlink" folHlink="folHlink"/>
  <p:sldLayoutIdLst>
    <p:sldLayoutId id="2147484018" r:id="rId1"/>
  </p:sldLayoutIdLst>
  <p:hf sldNum="0" hdr="0" ftr="0" dt="0"/>
  <p:txStyles>
    <p:titleStyle>
      <a:lvl1pPr algn="l" defTabSz="1828800" rtl="0" eaLnBrk="1" latinLnBrk="0" hangingPunct="1">
        <a:lnSpc>
          <a:spcPct val="90000"/>
        </a:lnSpc>
        <a:spcBef>
          <a:spcPct val="0"/>
        </a:spcBef>
        <a:buNone/>
        <a:defRPr sz="8800" kern="1200">
          <a:solidFill>
            <a:schemeClr val="tx1"/>
          </a:solidFill>
          <a:latin typeface="+mj-lt"/>
          <a:ea typeface="+mj-ea"/>
          <a:cs typeface="+mj-cs"/>
        </a:defRPr>
      </a:lvl1pPr>
    </p:titleStyle>
    <p:bodyStyle>
      <a:lvl1pPr marL="457200" indent="-457200" algn="l" defTabSz="1828800"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3498721612"/>
              </p:ext>
            </p:extLst>
          </p:nvPr>
        </p:nvGraphicFramePr>
        <p:xfrm>
          <a:off x="3177" y="3177"/>
          <a:ext cx="3174" cy="3174"/>
        </p:xfrm>
        <a:graphic>
          <a:graphicData uri="http://schemas.openxmlformats.org/presentationml/2006/ole">
            <mc:AlternateContent xmlns:mc="http://schemas.openxmlformats.org/markup-compatibility/2006">
              <mc:Choice xmlns:v="urn:schemas-microsoft-com:vml" Requires="v">
                <p:oleObj spid="_x0000_s70692" name="think-cell Slide" r:id="rId71" imgW="270" imgH="270" progId="TCLayout.ActiveDocument.1">
                  <p:embed/>
                </p:oleObj>
              </mc:Choice>
              <mc:Fallback>
                <p:oleObj name="think-cell Slide" r:id="rId71" imgW="270" imgH="270" progId="TCLayout.ActiveDocument.1">
                  <p:embed/>
                  <p:pic>
                    <p:nvPicPr>
                      <p:cNvPr id="2" name="Object 1" hidden="1"/>
                      <p:cNvPicPr/>
                      <p:nvPr/>
                    </p:nvPicPr>
                    <p:blipFill>
                      <a:blip r:embed="rId72"/>
                      <a:stretch>
                        <a:fillRect/>
                      </a:stretch>
                    </p:blipFill>
                    <p:spPr>
                      <a:xfrm>
                        <a:off x="3177" y="3177"/>
                        <a:ext cx="3174" cy="3174"/>
                      </a:xfrm>
                      <a:prstGeom prst="rect">
                        <a:avLst/>
                      </a:prstGeom>
                    </p:spPr>
                  </p:pic>
                </p:oleObj>
              </mc:Fallback>
            </mc:AlternateContent>
          </a:graphicData>
        </a:graphic>
      </p:graphicFrame>
      <p:sp>
        <p:nvSpPr>
          <p:cNvPr id="11" name="Date Placeholder 3"/>
          <p:cNvSpPr>
            <a:spLocks noGrp="1"/>
          </p:cNvSpPr>
          <p:nvPr>
            <p:ph type="dt" sz="half" idx="2"/>
          </p:nvPr>
        </p:nvSpPr>
        <p:spPr>
          <a:xfrm>
            <a:off x="19354801" y="12810072"/>
            <a:ext cx="2964102" cy="307776"/>
          </a:xfrm>
          <a:prstGeom prst="rect">
            <a:avLst/>
          </a:prstGeom>
        </p:spPr>
        <p:txBody>
          <a:bodyPr vert="horz" wrap="square" lIns="0" tIns="0" rIns="0" bIns="0" rtlCol="0" anchor="b">
            <a:spAutoFit/>
          </a:bodyPr>
          <a:lstStyle>
            <a:lvl1pPr algn="r">
              <a:defRPr sz="2000">
                <a:solidFill>
                  <a:schemeClr val="bg1">
                    <a:lumMod val="50000"/>
                  </a:schemeClr>
                </a:solidFill>
                <a:latin typeface="+mn-lt"/>
                <a:sym typeface="Trebuchet MS" panose="020B0603020202020204" pitchFamily="34" charset="0"/>
              </a:defRPr>
            </a:lvl1pPr>
          </a:lstStyle>
          <a:p>
            <a:fld id="{044DD2CE-162B-4342-B483-EAB4FB806655}" type="datetime1">
              <a:rPr lang="en-US" smtClean="0"/>
              <a:t>5/6/21</a:t>
            </a:fld>
            <a:endParaRPr lang="en-US" dirty="0"/>
          </a:p>
        </p:txBody>
      </p:sp>
      <p:sp>
        <p:nvSpPr>
          <p:cNvPr id="12" name="TextBox 11"/>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lumMod val="50000"/>
                  </a:schemeClr>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1260000" y="1245601"/>
            <a:ext cx="21866700" cy="664798"/>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1260000" y="3651250"/>
            <a:ext cx="21866700" cy="87026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96109269"/>
      </p:ext>
    </p:extLst>
  </p:cSld>
  <p:clrMap bg1="lt1" tx1="dk1" bg2="lt2" tx2="dk2" accent1="accent1" accent2="accent2" accent3="accent3" accent4="accent4" accent5="accent5" accent6="accent6" hlink="hlink" folHlink="folHlink"/>
  <p:sldLayoutIdLst>
    <p:sldLayoutId id="2147484020" r:id="rId1"/>
    <p:sldLayoutId id="2147484021" r:id="rId2"/>
    <p:sldLayoutId id="2147484022" r:id="rId3"/>
    <p:sldLayoutId id="2147484023" r:id="rId4"/>
    <p:sldLayoutId id="2147484024" r:id="rId5"/>
    <p:sldLayoutId id="2147484025" r:id="rId6"/>
    <p:sldLayoutId id="2147484026" r:id="rId7"/>
    <p:sldLayoutId id="2147484027" r:id="rId8"/>
    <p:sldLayoutId id="2147484028" r:id="rId9"/>
    <p:sldLayoutId id="2147484029" r:id="rId10"/>
    <p:sldLayoutId id="2147484030" r:id="rId11"/>
    <p:sldLayoutId id="2147484031" r:id="rId12"/>
    <p:sldLayoutId id="2147484032" r:id="rId13"/>
    <p:sldLayoutId id="2147484033" r:id="rId14"/>
    <p:sldLayoutId id="2147484034" r:id="rId15"/>
    <p:sldLayoutId id="2147484035" r:id="rId16"/>
    <p:sldLayoutId id="2147484036" r:id="rId17"/>
    <p:sldLayoutId id="2147484037" r:id="rId18"/>
    <p:sldLayoutId id="2147484038" r:id="rId19"/>
    <p:sldLayoutId id="2147484039" r:id="rId20"/>
    <p:sldLayoutId id="2147484040" r:id="rId21"/>
    <p:sldLayoutId id="2147484041" r:id="rId22"/>
    <p:sldLayoutId id="2147484042" r:id="rId23"/>
    <p:sldLayoutId id="2147484043" r:id="rId24"/>
    <p:sldLayoutId id="2147484044" r:id="rId25"/>
    <p:sldLayoutId id="2147484045" r:id="rId26"/>
    <p:sldLayoutId id="2147484046" r:id="rId27"/>
    <p:sldLayoutId id="2147484047" r:id="rId28"/>
    <p:sldLayoutId id="2147484048" r:id="rId29"/>
    <p:sldLayoutId id="2147484049" r:id="rId30"/>
    <p:sldLayoutId id="2147484050" r:id="rId31"/>
    <p:sldLayoutId id="2147484051" r:id="rId32"/>
    <p:sldLayoutId id="2147484052" r:id="rId33"/>
    <p:sldLayoutId id="2147484053" r:id="rId34"/>
    <p:sldLayoutId id="2147484054" r:id="rId35"/>
    <p:sldLayoutId id="2147484055" r:id="rId36"/>
    <p:sldLayoutId id="2147484056" r:id="rId37"/>
    <p:sldLayoutId id="2147484057" r:id="rId38"/>
    <p:sldLayoutId id="2147484058" r:id="rId39"/>
    <p:sldLayoutId id="2147484059" r:id="rId40"/>
    <p:sldLayoutId id="2147484060" r:id="rId41"/>
    <p:sldLayoutId id="2147484061" r:id="rId42"/>
    <p:sldLayoutId id="2147484062" r:id="rId43"/>
    <p:sldLayoutId id="2147484063" r:id="rId44"/>
    <p:sldLayoutId id="2147484064" r:id="rId45"/>
    <p:sldLayoutId id="2147484065" r:id="rId46"/>
    <p:sldLayoutId id="2147484066" r:id="rId47"/>
    <p:sldLayoutId id="2147484067" r:id="rId48"/>
    <p:sldLayoutId id="2147484068" r:id="rId49"/>
    <p:sldLayoutId id="2147484069" r:id="rId50"/>
    <p:sldLayoutId id="2147484070" r:id="rId51"/>
    <p:sldLayoutId id="2147484071" r:id="rId52"/>
    <p:sldLayoutId id="2147484072" r:id="rId53"/>
    <p:sldLayoutId id="2147484073" r:id="rId54"/>
    <p:sldLayoutId id="2147484074" r:id="rId55"/>
    <p:sldLayoutId id="2147484075" r:id="rId56"/>
    <p:sldLayoutId id="2147484076" r:id="rId57"/>
    <p:sldLayoutId id="2147484077" r:id="rId58"/>
    <p:sldLayoutId id="2147484078" r:id="rId59"/>
    <p:sldLayoutId id="2147484079" r:id="rId60"/>
    <p:sldLayoutId id="2147484080" r:id="rId61"/>
    <p:sldLayoutId id="2147484081" r:id="rId62"/>
    <p:sldLayoutId id="2147484082" r:id="rId63"/>
    <p:sldLayoutId id="2147484083" r:id="rId64"/>
    <p:sldLayoutId id="2147484084" r:id="rId65"/>
    <p:sldLayoutId id="2147484085" r:id="rId66"/>
    <p:sldLayoutId id="2147484086"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1828800" rtl="0" eaLnBrk="1" latinLnBrk="0" hangingPunct="1">
        <a:lnSpc>
          <a:spcPct val="90000"/>
        </a:lnSpc>
        <a:spcBef>
          <a:spcPct val="0"/>
        </a:spcBef>
        <a:buNone/>
        <a:defRPr sz="4800" kern="1200">
          <a:solidFill>
            <a:schemeClr val="tx2"/>
          </a:solidFill>
          <a:latin typeface="+mj-lt"/>
          <a:ea typeface="+mj-ea"/>
          <a:cs typeface="+mj-cs"/>
          <a:sym typeface="Trebuchet MS" panose="020B0603020202020204" pitchFamily="34" charset="0"/>
        </a:defRPr>
      </a:lvl1pPr>
    </p:titleStyle>
    <p:bodyStyle>
      <a:lvl1pPr marL="0" indent="0" algn="l" defTabSz="1828800" rtl="0" eaLnBrk="1" latinLnBrk="0" hangingPunct="1">
        <a:lnSpc>
          <a:spcPct val="110000"/>
        </a:lnSpc>
        <a:spcBef>
          <a:spcPts val="1200"/>
        </a:spcBef>
        <a:spcAft>
          <a:spcPts val="600"/>
        </a:spcAft>
        <a:buFont typeface="Arial" panose="020B0604020202020204" pitchFamily="34" charset="0"/>
        <a:buChar char="​"/>
        <a:defRPr lang="en-US" sz="2400" kern="1200">
          <a:solidFill>
            <a:schemeClr val="tx1"/>
          </a:solidFill>
          <a:latin typeface="+mn-lt"/>
          <a:ea typeface="+mn-ea"/>
          <a:cs typeface="+mn-cs"/>
          <a:sym typeface="Trebuchet MS" panose="020B0603020202020204" pitchFamily="34" charset="0"/>
        </a:defRPr>
      </a:lvl1pPr>
      <a:lvl2pPr marL="568800" indent="-345600" algn="l" defTabSz="1828800" rtl="0" eaLnBrk="1" latinLnBrk="0" hangingPunct="1">
        <a:lnSpc>
          <a:spcPct val="90000"/>
        </a:lnSpc>
        <a:spcBef>
          <a:spcPts val="0"/>
        </a:spcBef>
        <a:spcAft>
          <a:spcPts val="600"/>
        </a:spcAft>
        <a:buClr>
          <a:schemeClr val="tx2"/>
        </a:buClr>
        <a:buFont typeface="Arial" panose="020B0604020202020204" pitchFamily="34" charset="0"/>
        <a:buChar char="•"/>
        <a:defRPr lang="en-US" sz="2400" kern="1200">
          <a:solidFill>
            <a:schemeClr val="tx1"/>
          </a:solidFill>
          <a:latin typeface="+mn-lt"/>
          <a:ea typeface="+mn-ea"/>
          <a:cs typeface="+mn-cs"/>
          <a:sym typeface="Trebuchet MS" panose="020B0603020202020204" pitchFamily="34" charset="0"/>
        </a:defRPr>
      </a:lvl2pPr>
      <a:lvl3pPr marL="1022400" indent="-331200" algn="l" defTabSz="1828800" rtl="0" eaLnBrk="1" latinLnBrk="0" hangingPunct="1">
        <a:lnSpc>
          <a:spcPct val="90000"/>
        </a:lnSpc>
        <a:spcBef>
          <a:spcPts val="0"/>
        </a:spcBef>
        <a:spcAft>
          <a:spcPts val="600"/>
        </a:spcAft>
        <a:buClr>
          <a:schemeClr val="tx2"/>
        </a:buClr>
        <a:buFont typeface="Trebuchet MS" panose="020B0603020202020204" pitchFamily="34" charset="0"/>
        <a:buChar char="–"/>
        <a:defRPr lang="en-US" sz="2400" kern="1200">
          <a:solidFill>
            <a:schemeClr val="tx1"/>
          </a:solidFill>
          <a:latin typeface="+mn-lt"/>
          <a:ea typeface="+mn-ea"/>
          <a:cs typeface="+mn-cs"/>
          <a:sym typeface="Trebuchet MS" panose="020B0603020202020204" pitchFamily="34" charset="0"/>
        </a:defRPr>
      </a:lvl3pPr>
      <a:lvl4pPr marL="0" indent="0" algn="l" defTabSz="1828800" rtl="0" eaLnBrk="1" latinLnBrk="0" hangingPunct="1">
        <a:lnSpc>
          <a:spcPct val="110000"/>
        </a:lnSpc>
        <a:spcBef>
          <a:spcPts val="600"/>
        </a:spcBef>
        <a:spcAft>
          <a:spcPts val="600"/>
        </a:spcAft>
        <a:buClr>
          <a:schemeClr val="tx2"/>
        </a:buClr>
        <a:buFont typeface="Arial" panose="020B0604020202020204" pitchFamily="34" charset="0"/>
        <a:buChar char="​"/>
        <a:defRPr lang="en-US" sz="3200" kern="1200">
          <a:solidFill>
            <a:schemeClr val="tx2"/>
          </a:solidFill>
          <a:latin typeface="+mn-lt"/>
          <a:ea typeface="+mn-ea"/>
          <a:cs typeface="+mn-cs"/>
          <a:sym typeface="Trebuchet MS" panose="020B0603020202020204" pitchFamily="34" charset="0"/>
        </a:defRPr>
      </a:lvl4pPr>
      <a:lvl5pPr marL="0" indent="0" algn="l" defTabSz="1828800" rtl="0" eaLnBrk="1" latinLnBrk="0" hangingPunct="1">
        <a:lnSpc>
          <a:spcPct val="100000"/>
        </a:lnSpc>
        <a:spcBef>
          <a:spcPts val="0"/>
        </a:spcBef>
        <a:spcAft>
          <a:spcPts val="600"/>
        </a:spcAft>
        <a:buClrTx/>
        <a:buFont typeface="Arial" panose="020B0604020202020204" pitchFamily="34" charset="0"/>
        <a:buChar char="​"/>
        <a:defRPr lang="en-US" sz="3200" b="1" kern="1200" smtClean="0">
          <a:solidFill>
            <a:schemeClr val="tx1"/>
          </a:solidFill>
          <a:latin typeface="+mn-lt"/>
          <a:ea typeface="+mn-ea"/>
          <a:cs typeface="+mn-cs"/>
          <a:sym typeface="Trebuchet MS" panose="020B0603020202020204" pitchFamily="34" charset="0"/>
        </a:defRPr>
      </a:lvl5pPr>
      <a:lvl6pPr marL="539750" indent="-304800" algn="l" defTabSz="1828800" rtl="0" eaLnBrk="1" latinLnBrk="0" hangingPunct="1">
        <a:lnSpc>
          <a:spcPct val="90000"/>
        </a:lnSpc>
        <a:spcBef>
          <a:spcPts val="0"/>
        </a:spcBef>
        <a:spcAft>
          <a:spcPts val="1200"/>
        </a:spcAft>
        <a:buClr>
          <a:schemeClr val="tx2"/>
        </a:buClr>
        <a:buFont typeface="Arial" panose="020B0604020202020204" pitchFamily="34" charset="0"/>
        <a:buChar char="•"/>
        <a:defRPr lang="en-US" sz="3200" kern="1200" smtClean="0">
          <a:solidFill>
            <a:schemeClr val="tx1"/>
          </a:solidFill>
          <a:latin typeface="+mn-lt"/>
          <a:ea typeface="+mn-ea"/>
          <a:cs typeface="+mn-cs"/>
          <a:sym typeface="Trebuchet MS" panose="020B0603020202020204" pitchFamily="34" charset="0"/>
        </a:defRPr>
      </a:lvl6pPr>
      <a:lvl7pPr marL="0" indent="0" algn="l" defTabSz="1828800" rtl="0" eaLnBrk="1" latinLnBrk="0" hangingPunct="1">
        <a:lnSpc>
          <a:spcPct val="90000"/>
        </a:lnSpc>
        <a:spcBef>
          <a:spcPts val="1800"/>
        </a:spcBef>
        <a:spcAft>
          <a:spcPts val="1800"/>
        </a:spcAft>
        <a:buFont typeface="Arial" panose="020B0604020202020204" pitchFamily="34" charset="0"/>
        <a:buChar char="​"/>
        <a:defRPr lang="en-US" sz="8800" kern="1200" baseline="0" smtClean="0">
          <a:solidFill>
            <a:schemeClr val="tx1"/>
          </a:solidFill>
          <a:latin typeface="+mn-lt"/>
          <a:ea typeface="+mn-ea"/>
          <a:cs typeface="+mn-cs"/>
          <a:sym typeface="Trebuchet MS" panose="020B0603020202020204" pitchFamily="34" charset="0"/>
        </a:defRPr>
      </a:lvl7pPr>
      <a:lvl8pPr marL="0" indent="0" algn="l" defTabSz="1828800" rtl="0" eaLnBrk="1" latinLnBrk="0" hangingPunct="1">
        <a:lnSpc>
          <a:spcPct val="90000"/>
        </a:lnSpc>
        <a:spcBef>
          <a:spcPts val="1800"/>
        </a:spcBef>
        <a:spcAft>
          <a:spcPts val="0"/>
        </a:spcAft>
        <a:buFont typeface="Arial" panose="020B0604020202020204" pitchFamily="34" charset="0"/>
        <a:buChar char="​"/>
        <a:defRPr lang="en-US" sz="10800" kern="1200" baseline="0" smtClean="0">
          <a:solidFill>
            <a:schemeClr val="tx2"/>
          </a:solidFill>
          <a:latin typeface="+mn-lt"/>
          <a:ea typeface="+mn-ea"/>
          <a:cs typeface="+mn-cs"/>
          <a:sym typeface="Trebuchet MS" panose="020B0603020202020204" pitchFamily="34" charset="0"/>
        </a:defRPr>
      </a:lvl8pPr>
      <a:lvl9pPr marL="0" indent="0" algn="l" defTabSz="1828800" rtl="0" eaLnBrk="1" latinLnBrk="0" hangingPunct="1">
        <a:lnSpc>
          <a:spcPct val="100000"/>
        </a:lnSpc>
        <a:spcBef>
          <a:spcPts val="0"/>
        </a:spcBef>
        <a:spcAft>
          <a:spcPts val="1800"/>
        </a:spcAft>
        <a:buFont typeface="Arial" panose="020B0604020202020204" pitchFamily="34" charset="0"/>
        <a:buChar char="​"/>
        <a:defRPr lang="en-US" sz="48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2939160251"/>
              </p:ext>
            </p:extLst>
          </p:nvPr>
        </p:nvGraphicFramePr>
        <p:xfrm>
          <a:off x="3177" y="3177"/>
          <a:ext cx="3174" cy="3174"/>
        </p:xfrm>
        <a:graphic>
          <a:graphicData uri="http://schemas.openxmlformats.org/presentationml/2006/ole">
            <mc:AlternateContent xmlns:mc="http://schemas.openxmlformats.org/markup-compatibility/2006">
              <mc:Choice xmlns:v="urn:schemas-microsoft-com:vml" Requires="v">
                <p:oleObj spid="_x0000_s89124" name="think-cell Slide" r:id="rId71" imgW="270" imgH="270" progId="TCLayout.ActiveDocument.1">
                  <p:embed/>
                </p:oleObj>
              </mc:Choice>
              <mc:Fallback>
                <p:oleObj name="think-cell Slide" r:id="rId71" imgW="270" imgH="270" progId="TCLayout.ActiveDocument.1">
                  <p:embed/>
                  <p:pic>
                    <p:nvPicPr>
                      <p:cNvPr id="2" name="Object 1" hidden="1"/>
                      <p:cNvPicPr/>
                      <p:nvPr/>
                    </p:nvPicPr>
                    <p:blipFill>
                      <a:blip r:embed="rId72"/>
                      <a:stretch>
                        <a:fillRect/>
                      </a:stretch>
                    </p:blipFill>
                    <p:spPr>
                      <a:xfrm>
                        <a:off x="3177" y="3177"/>
                        <a:ext cx="3174" cy="3174"/>
                      </a:xfrm>
                      <a:prstGeom prst="rect">
                        <a:avLst/>
                      </a:prstGeom>
                    </p:spPr>
                  </p:pic>
                </p:oleObj>
              </mc:Fallback>
            </mc:AlternateContent>
          </a:graphicData>
        </a:graphic>
      </p:graphicFrame>
      <p:sp>
        <p:nvSpPr>
          <p:cNvPr id="11" name="Date Placeholder 3"/>
          <p:cNvSpPr>
            <a:spLocks noGrp="1"/>
          </p:cNvSpPr>
          <p:nvPr>
            <p:ph type="dt" sz="half" idx="2"/>
          </p:nvPr>
        </p:nvSpPr>
        <p:spPr>
          <a:xfrm>
            <a:off x="19354801" y="12810072"/>
            <a:ext cx="2964102" cy="307776"/>
          </a:xfrm>
          <a:prstGeom prst="rect">
            <a:avLst/>
          </a:prstGeom>
        </p:spPr>
        <p:txBody>
          <a:bodyPr vert="horz" wrap="square" lIns="0" tIns="0" rIns="0" bIns="0" rtlCol="0" anchor="b">
            <a:spAutoFit/>
          </a:bodyPr>
          <a:lstStyle>
            <a:lvl1pPr algn="r">
              <a:defRPr sz="2000">
                <a:solidFill>
                  <a:schemeClr val="bg1">
                    <a:lumMod val="50000"/>
                  </a:schemeClr>
                </a:solidFill>
                <a:latin typeface="+mn-lt"/>
                <a:sym typeface="Trebuchet MS" panose="020B0603020202020204" pitchFamily="34" charset="0"/>
              </a:defRPr>
            </a:lvl1pPr>
          </a:lstStyle>
          <a:p>
            <a:fld id="{1899C2CE-F9F1-4F24-883C-7B5A5DF0D37F}" type="datetime1">
              <a:rPr lang="en-US" smtClean="0"/>
              <a:t>5/6/21</a:t>
            </a:fld>
            <a:endParaRPr lang="en-US" dirty="0"/>
          </a:p>
        </p:txBody>
      </p:sp>
      <p:sp>
        <p:nvSpPr>
          <p:cNvPr id="12" name="TextBox 11"/>
          <p:cNvSpPr txBox="1"/>
          <p:nvPr userDrawn="1"/>
        </p:nvSpPr>
        <p:spPr>
          <a:xfrm>
            <a:off x="22335744" y="12810072"/>
            <a:ext cx="762000" cy="307777"/>
          </a:xfrm>
          <a:prstGeom prst="rect">
            <a:avLst/>
          </a:prstGeom>
          <a:noFill/>
        </p:spPr>
        <p:txBody>
          <a:bodyPr wrap="square" lIns="0" tIns="0" rIns="0" bIns="0" rtlCol="0" anchor="b">
            <a:spAutoFit/>
          </a:bodyPr>
          <a:lstStyle/>
          <a:p>
            <a:pPr marL="0" marR="0" indent="0" algn="r" defTabSz="1828800" rtl="0" eaLnBrk="1" fontAlgn="auto" latinLnBrk="0" hangingPunct="1">
              <a:lnSpc>
                <a:spcPct val="100000"/>
              </a:lnSpc>
              <a:spcBef>
                <a:spcPts val="0"/>
              </a:spcBef>
              <a:spcAft>
                <a:spcPts val="0"/>
              </a:spcAft>
              <a:buClrTx/>
              <a:buSzTx/>
              <a:buFontTx/>
              <a:buNone/>
              <a:tabLst/>
              <a:defRPr/>
            </a:pPr>
            <a:fld id="{DFCF27A5-1A5B-48D3-A060-2758FFBB1ADD}" type="slidenum">
              <a:rPr lang="en-US" sz="2000" kern="1200" smtClean="0">
                <a:solidFill>
                  <a:schemeClr val="bg1">
                    <a:lumMod val="50000"/>
                  </a:schemeClr>
                </a:solidFill>
                <a:latin typeface="+mn-lt"/>
                <a:ea typeface="+mn-ea"/>
                <a:cs typeface="+mn-cs"/>
                <a:sym typeface="Trebuchet MS" panose="020B0603020202020204" pitchFamily="34" charset="0"/>
              </a:rPr>
              <a:pPr marL="0" marR="0" indent="0" algn="r" defTabSz="1828800" rtl="0" eaLnBrk="1" fontAlgn="auto" latinLnBrk="0" hangingPunct="1">
                <a:lnSpc>
                  <a:spcPct val="100000"/>
                </a:lnSpc>
                <a:spcBef>
                  <a:spcPts val="0"/>
                </a:spcBef>
                <a:spcAft>
                  <a:spcPts val="0"/>
                </a:spcAft>
                <a:buClrTx/>
                <a:buSzTx/>
                <a:buFontTx/>
                <a:buNone/>
                <a:tabLst/>
                <a:defRPr/>
              </a:pPr>
              <a:t>‹#›</a:t>
            </a:fld>
            <a:endParaRPr lang="en-US" sz="2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1260000" y="1245601"/>
            <a:ext cx="21866700" cy="664798"/>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1260000" y="3651250"/>
            <a:ext cx="21866700" cy="87026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5164667"/>
      </p:ext>
    </p:extLst>
  </p:cSld>
  <p:clrMap bg1="lt1" tx1="dk1" bg2="lt2" tx2="dk2" accent1="accent1" accent2="accent2" accent3="accent3" accent4="accent4" accent5="accent5" accent6="accent6" hlink="hlink" folHlink="folHlink"/>
  <p:sldLayoutIdLst>
    <p:sldLayoutId id="2147484088" r:id="rId1"/>
    <p:sldLayoutId id="2147484089" r:id="rId2"/>
    <p:sldLayoutId id="2147484090" r:id="rId3"/>
    <p:sldLayoutId id="2147484091" r:id="rId4"/>
    <p:sldLayoutId id="2147484092" r:id="rId5"/>
    <p:sldLayoutId id="2147484093" r:id="rId6"/>
    <p:sldLayoutId id="2147484094" r:id="rId7"/>
    <p:sldLayoutId id="2147484095" r:id="rId8"/>
    <p:sldLayoutId id="2147484096" r:id="rId9"/>
    <p:sldLayoutId id="2147484097" r:id="rId10"/>
    <p:sldLayoutId id="2147484098" r:id="rId11"/>
    <p:sldLayoutId id="2147484099" r:id="rId12"/>
    <p:sldLayoutId id="2147484100" r:id="rId13"/>
    <p:sldLayoutId id="2147484101" r:id="rId14"/>
    <p:sldLayoutId id="2147484102" r:id="rId15"/>
    <p:sldLayoutId id="2147484103" r:id="rId16"/>
    <p:sldLayoutId id="2147484104" r:id="rId17"/>
    <p:sldLayoutId id="2147484105" r:id="rId18"/>
    <p:sldLayoutId id="2147484106" r:id="rId19"/>
    <p:sldLayoutId id="2147484107" r:id="rId20"/>
    <p:sldLayoutId id="2147484108" r:id="rId21"/>
    <p:sldLayoutId id="2147484109" r:id="rId22"/>
    <p:sldLayoutId id="2147484110" r:id="rId23"/>
    <p:sldLayoutId id="2147484111" r:id="rId24"/>
    <p:sldLayoutId id="2147484112" r:id="rId25"/>
    <p:sldLayoutId id="2147484113" r:id="rId26"/>
    <p:sldLayoutId id="2147484114" r:id="rId27"/>
    <p:sldLayoutId id="2147484115" r:id="rId28"/>
    <p:sldLayoutId id="2147484116" r:id="rId29"/>
    <p:sldLayoutId id="2147484117" r:id="rId30"/>
    <p:sldLayoutId id="2147484118" r:id="rId31"/>
    <p:sldLayoutId id="2147484119" r:id="rId32"/>
    <p:sldLayoutId id="2147484120" r:id="rId33"/>
    <p:sldLayoutId id="2147484121" r:id="rId34"/>
    <p:sldLayoutId id="2147484122" r:id="rId35"/>
    <p:sldLayoutId id="2147484123" r:id="rId36"/>
    <p:sldLayoutId id="2147484124" r:id="rId37"/>
    <p:sldLayoutId id="2147484125" r:id="rId38"/>
    <p:sldLayoutId id="2147484126" r:id="rId39"/>
    <p:sldLayoutId id="2147484127" r:id="rId40"/>
    <p:sldLayoutId id="2147484128" r:id="rId41"/>
    <p:sldLayoutId id="2147484129" r:id="rId42"/>
    <p:sldLayoutId id="2147484130" r:id="rId43"/>
    <p:sldLayoutId id="2147484131" r:id="rId44"/>
    <p:sldLayoutId id="2147484132" r:id="rId45"/>
    <p:sldLayoutId id="2147484133" r:id="rId46"/>
    <p:sldLayoutId id="2147484134" r:id="rId47"/>
    <p:sldLayoutId id="2147484135" r:id="rId48"/>
    <p:sldLayoutId id="2147484136" r:id="rId49"/>
    <p:sldLayoutId id="2147484137" r:id="rId50"/>
    <p:sldLayoutId id="2147484138" r:id="rId51"/>
    <p:sldLayoutId id="2147484139" r:id="rId52"/>
    <p:sldLayoutId id="2147484140" r:id="rId53"/>
    <p:sldLayoutId id="2147484141" r:id="rId54"/>
    <p:sldLayoutId id="2147484142" r:id="rId55"/>
    <p:sldLayoutId id="2147484143" r:id="rId56"/>
    <p:sldLayoutId id="2147484144" r:id="rId57"/>
    <p:sldLayoutId id="2147484145" r:id="rId58"/>
    <p:sldLayoutId id="2147484146" r:id="rId59"/>
    <p:sldLayoutId id="2147484147" r:id="rId60"/>
    <p:sldLayoutId id="2147484148" r:id="rId61"/>
    <p:sldLayoutId id="2147484149" r:id="rId62"/>
    <p:sldLayoutId id="2147484150" r:id="rId63"/>
    <p:sldLayoutId id="2147484151" r:id="rId64"/>
    <p:sldLayoutId id="2147484152" r:id="rId65"/>
    <p:sldLayoutId id="2147484153" r:id="rId66"/>
    <p:sldLayoutId id="2147484154"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1828800" rtl="0" eaLnBrk="1" latinLnBrk="0" hangingPunct="1">
        <a:lnSpc>
          <a:spcPct val="90000"/>
        </a:lnSpc>
        <a:spcBef>
          <a:spcPct val="0"/>
        </a:spcBef>
        <a:buNone/>
        <a:defRPr sz="4800" kern="1200">
          <a:solidFill>
            <a:schemeClr val="tx2"/>
          </a:solidFill>
          <a:latin typeface="+mj-lt"/>
          <a:ea typeface="+mj-ea"/>
          <a:cs typeface="+mj-cs"/>
          <a:sym typeface="Trebuchet MS" panose="020B0603020202020204" pitchFamily="34" charset="0"/>
        </a:defRPr>
      </a:lvl1pPr>
    </p:titleStyle>
    <p:bodyStyle>
      <a:lvl1pPr marL="0" indent="0" algn="l" defTabSz="1828800" rtl="0" eaLnBrk="1" latinLnBrk="0" hangingPunct="1">
        <a:lnSpc>
          <a:spcPct val="110000"/>
        </a:lnSpc>
        <a:spcBef>
          <a:spcPts val="1200"/>
        </a:spcBef>
        <a:spcAft>
          <a:spcPts val="600"/>
        </a:spcAft>
        <a:buFont typeface="Arial" panose="020B0604020202020204" pitchFamily="34" charset="0"/>
        <a:buChar char="​"/>
        <a:defRPr lang="en-US" sz="2400" kern="1200">
          <a:solidFill>
            <a:schemeClr val="tx1"/>
          </a:solidFill>
          <a:latin typeface="+mn-lt"/>
          <a:ea typeface="+mn-ea"/>
          <a:cs typeface="+mn-cs"/>
          <a:sym typeface="Trebuchet MS" panose="020B0603020202020204" pitchFamily="34" charset="0"/>
        </a:defRPr>
      </a:lvl1pPr>
      <a:lvl2pPr marL="568800" indent="-345600" algn="l" defTabSz="1828800" rtl="0" eaLnBrk="1" latinLnBrk="0" hangingPunct="1">
        <a:lnSpc>
          <a:spcPct val="90000"/>
        </a:lnSpc>
        <a:spcBef>
          <a:spcPts val="0"/>
        </a:spcBef>
        <a:spcAft>
          <a:spcPts val="600"/>
        </a:spcAft>
        <a:buClr>
          <a:schemeClr val="tx2"/>
        </a:buClr>
        <a:buFont typeface="Arial" panose="020B0604020202020204" pitchFamily="34" charset="0"/>
        <a:buChar char="•"/>
        <a:defRPr lang="en-US" sz="2400" kern="1200">
          <a:solidFill>
            <a:schemeClr val="tx1"/>
          </a:solidFill>
          <a:latin typeface="+mn-lt"/>
          <a:ea typeface="+mn-ea"/>
          <a:cs typeface="+mn-cs"/>
          <a:sym typeface="Trebuchet MS" panose="020B0603020202020204" pitchFamily="34" charset="0"/>
        </a:defRPr>
      </a:lvl2pPr>
      <a:lvl3pPr marL="1022400" indent="-331200" algn="l" defTabSz="1828800" rtl="0" eaLnBrk="1" latinLnBrk="0" hangingPunct="1">
        <a:lnSpc>
          <a:spcPct val="90000"/>
        </a:lnSpc>
        <a:spcBef>
          <a:spcPts val="0"/>
        </a:spcBef>
        <a:spcAft>
          <a:spcPts val="600"/>
        </a:spcAft>
        <a:buClr>
          <a:schemeClr val="tx2"/>
        </a:buClr>
        <a:buFont typeface="Trebuchet MS" panose="020B0603020202020204" pitchFamily="34" charset="0"/>
        <a:buChar char="–"/>
        <a:defRPr lang="en-US" sz="2400" kern="1200">
          <a:solidFill>
            <a:schemeClr val="tx1"/>
          </a:solidFill>
          <a:latin typeface="+mn-lt"/>
          <a:ea typeface="+mn-ea"/>
          <a:cs typeface="+mn-cs"/>
          <a:sym typeface="Trebuchet MS" panose="020B0603020202020204" pitchFamily="34" charset="0"/>
        </a:defRPr>
      </a:lvl3pPr>
      <a:lvl4pPr marL="0" indent="0" algn="l" defTabSz="1828800" rtl="0" eaLnBrk="1" latinLnBrk="0" hangingPunct="1">
        <a:lnSpc>
          <a:spcPct val="110000"/>
        </a:lnSpc>
        <a:spcBef>
          <a:spcPts val="600"/>
        </a:spcBef>
        <a:spcAft>
          <a:spcPts val="600"/>
        </a:spcAft>
        <a:buClr>
          <a:schemeClr val="tx2"/>
        </a:buClr>
        <a:buFont typeface="Arial" panose="020B0604020202020204" pitchFamily="34" charset="0"/>
        <a:buChar char="​"/>
        <a:defRPr lang="en-US" sz="3200" kern="1200">
          <a:solidFill>
            <a:schemeClr val="tx2"/>
          </a:solidFill>
          <a:latin typeface="+mn-lt"/>
          <a:ea typeface="+mn-ea"/>
          <a:cs typeface="+mn-cs"/>
          <a:sym typeface="Trebuchet MS" panose="020B0603020202020204" pitchFamily="34" charset="0"/>
        </a:defRPr>
      </a:lvl4pPr>
      <a:lvl5pPr marL="0" indent="0" algn="l" defTabSz="1828800" rtl="0" eaLnBrk="1" latinLnBrk="0" hangingPunct="1">
        <a:lnSpc>
          <a:spcPct val="100000"/>
        </a:lnSpc>
        <a:spcBef>
          <a:spcPts val="0"/>
        </a:spcBef>
        <a:spcAft>
          <a:spcPts val="600"/>
        </a:spcAft>
        <a:buClrTx/>
        <a:buFont typeface="Arial" panose="020B0604020202020204" pitchFamily="34" charset="0"/>
        <a:buChar char="​"/>
        <a:defRPr lang="en-US" sz="3200" b="1" kern="1200" smtClean="0">
          <a:solidFill>
            <a:schemeClr val="tx1"/>
          </a:solidFill>
          <a:latin typeface="+mn-lt"/>
          <a:ea typeface="+mn-ea"/>
          <a:cs typeface="+mn-cs"/>
          <a:sym typeface="Trebuchet MS" panose="020B0603020202020204" pitchFamily="34" charset="0"/>
        </a:defRPr>
      </a:lvl5pPr>
      <a:lvl6pPr marL="539750" indent="-304800" algn="l" defTabSz="1828800" rtl="0" eaLnBrk="1" latinLnBrk="0" hangingPunct="1">
        <a:lnSpc>
          <a:spcPct val="90000"/>
        </a:lnSpc>
        <a:spcBef>
          <a:spcPts val="0"/>
        </a:spcBef>
        <a:spcAft>
          <a:spcPts val="1200"/>
        </a:spcAft>
        <a:buClr>
          <a:schemeClr val="tx2"/>
        </a:buClr>
        <a:buFont typeface="Arial" panose="020B0604020202020204" pitchFamily="34" charset="0"/>
        <a:buChar char="•"/>
        <a:defRPr lang="en-US" sz="3200" kern="1200" smtClean="0">
          <a:solidFill>
            <a:schemeClr val="tx1"/>
          </a:solidFill>
          <a:latin typeface="+mn-lt"/>
          <a:ea typeface="+mn-ea"/>
          <a:cs typeface="+mn-cs"/>
          <a:sym typeface="Trebuchet MS" panose="020B0603020202020204" pitchFamily="34" charset="0"/>
        </a:defRPr>
      </a:lvl6pPr>
      <a:lvl7pPr marL="0" indent="0" algn="l" defTabSz="1828800" rtl="0" eaLnBrk="1" latinLnBrk="0" hangingPunct="1">
        <a:lnSpc>
          <a:spcPct val="90000"/>
        </a:lnSpc>
        <a:spcBef>
          <a:spcPts val="1800"/>
        </a:spcBef>
        <a:spcAft>
          <a:spcPts val="1800"/>
        </a:spcAft>
        <a:buFont typeface="Arial" panose="020B0604020202020204" pitchFamily="34" charset="0"/>
        <a:buChar char="​"/>
        <a:defRPr lang="en-US" sz="8800" kern="1200" baseline="0" smtClean="0">
          <a:solidFill>
            <a:schemeClr val="tx1"/>
          </a:solidFill>
          <a:latin typeface="+mn-lt"/>
          <a:ea typeface="+mn-ea"/>
          <a:cs typeface="+mn-cs"/>
          <a:sym typeface="Trebuchet MS" panose="020B0603020202020204" pitchFamily="34" charset="0"/>
        </a:defRPr>
      </a:lvl7pPr>
      <a:lvl8pPr marL="0" indent="0" algn="l" defTabSz="1828800" rtl="0" eaLnBrk="1" latinLnBrk="0" hangingPunct="1">
        <a:lnSpc>
          <a:spcPct val="90000"/>
        </a:lnSpc>
        <a:spcBef>
          <a:spcPts val="1800"/>
        </a:spcBef>
        <a:spcAft>
          <a:spcPts val="0"/>
        </a:spcAft>
        <a:buFont typeface="Arial" panose="020B0604020202020204" pitchFamily="34" charset="0"/>
        <a:buChar char="​"/>
        <a:defRPr lang="en-US" sz="10800" kern="1200" baseline="0" smtClean="0">
          <a:solidFill>
            <a:schemeClr val="tx2"/>
          </a:solidFill>
          <a:latin typeface="+mn-lt"/>
          <a:ea typeface="+mn-ea"/>
          <a:cs typeface="+mn-cs"/>
          <a:sym typeface="Trebuchet MS" panose="020B0603020202020204" pitchFamily="34" charset="0"/>
        </a:defRPr>
      </a:lvl8pPr>
      <a:lvl9pPr marL="0" indent="0" algn="l" defTabSz="1828800" rtl="0" eaLnBrk="1" latinLnBrk="0" hangingPunct="1">
        <a:lnSpc>
          <a:spcPct val="100000"/>
        </a:lnSpc>
        <a:spcBef>
          <a:spcPts val="0"/>
        </a:spcBef>
        <a:spcAft>
          <a:spcPts val="1800"/>
        </a:spcAft>
        <a:buFont typeface="Arial" panose="020B0604020202020204" pitchFamily="34" charset="0"/>
        <a:buChar char="​"/>
        <a:defRPr lang="en-US" sz="48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hyperlink" Target="http://mepb.lagosstate.gov.ng/" TargetMode="External"/><Relationship Id="rId1" Type="http://schemas.openxmlformats.org/officeDocument/2006/relationships/slideLayout" Target="../slideLayouts/slideLayout2.xml"/><Relationship Id="rId4" Type="http://schemas.openxmlformats.org/officeDocument/2006/relationships/image" Target="../media/image1.jpeg"/></Relationships>
</file>

<file path=ppt/slides/_rels/slide3.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Layout" Target="../slideLayouts/slideLayout3.xml"/><Relationship Id="rId5" Type="http://schemas.openxmlformats.org/officeDocument/2006/relationships/image" Target="../media/image30.svg"/><Relationship Id="rId4" Type="http://schemas.openxmlformats.org/officeDocument/2006/relationships/image" Target="../media/image29.png"/></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5704589" y="-326570"/>
            <a:ext cx="13706778" cy="2123658"/>
          </a:xfrm>
          <a:prstGeom prst="rect">
            <a:avLst/>
          </a:prstGeom>
          <a:noFill/>
        </p:spPr>
        <p:txBody>
          <a:bodyPr wrap="square" lIns="0" rIns="0" rtlCol="0" anchor="b">
            <a:spAutoFit/>
          </a:bodyPr>
          <a:lstStyle/>
          <a:p>
            <a:endParaRPr lang="en-US" sz="8400" dirty="0">
              <a:solidFill>
                <a:srgbClr val="4472C4">
                  <a:lumMod val="50000"/>
                </a:srgbClr>
              </a:solidFill>
              <a:latin typeface="Calibri"/>
            </a:endParaRPr>
          </a:p>
          <a:p>
            <a:endParaRPr lang="en-US" sz="4800" dirty="0">
              <a:solidFill>
                <a:srgbClr val="4472C4">
                  <a:lumMod val="50000"/>
                </a:srgbClr>
              </a:solidFill>
              <a:latin typeface="Calibri"/>
            </a:endParaRPr>
          </a:p>
        </p:txBody>
      </p:sp>
      <p:sp>
        <p:nvSpPr>
          <p:cNvPr id="4" name="TextBox 3"/>
          <p:cNvSpPr txBox="1"/>
          <p:nvPr/>
        </p:nvSpPr>
        <p:spPr>
          <a:xfrm>
            <a:off x="3520098" y="3987092"/>
            <a:ext cx="18294020" cy="3293209"/>
          </a:xfrm>
          <a:prstGeom prst="rect">
            <a:avLst/>
          </a:prstGeom>
          <a:noFill/>
        </p:spPr>
        <p:txBody>
          <a:bodyPr wrap="square" rtlCol="0">
            <a:spAutoFit/>
          </a:bodyPr>
          <a:lstStyle/>
          <a:p>
            <a:pPr algn="ctr"/>
            <a:r>
              <a:rPr lang="en-US" sz="8000" dirty="0">
                <a:solidFill>
                  <a:srgbClr val="1A77B9"/>
                </a:solidFill>
                <a:latin typeface="Bookman Old Style"/>
                <a:cs typeface="Bookman Old Style"/>
              </a:rPr>
              <a:t>Q1 2021 Budget Performance Review</a:t>
            </a:r>
            <a:endParaRPr lang="en-US" sz="8400" dirty="0">
              <a:solidFill>
                <a:srgbClr val="1A77B9"/>
              </a:solidFill>
              <a:latin typeface="Bookman Old Style"/>
              <a:cs typeface="Bookman Old Style"/>
            </a:endParaRPr>
          </a:p>
          <a:p>
            <a:pPr algn="ctr"/>
            <a:r>
              <a:rPr lang="en-US" sz="4800" dirty="0">
                <a:solidFill>
                  <a:srgbClr val="4472C4">
                    <a:lumMod val="50000"/>
                  </a:srgbClr>
                </a:solidFill>
                <a:latin typeface="Bookman Old Style"/>
                <a:cs typeface="Bookman Old Style"/>
              </a:rPr>
              <a:t>Lagos State Government</a:t>
            </a:r>
          </a:p>
        </p:txBody>
      </p:sp>
      <p:sp>
        <p:nvSpPr>
          <p:cNvPr id="5" name="Government Secretariat,…">
            <a:extLst>
              <a:ext uri="{FF2B5EF4-FFF2-40B4-BE49-F238E27FC236}">
                <a16:creationId xmlns:a16="http://schemas.microsoft.com/office/drawing/2014/main" id="{A1FAB2DA-5CEA-40A4-99B3-2E8657088C7B}"/>
              </a:ext>
            </a:extLst>
          </p:cNvPr>
          <p:cNvSpPr txBox="1"/>
          <p:nvPr/>
        </p:nvSpPr>
        <p:spPr>
          <a:xfrm>
            <a:off x="936119" y="10602351"/>
            <a:ext cx="3679371" cy="149351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spAutoFit/>
          </a:bodyPr>
          <a:lstStyle/>
          <a:p>
            <a:pPr algn="l">
              <a:lnSpc>
                <a:spcPct val="140000"/>
              </a:lnSpc>
              <a:spcBef>
                <a:spcPts val="200"/>
              </a:spcBef>
              <a:defRPr sz="2400" b="0" cap="none">
                <a:solidFill>
                  <a:srgbClr val="535353"/>
                </a:solidFill>
                <a:effectLst/>
              </a:defRPr>
            </a:pPr>
            <a:r>
              <a:t>Government Secretariat,</a:t>
            </a:r>
          </a:p>
          <a:p>
            <a:pPr algn="l">
              <a:lnSpc>
                <a:spcPct val="140000"/>
              </a:lnSpc>
              <a:spcBef>
                <a:spcPts val="200"/>
              </a:spcBef>
              <a:defRPr sz="2400" b="0" cap="none">
                <a:solidFill>
                  <a:srgbClr val="535353"/>
                </a:solidFill>
                <a:effectLst/>
              </a:defRPr>
            </a:pPr>
            <a:r>
              <a:t>Alausa, Ikeja, </a:t>
            </a:r>
          </a:p>
          <a:p>
            <a:pPr algn="l">
              <a:lnSpc>
                <a:spcPct val="140000"/>
              </a:lnSpc>
              <a:spcBef>
                <a:spcPts val="200"/>
              </a:spcBef>
              <a:defRPr sz="2400" b="0" cap="none">
                <a:solidFill>
                  <a:srgbClr val="535353"/>
                </a:solidFill>
                <a:effectLst/>
              </a:defRPr>
            </a:pPr>
            <a:r>
              <a:t>Lagos State, Nigeria.</a:t>
            </a:r>
          </a:p>
        </p:txBody>
      </p:sp>
      <p:sp>
        <p:nvSpPr>
          <p:cNvPr id="6" name="web: http://lagosstate.gov.ng…">
            <a:extLst>
              <a:ext uri="{FF2B5EF4-FFF2-40B4-BE49-F238E27FC236}">
                <a16:creationId xmlns:a16="http://schemas.microsoft.com/office/drawing/2014/main" id="{D427C0CC-7A21-402E-84D5-E0328D5C395B}"/>
              </a:ext>
            </a:extLst>
          </p:cNvPr>
          <p:cNvSpPr txBox="1"/>
          <p:nvPr/>
        </p:nvSpPr>
        <p:spPr>
          <a:xfrm>
            <a:off x="5864784" y="10602351"/>
            <a:ext cx="5259356" cy="149351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spAutoFit/>
          </a:bodyPr>
          <a:lstStyle/>
          <a:p>
            <a:pPr algn="l">
              <a:lnSpc>
                <a:spcPct val="140000"/>
              </a:lnSpc>
              <a:spcBef>
                <a:spcPts val="200"/>
              </a:spcBef>
              <a:defRPr sz="2400" b="0" cap="none">
                <a:solidFill>
                  <a:srgbClr val="535353"/>
                </a:solidFill>
                <a:effectLst/>
              </a:defRPr>
            </a:pPr>
            <a:r>
              <a:t>web: http://lagosstate.gov.ng</a:t>
            </a:r>
          </a:p>
          <a:p>
            <a:pPr algn="l">
              <a:lnSpc>
                <a:spcPct val="140000"/>
              </a:lnSpc>
              <a:spcBef>
                <a:spcPts val="200"/>
              </a:spcBef>
              <a:defRPr sz="2400" b="0" cap="none">
                <a:solidFill>
                  <a:srgbClr val="535353"/>
                </a:solidFill>
                <a:effectLst/>
              </a:defRPr>
            </a:pPr>
            <a:r>
              <a:t>email: info@lagosstate.gov.ng</a:t>
            </a:r>
          </a:p>
          <a:p>
            <a:pPr algn="l">
              <a:lnSpc>
                <a:spcPct val="140000"/>
              </a:lnSpc>
              <a:spcBef>
                <a:spcPts val="200"/>
              </a:spcBef>
              <a:defRPr sz="2400" b="0" cap="none">
                <a:solidFill>
                  <a:srgbClr val="535353"/>
                </a:solidFill>
                <a:effectLst/>
              </a:defRPr>
            </a:pPr>
            <a:r>
              <a:t>twitter: @followlasg</a:t>
            </a:r>
          </a:p>
        </p:txBody>
      </p:sp>
      <p:sp>
        <p:nvSpPr>
          <p:cNvPr id="7" name="Line">
            <a:extLst>
              <a:ext uri="{FF2B5EF4-FFF2-40B4-BE49-F238E27FC236}">
                <a16:creationId xmlns:a16="http://schemas.microsoft.com/office/drawing/2014/main" id="{A7E68C03-8D65-41EF-AB70-DC50F0695E8D}"/>
              </a:ext>
            </a:extLst>
          </p:cNvPr>
          <p:cNvSpPr/>
          <p:nvPr/>
        </p:nvSpPr>
        <p:spPr>
          <a:xfrm flipV="1">
            <a:off x="5240137" y="10736164"/>
            <a:ext cx="1" cy="1493517"/>
          </a:xfrm>
          <a:prstGeom prst="line">
            <a:avLst/>
          </a:prstGeom>
          <a:ln w="25400">
            <a:solidFill>
              <a:schemeClr val="accent1"/>
            </a:solidFill>
          </a:ln>
        </p:spPr>
        <p:txBody>
          <a:bodyPr lIns="45718" tIns="45718" rIns="45718" bIns="45718"/>
          <a:lstStyle/>
          <a:p>
            <a:pPr algn="l">
              <a:defRPr sz="2000" b="0" cap="none">
                <a:solidFill>
                  <a:srgbClr val="252D30"/>
                </a:solidFill>
                <a:effectLst/>
                <a:latin typeface="+mn-lt"/>
                <a:ea typeface="+mn-ea"/>
                <a:cs typeface="+mn-cs"/>
                <a:sym typeface="Helvetica Neue"/>
              </a:defRPr>
            </a:pPr>
            <a:endParaRPr/>
          </a:p>
        </p:txBody>
      </p:sp>
      <p:sp>
        <p:nvSpPr>
          <p:cNvPr id="2" name="Rectangle 1">
            <a:extLst>
              <a:ext uri="{FF2B5EF4-FFF2-40B4-BE49-F238E27FC236}">
                <a16:creationId xmlns:a16="http://schemas.microsoft.com/office/drawing/2014/main" id="{6F18D97E-3BB1-4806-8BFD-29EA542DEED8}"/>
              </a:ext>
            </a:extLst>
          </p:cNvPr>
          <p:cNvSpPr/>
          <p:nvPr/>
        </p:nvSpPr>
        <p:spPr>
          <a:xfrm>
            <a:off x="22040850" y="11887200"/>
            <a:ext cx="1543046" cy="1047750"/>
          </a:xfrm>
          <a:prstGeom prst="rect">
            <a:avLst/>
          </a:prstGeom>
          <a:solidFill>
            <a:srgbClr val="FFFFFF"/>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Tree>
    <p:extLst>
      <p:ext uri="{BB962C8B-B14F-4D97-AF65-F5344CB8AC3E}">
        <p14:creationId xmlns:p14="http://schemas.microsoft.com/office/powerpoint/2010/main" val="18545705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2" name="Approved Budget Overview"/>
          <p:cNvSpPr txBox="1"/>
          <p:nvPr/>
        </p:nvSpPr>
        <p:spPr>
          <a:xfrm>
            <a:off x="8756891" y="6588594"/>
            <a:ext cx="11074774" cy="891539"/>
          </a:xfrm>
          <a:prstGeom prst="rect">
            <a:avLst/>
          </a:prstGeom>
          <a:ln w="38100">
            <a:solidFill>
              <a:schemeClr val="accent3"/>
            </a:solidFill>
            <a:miter lim="400000"/>
          </a:ln>
          <a:effectLst>
            <a:outerShdw blurRad="12700" dist="12700" rotWithShape="0">
              <a:srgbClr val="000000">
                <a:alpha val="1508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1918" tIns="121918" rIns="121918" bIns="121918" anchor="ctr">
            <a:spAutoFit/>
          </a:bodyPr>
          <a:lstStyle/>
          <a:p>
            <a:r>
              <a:rPr dirty="0"/>
              <a:t>Function Group Allocation</a:t>
            </a:r>
          </a:p>
        </p:txBody>
      </p:sp>
      <p:sp>
        <p:nvSpPr>
          <p:cNvPr id="8" name="Rectangle 7">
            <a:extLst>
              <a:ext uri="{FF2B5EF4-FFF2-40B4-BE49-F238E27FC236}">
                <a16:creationId xmlns:a16="http://schemas.microsoft.com/office/drawing/2014/main" id="{5EE87A06-1CA3-49AC-8498-A32650029CBE}"/>
              </a:ext>
            </a:extLst>
          </p:cNvPr>
          <p:cNvSpPr/>
          <p:nvPr/>
        </p:nvSpPr>
        <p:spPr>
          <a:xfrm>
            <a:off x="8775941" y="7649029"/>
            <a:ext cx="826321" cy="330969"/>
          </a:xfrm>
          <a:prstGeom prst="rect">
            <a:avLst/>
          </a:prstGeom>
          <a:solidFill>
            <a:srgbClr val="DCDCD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9" name="Rectangle 8">
            <a:extLst>
              <a:ext uri="{FF2B5EF4-FFF2-40B4-BE49-F238E27FC236}">
                <a16:creationId xmlns:a16="http://schemas.microsoft.com/office/drawing/2014/main" id="{91A67CB8-9B03-4546-8AA7-9D3AD5B04EFE}"/>
              </a:ext>
            </a:extLst>
          </p:cNvPr>
          <p:cNvSpPr/>
          <p:nvPr/>
        </p:nvSpPr>
        <p:spPr>
          <a:xfrm>
            <a:off x="9639504" y="7649029"/>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0" name="Rectangle 9">
            <a:extLst>
              <a:ext uri="{FF2B5EF4-FFF2-40B4-BE49-F238E27FC236}">
                <a16:creationId xmlns:a16="http://schemas.microsoft.com/office/drawing/2014/main" id="{C12CEC8F-DF43-4882-9E21-742CA24DE681}"/>
              </a:ext>
            </a:extLst>
          </p:cNvPr>
          <p:cNvSpPr/>
          <p:nvPr/>
        </p:nvSpPr>
        <p:spPr>
          <a:xfrm>
            <a:off x="10503067" y="7649029"/>
            <a:ext cx="826321" cy="330969"/>
          </a:xfrm>
          <a:prstGeom prst="rect">
            <a:avLst/>
          </a:prstGeom>
          <a:solidFill>
            <a:srgbClr val="DCDCD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1" name="Rectangle 10">
            <a:extLst>
              <a:ext uri="{FF2B5EF4-FFF2-40B4-BE49-F238E27FC236}">
                <a16:creationId xmlns:a16="http://schemas.microsoft.com/office/drawing/2014/main" id="{C76A5E10-27C5-4E9D-B9AE-BA143734D139}"/>
              </a:ext>
            </a:extLst>
          </p:cNvPr>
          <p:cNvSpPr/>
          <p:nvPr/>
        </p:nvSpPr>
        <p:spPr>
          <a:xfrm>
            <a:off x="11366630" y="7649029"/>
            <a:ext cx="826321" cy="330969"/>
          </a:xfrm>
          <a:prstGeom prst="rect">
            <a:avLst/>
          </a:prstGeom>
          <a:solidFill>
            <a:srgbClr val="00AEEF"/>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2" name="Rectangle 11">
            <a:extLst>
              <a:ext uri="{FF2B5EF4-FFF2-40B4-BE49-F238E27FC236}">
                <a16:creationId xmlns:a16="http://schemas.microsoft.com/office/drawing/2014/main" id="{153FF979-4C15-438B-A8A7-EF623BB2759E}"/>
              </a:ext>
            </a:extLst>
          </p:cNvPr>
          <p:cNvSpPr/>
          <p:nvPr/>
        </p:nvSpPr>
        <p:spPr>
          <a:xfrm>
            <a:off x="12230193" y="7649029"/>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3" name="Rectangle 12">
            <a:extLst>
              <a:ext uri="{FF2B5EF4-FFF2-40B4-BE49-F238E27FC236}">
                <a16:creationId xmlns:a16="http://schemas.microsoft.com/office/drawing/2014/main" id="{42D38D53-DB25-4026-922B-ACF6936618BE}"/>
              </a:ext>
            </a:extLst>
          </p:cNvPr>
          <p:cNvSpPr/>
          <p:nvPr/>
        </p:nvSpPr>
        <p:spPr>
          <a:xfrm>
            <a:off x="13093756" y="7649029"/>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4" name="Rectangle 13">
            <a:extLst>
              <a:ext uri="{FF2B5EF4-FFF2-40B4-BE49-F238E27FC236}">
                <a16:creationId xmlns:a16="http://schemas.microsoft.com/office/drawing/2014/main" id="{7F836507-386B-4A16-846C-A59BF71058EA}"/>
              </a:ext>
            </a:extLst>
          </p:cNvPr>
          <p:cNvSpPr/>
          <p:nvPr/>
        </p:nvSpPr>
        <p:spPr>
          <a:xfrm>
            <a:off x="13957319" y="7649029"/>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5" name="Rectangle 14">
            <a:extLst>
              <a:ext uri="{FF2B5EF4-FFF2-40B4-BE49-F238E27FC236}">
                <a16:creationId xmlns:a16="http://schemas.microsoft.com/office/drawing/2014/main" id="{20BE9B43-A4E9-4983-B834-DE83C0514DB4}"/>
              </a:ext>
            </a:extLst>
          </p:cNvPr>
          <p:cNvSpPr/>
          <p:nvPr/>
        </p:nvSpPr>
        <p:spPr>
          <a:xfrm>
            <a:off x="14820882" y="7649029"/>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6" name="Rectangle 15">
            <a:extLst>
              <a:ext uri="{FF2B5EF4-FFF2-40B4-BE49-F238E27FC236}">
                <a16:creationId xmlns:a16="http://schemas.microsoft.com/office/drawing/2014/main" id="{907BB7ED-76B5-4440-BB6F-060F73AB7A50}"/>
              </a:ext>
            </a:extLst>
          </p:cNvPr>
          <p:cNvSpPr/>
          <p:nvPr/>
        </p:nvSpPr>
        <p:spPr>
          <a:xfrm>
            <a:off x="15684445" y="7649029"/>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7" name="Rectangle 16">
            <a:extLst>
              <a:ext uri="{FF2B5EF4-FFF2-40B4-BE49-F238E27FC236}">
                <a16:creationId xmlns:a16="http://schemas.microsoft.com/office/drawing/2014/main" id="{D417C1E2-F661-4105-ADEE-941F38C4D1EC}"/>
              </a:ext>
            </a:extLst>
          </p:cNvPr>
          <p:cNvSpPr/>
          <p:nvPr/>
        </p:nvSpPr>
        <p:spPr>
          <a:xfrm>
            <a:off x="16548008" y="7649029"/>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8" name="Rectangle 17">
            <a:extLst>
              <a:ext uri="{FF2B5EF4-FFF2-40B4-BE49-F238E27FC236}">
                <a16:creationId xmlns:a16="http://schemas.microsoft.com/office/drawing/2014/main" id="{98A8A5A1-EE2A-4027-908C-CD18C7A3347E}"/>
              </a:ext>
            </a:extLst>
          </p:cNvPr>
          <p:cNvSpPr/>
          <p:nvPr/>
        </p:nvSpPr>
        <p:spPr>
          <a:xfrm>
            <a:off x="17411571" y="7649029"/>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9" name="Rectangle 18">
            <a:extLst>
              <a:ext uri="{FF2B5EF4-FFF2-40B4-BE49-F238E27FC236}">
                <a16:creationId xmlns:a16="http://schemas.microsoft.com/office/drawing/2014/main" id="{D77D8B44-A050-40BA-9F01-299EADF3B9FF}"/>
              </a:ext>
            </a:extLst>
          </p:cNvPr>
          <p:cNvSpPr/>
          <p:nvPr/>
        </p:nvSpPr>
        <p:spPr>
          <a:xfrm>
            <a:off x="18275134" y="7649029"/>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20" name="Rectangle 19">
            <a:extLst>
              <a:ext uri="{FF2B5EF4-FFF2-40B4-BE49-F238E27FC236}">
                <a16:creationId xmlns:a16="http://schemas.microsoft.com/office/drawing/2014/main" id="{016CEA1D-3898-4A54-9B25-F0F99A0443AA}"/>
              </a:ext>
            </a:extLst>
          </p:cNvPr>
          <p:cNvSpPr/>
          <p:nvPr/>
        </p:nvSpPr>
        <p:spPr>
          <a:xfrm>
            <a:off x="19138694" y="7649029"/>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21" name="Approved Budget Overview">
            <a:extLst>
              <a:ext uri="{FF2B5EF4-FFF2-40B4-BE49-F238E27FC236}">
                <a16:creationId xmlns:a16="http://schemas.microsoft.com/office/drawing/2014/main" id="{13FCC642-A463-4B0D-B9FF-79069D8C1633}"/>
              </a:ext>
            </a:extLst>
          </p:cNvPr>
          <p:cNvSpPr txBox="1"/>
          <p:nvPr/>
        </p:nvSpPr>
        <p:spPr>
          <a:xfrm>
            <a:off x="5663646" y="6588594"/>
            <a:ext cx="3108960" cy="891539"/>
          </a:xfrm>
          <a:prstGeom prst="rect">
            <a:avLst/>
          </a:prstGeom>
          <a:solidFill>
            <a:srgbClr val="1A77B9"/>
          </a:solidFill>
          <a:ln w="38100">
            <a:solidFill>
              <a:schemeClr val="accent3"/>
            </a:solidFill>
            <a:miter lim="400000"/>
          </a:ln>
          <a:effectLst>
            <a:outerShdw blurRad="12700" dist="12700" rotWithShape="0">
              <a:srgbClr val="000000">
                <a:alpha val="27675"/>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121918" tIns="121918" rIns="121918" bIns="121918" anchor="ctr">
            <a:spAutoFit/>
          </a:bodyPr>
          <a:lstStyle/>
          <a:p>
            <a:endParaRPr dirty="0"/>
          </a:p>
        </p:txBody>
      </p:sp>
      <p:sp>
        <p:nvSpPr>
          <p:cNvPr id="23" name="2019">
            <a:extLst>
              <a:ext uri="{FF2B5EF4-FFF2-40B4-BE49-F238E27FC236}">
                <a16:creationId xmlns:a16="http://schemas.microsoft.com/office/drawing/2014/main" id="{A4E1F68A-5840-4E24-AB70-5914D8555D51}"/>
              </a:ext>
            </a:extLst>
          </p:cNvPr>
          <p:cNvSpPr txBox="1"/>
          <p:nvPr/>
        </p:nvSpPr>
        <p:spPr>
          <a:xfrm>
            <a:off x="5507585" y="6541920"/>
            <a:ext cx="3421081" cy="984885"/>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defRPr sz="6400">
                <a:solidFill>
                  <a:schemeClr val="accent4"/>
                </a:solidFill>
                <a:effectLst>
                  <a:outerShdw blurRad="12700" dist="25400" dir="18900000" rotWithShape="0">
                    <a:srgbClr val="000000"/>
                  </a:outerShdw>
                </a:effectLst>
              </a:defRPr>
            </a:lvl1pPr>
          </a:lstStyle>
          <a:p>
            <a:r>
              <a:rPr lang="en-US" dirty="0">
                <a:solidFill>
                  <a:schemeClr val="bg1"/>
                </a:solidFill>
              </a:rPr>
              <a:t>Q1 2021</a:t>
            </a:r>
            <a:endParaRPr dirty="0">
              <a:solidFill>
                <a:schemeClr val="bg1"/>
              </a:solidFill>
            </a:endParaRPr>
          </a:p>
        </p:txBody>
      </p:sp>
    </p:spTree>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 name="Text Box 3"/>
          <p:cNvSpPr txBox="1"/>
          <p:nvPr/>
        </p:nvSpPr>
        <p:spPr>
          <a:xfrm>
            <a:off x="4013937" y="837446"/>
            <a:ext cx="16356127" cy="72327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38100" tIns="38100" rIns="38100" bIns="38100" anchor="ctr">
            <a:spAutoFit/>
          </a:bodyPr>
          <a:lstStyle>
            <a:lvl1pPr>
              <a:defRPr>
                <a:solidFill>
                  <a:schemeClr val="accent3"/>
                </a:solidFill>
                <a:latin typeface="Trebuchet MS"/>
                <a:ea typeface="Trebuchet MS"/>
                <a:cs typeface="Trebuchet MS"/>
                <a:sym typeface="Trebuchet MS"/>
              </a:defRPr>
            </a:lvl1pPr>
          </a:lstStyle>
          <a:p>
            <a:r>
              <a:rPr dirty="0"/>
              <a:t>Function Group Allocation </a:t>
            </a:r>
            <a:r>
              <a:rPr lang="en-GB" dirty="0"/>
              <a:t>–</a:t>
            </a:r>
            <a:r>
              <a:rPr dirty="0"/>
              <a:t> </a:t>
            </a:r>
            <a:r>
              <a:rPr lang="en-GB" dirty="0"/>
              <a:t>Q1 2021</a:t>
            </a:r>
            <a:endParaRPr dirty="0"/>
          </a:p>
        </p:txBody>
      </p:sp>
      <p:graphicFrame>
        <p:nvGraphicFramePr>
          <p:cNvPr id="1393" name="Table"/>
          <p:cNvGraphicFramePr/>
          <p:nvPr>
            <p:extLst>
              <p:ext uri="{D42A27DB-BD31-4B8C-83A1-F6EECF244321}">
                <p14:modId xmlns:p14="http://schemas.microsoft.com/office/powerpoint/2010/main" val="337172826"/>
              </p:ext>
            </p:extLst>
          </p:nvPr>
        </p:nvGraphicFramePr>
        <p:xfrm>
          <a:off x="797473" y="2430033"/>
          <a:ext cx="11601789" cy="9541631"/>
        </p:xfrm>
        <a:graphic>
          <a:graphicData uri="http://schemas.openxmlformats.org/drawingml/2006/table">
            <a:tbl>
              <a:tblPr>
                <a:tableStyleId>{4C3C2611-4C71-4FC5-86AE-919BDF0F9419}</a:tableStyleId>
              </a:tblPr>
              <a:tblGrid>
                <a:gridCol w="4790949">
                  <a:extLst>
                    <a:ext uri="{9D8B030D-6E8A-4147-A177-3AD203B41FA5}">
                      <a16:colId xmlns:a16="http://schemas.microsoft.com/office/drawing/2014/main" val="20000"/>
                    </a:ext>
                  </a:extLst>
                </a:gridCol>
                <a:gridCol w="1698366">
                  <a:extLst>
                    <a:ext uri="{9D8B030D-6E8A-4147-A177-3AD203B41FA5}">
                      <a16:colId xmlns:a16="http://schemas.microsoft.com/office/drawing/2014/main" val="20001"/>
                    </a:ext>
                  </a:extLst>
                </a:gridCol>
                <a:gridCol w="1869832">
                  <a:extLst>
                    <a:ext uri="{9D8B030D-6E8A-4147-A177-3AD203B41FA5}">
                      <a16:colId xmlns:a16="http://schemas.microsoft.com/office/drawing/2014/main" val="20002"/>
                    </a:ext>
                  </a:extLst>
                </a:gridCol>
                <a:gridCol w="1621321">
                  <a:extLst>
                    <a:ext uri="{9D8B030D-6E8A-4147-A177-3AD203B41FA5}">
                      <a16:colId xmlns:a16="http://schemas.microsoft.com/office/drawing/2014/main" val="20003"/>
                    </a:ext>
                  </a:extLst>
                </a:gridCol>
                <a:gridCol w="1621321">
                  <a:extLst>
                    <a:ext uri="{9D8B030D-6E8A-4147-A177-3AD203B41FA5}">
                      <a16:colId xmlns:a16="http://schemas.microsoft.com/office/drawing/2014/main" val="577985873"/>
                    </a:ext>
                  </a:extLst>
                </a:gridCol>
              </a:tblGrid>
              <a:tr h="726774">
                <a:tc>
                  <a:txBody>
                    <a:bodyPr/>
                    <a:lstStyle/>
                    <a:p>
                      <a:pPr algn="ctr" defTabSz="825500">
                        <a:lnSpc>
                          <a:spcPct val="90000"/>
                        </a:lnSpc>
                        <a:defRPr sz="1800">
                          <a:solidFill>
                            <a:srgbClr val="000000"/>
                          </a:solidFill>
                        </a:defRPr>
                      </a:pPr>
                      <a:r>
                        <a:rPr lang="en-US" sz="2400" b="1" cap="small" dirty="0">
                          <a:solidFill>
                            <a:srgbClr val="FFFFFF"/>
                          </a:solidFill>
                          <a:effectLst/>
                          <a:latin typeface="Trebuchet MS"/>
                          <a:ea typeface="Trebuchet MS"/>
                          <a:cs typeface="Trebuchet MS"/>
                          <a:sym typeface="Trebuchet MS"/>
                        </a:rPr>
                        <a:t>Sector</a:t>
                      </a:r>
                      <a:endParaRPr lang="en-GB" sz="2400" b="1" cap="small" dirty="0">
                        <a:solidFill>
                          <a:srgbClr val="FFFFFF"/>
                        </a:solidFill>
                        <a:effectLst/>
                        <a:latin typeface="Trebuchet MS"/>
                        <a:ea typeface="Trebuchet MS"/>
                        <a:cs typeface="Trebuchet MS"/>
                        <a:sym typeface="Trebuchet MS"/>
                      </a:endParaRPr>
                    </a:p>
                  </a:txBody>
                  <a:tcPr marL="9840" marR="9840" marT="9840" marB="9840" anchor="ctr" horzOverflow="overflow">
                    <a:lnL w="12700">
                      <a:miter lim="400000"/>
                    </a:lnL>
                    <a:lnR w="38100" cap="flat" cmpd="sng" algn="ctr">
                      <a:solidFill>
                        <a:srgbClr val="FFFFFF"/>
                      </a:solidFill>
                      <a:custDash>
                        <a:ds d="200000" sp="200000"/>
                      </a:custDash>
                      <a:miter lim="400000"/>
                      <a:headEnd type="none" w="med" len="med"/>
                      <a:tailEnd type="none" w="med" len="med"/>
                    </a:lnR>
                    <a:lnT w="12700">
                      <a:miter lim="400000"/>
                    </a:lnT>
                    <a:lnB w="38100">
                      <a:solidFill>
                        <a:srgbClr val="A7A7A7"/>
                      </a:solidFill>
                      <a:custDash>
                        <a:ds d="200000" sp="200000"/>
                      </a:custDash>
                      <a:miter lim="400000"/>
                    </a:lnB>
                    <a:solidFill>
                      <a:schemeClr val="accent3"/>
                    </a:solidFill>
                  </a:tcPr>
                </a:tc>
                <a:tc>
                  <a:txBody>
                    <a:bodyPr/>
                    <a:lstStyle/>
                    <a:p>
                      <a:pPr algn="ctr" defTabSz="825500">
                        <a:lnSpc>
                          <a:spcPct val="90000"/>
                        </a:lnSpc>
                        <a:defRPr sz="2400" b="1" cap="small">
                          <a:solidFill>
                            <a:srgbClr val="FFFFFF"/>
                          </a:solidFill>
                          <a:latin typeface="Trebuchet MS"/>
                          <a:ea typeface="Trebuchet MS"/>
                          <a:cs typeface="Trebuchet MS"/>
                          <a:sym typeface="Trebuchet MS"/>
                        </a:defRPr>
                      </a:pPr>
                      <a:r>
                        <a:rPr lang="en-GB" dirty="0">
                          <a:effectLst/>
                        </a:rPr>
                        <a:t> Recurrent</a:t>
                      </a:r>
                    </a:p>
                    <a:p>
                      <a:pPr algn="ctr" defTabSz="825500">
                        <a:lnSpc>
                          <a:spcPct val="90000"/>
                        </a:lnSpc>
                        <a:defRPr sz="2400" b="1" cap="small">
                          <a:solidFill>
                            <a:srgbClr val="FFFFFF"/>
                          </a:solidFill>
                          <a:latin typeface="Trebuchet MS"/>
                          <a:ea typeface="Trebuchet MS"/>
                          <a:cs typeface="Trebuchet MS"/>
                          <a:sym typeface="Trebuchet MS"/>
                        </a:defRPr>
                      </a:pPr>
                      <a:r>
                        <a:rPr lang="en-GB" dirty="0">
                          <a:effectLst/>
                        </a:rPr>
                        <a:t>(₦’</a:t>
                      </a:r>
                      <a:r>
                        <a:rPr lang="en-GB" dirty="0" err="1">
                          <a:effectLst/>
                        </a:rPr>
                        <a:t>Mn</a:t>
                      </a:r>
                      <a:r>
                        <a:rPr lang="en-GB" dirty="0">
                          <a:effectLst/>
                        </a:rPr>
                        <a:t>)</a:t>
                      </a:r>
                    </a:p>
                  </a:txBody>
                  <a:tcPr marL="9144" marR="9144" marT="9144" marB="9144" anchor="ctr" horzOverflow="overflow">
                    <a:lnL w="38100" cap="flat" cmpd="sng" algn="ctr">
                      <a:solidFill>
                        <a:srgbClr val="FFFFFF"/>
                      </a:solidFill>
                      <a:custDash>
                        <a:ds d="200000" sp="200000"/>
                      </a:custDash>
                      <a:miter lim="400000"/>
                      <a:headEnd type="none" w="med" len="med"/>
                      <a:tailEnd type="none" w="med" len="med"/>
                    </a:lnL>
                    <a:lnR w="38100" cap="flat" cmpd="sng" algn="ctr">
                      <a:solidFill>
                        <a:srgbClr val="FFFFFF"/>
                      </a:solidFill>
                      <a:custDash>
                        <a:ds d="200000" sp="200000"/>
                      </a:custDash>
                      <a:miter lim="400000"/>
                      <a:headEnd type="none" w="med" len="med"/>
                      <a:tailEnd type="none" w="med" len="med"/>
                    </a:lnR>
                    <a:lnT w="38100">
                      <a:solidFill>
                        <a:srgbClr val="FFFFFF"/>
                      </a:solidFill>
                      <a:custDash>
                        <a:ds d="200000" sp="200000"/>
                      </a:custDash>
                      <a:miter lim="400000"/>
                    </a:lnT>
                    <a:lnB w="38100" cap="flat" cmpd="sng" algn="ctr">
                      <a:solidFill>
                        <a:srgbClr val="A7A7A7"/>
                      </a:solidFill>
                      <a:custDash>
                        <a:ds d="200000" sp="200000"/>
                      </a:custDash>
                      <a:miter lim="400000"/>
                      <a:headEnd type="none" w="med" len="med"/>
                      <a:tailEnd type="none" w="med" len="med"/>
                    </a:lnB>
                    <a:solidFill>
                      <a:schemeClr val="accent3"/>
                    </a:solidFill>
                  </a:tcPr>
                </a:tc>
                <a:tc>
                  <a:txBody>
                    <a:bodyPr/>
                    <a:lstStyle/>
                    <a:p>
                      <a:pPr algn="ctr" defTabSz="825500">
                        <a:lnSpc>
                          <a:spcPct val="90000"/>
                        </a:lnSpc>
                        <a:defRPr sz="2400" b="1" cap="small">
                          <a:solidFill>
                            <a:srgbClr val="FFFFFF"/>
                          </a:solidFill>
                          <a:latin typeface="Trebuchet MS"/>
                          <a:ea typeface="Trebuchet MS"/>
                          <a:cs typeface="Trebuchet MS"/>
                          <a:sym typeface="Trebuchet MS"/>
                        </a:defRPr>
                      </a:pPr>
                      <a:r>
                        <a:rPr lang="en-US" dirty="0">
                          <a:effectLst/>
                        </a:rPr>
                        <a:t>Capital</a:t>
                      </a:r>
                      <a:endParaRPr lang="en-GB" dirty="0">
                        <a:effectLst/>
                      </a:endParaRPr>
                    </a:p>
                    <a:p>
                      <a:pPr algn="ctr" defTabSz="825500">
                        <a:lnSpc>
                          <a:spcPct val="90000"/>
                        </a:lnSpc>
                        <a:defRPr sz="2400" b="1" cap="small">
                          <a:solidFill>
                            <a:srgbClr val="FFFFFF"/>
                          </a:solidFill>
                          <a:latin typeface="Trebuchet MS"/>
                          <a:ea typeface="Trebuchet MS"/>
                          <a:cs typeface="Trebuchet MS"/>
                          <a:sym typeface="Trebuchet MS"/>
                        </a:defRPr>
                      </a:pPr>
                      <a:r>
                        <a:rPr lang="en-GB" dirty="0">
                          <a:effectLst/>
                        </a:rPr>
                        <a:t>(₦’MN)</a:t>
                      </a:r>
                    </a:p>
                  </a:txBody>
                  <a:tcPr marL="9144" marR="9144" marT="9144" marB="9144" anchor="ctr" horzOverflow="overflow">
                    <a:lnL w="38100" cap="flat" cmpd="sng" algn="ctr">
                      <a:solidFill>
                        <a:srgbClr val="FFFFFF"/>
                      </a:solidFill>
                      <a:custDash>
                        <a:ds d="200000" sp="200000"/>
                      </a:custDash>
                      <a:miter lim="400000"/>
                      <a:headEnd type="none" w="med" len="med"/>
                      <a:tailEnd type="none" w="med" len="med"/>
                    </a:lnL>
                    <a:lnR w="38100" cap="flat" cmpd="sng" algn="ctr">
                      <a:solidFill>
                        <a:srgbClr val="FFFFFF"/>
                      </a:solidFill>
                      <a:custDash>
                        <a:ds d="200000" sp="200000"/>
                      </a:custDash>
                      <a:miter lim="400000"/>
                      <a:headEnd type="none" w="med" len="med"/>
                      <a:tailEnd type="none" w="med" len="med"/>
                    </a:lnR>
                    <a:lnT w="38100">
                      <a:solidFill>
                        <a:srgbClr val="FFFFFF"/>
                      </a:solidFill>
                      <a:custDash>
                        <a:ds d="200000" sp="200000"/>
                      </a:custDash>
                      <a:miter lim="400000"/>
                    </a:lnT>
                    <a:lnB w="38100" cap="flat" cmpd="sng" algn="ctr">
                      <a:solidFill>
                        <a:srgbClr val="A7A7A7"/>
                      </a:solidFill>
                      <a:custDash>
                        <a:ds d="200000" sp="200000"/>
                      </a:custDash>
                      <a:miter lim="400000"/>
                      <a:headEnd type="none" w="med" len="med"/>
                      <a:tailEnd type="none" w="med" len="med"/>
                    </a:lnB>
                    <a:solidFill>
                      <a:schemeClr val="accent3"/>
                    </a:solidFill>
                  </a:tcPr>
                </a:tc>
                <a:tc>
                  <a:txBody>
                    <a:bodyPr/>
                    <a:lstStyle/>
                    <a:p>
                      <a:pPr algn="ctr" defTabSz="825500">
                        <a:lnSpc>
                          <a:spcPct val="90000"/>
                        </a:lnSpc>
                        <a:defRPr sz="2400" b="1" cap="small">
                          <a:solidFill>
                            <a:srgbClr val="FFFFFF"/>
                          </a:solidFill>
                          <a:latin typeface="Trebuchet MS"/>
                          <a:ea typeface="Trebuchet MS"/>
                          <a:cs typeface="Trebuchet MS"/>
                          <a:sym typeface="Trebuchet MS"/>
                        </a:defRPr>
                      </a:pPr>
                      <a:r>
                        <a:rPr lang="en-GB" dirty="0">
                          <a:effectLst/>
                        </a:rPr>
                        <a:t> Total</a:t>
                      </a:r>
                    </a:p>
                    <a:p>
                      <a:pPr algn="ctr" defTabSz="825500">
                        <a:lnSpc>
                          <a:spcPct val="90000"/>
                        </a:lnSpc>
                        <a:defRPr sz="2400" b="1" cap="small">
                          <a:solidFill>
                            <a:srgbClr val="FFFFFF"/>
                          </a:solidFill>
                          <a:latin typeface="Trebuchet MS"/>
                          <a:ea typeface="Trebuchet MS"/>
                          <a:cs typeface="Trebuchet MS"/>
                          <a:sym typeface="Trebuchet MS"/>
                        </a:defRPr>
                      </a:pPr>
                      <a:r>
                        <a:rPr lang="en-GB" dirty="0">
                          <a:effectLst/>
                        </a:rPr>
                        <a:t>(₦’</a:t>
                      </a:r>
                      <a:r>
                        <a:rPr lang="en-GB" dirty="0" err="1">
                          <a:effectLst/>
                        </a:rPr>
                        <a:t>Mn</a:t>
                      </a:r>
                      <a:r>
                        <a:rPr lang="en-GB" dirty="0">
                          <a:effectLst/>
                        </a:rPr>
                        <a:t>)</a:t>
                      </a:r>
                    </a:p>
                  </a:txBody>
                  <a:tcPr marL="9144" marR="9144" marT="9144" marB="9144" anchor="ctr" horzOverflow="overflow">
                    <a:lnL w="38100" cap="flat" cmpd="sng" algn="ctr">
                      <a:solidFill>
                        <a:srgbClr val="FFFFFF"/>
                      </a:solidFill>
                      <a:custDash>
                        <a:ds d="200000" sp="200000"/>
                      </a:custDash>
                      <a:miter lim="400000"/>
                      <a:headEnd type="none" w="med" len="med"/>
                      <a:tailEnd type="none" w="med" len="med"/>
                    </a:lnL>
                    <a:lnR w="38100" cap="flat" cmpd="sng" algn="ctr">
                      <a:solidFill>
                        <a:srgbClr val="FFFFFF"/>
                      </a:solidFill>
                      <a:custDash>
                        <a:ds d="200000" sp="200000"/>
                      </a:custDash>
                      <a:miter lim="400000"/>
                      <a:headEnd type="none" w="med" len="med"/>
                      <a:tailEnd type="none" w="med" len="med"/>
                    </a:lnR>
                    <a:lnT w="38100">
                      <a:solidFill>
                        <a:srgbClr val="FFFFFF"/>
                      </a:solidFill>
                      <a:custDash>
                        <a:ds d="200000" sp="200000"/>
                      </a:custDash>
                      <a:miter lim="400000"/>
                    </a:lnT>
                    <a:lnB w="38100" cap="flat" cmpd="sng" algn="ctr">
                      <a:solidFill>
                        <a:srgbClr val="A7A7A7"/>
                      </a:solidFill>
                      <a:custDash>
                        <a:ds d="200000" sp="200000"/>
                      </a:custDash>
                      <a:miter lim="400000"/>
                      <a:headEnd type="none" w="med" len="med"/>
                      <a:tailEnd type="none" w="med" len="med"/>
                    </a:lnB>
                    <a:solidFill>
                      <a:schemeClr val="accent3"/>
                    </a:solidFill>
                  </a:tcPr>
                </a:tc>
                <a:tc>
                  <a:txBody>
                    <a:bodyPr/>
                    <a:lstStyle/>
                    <a:p>
                      <a:pPr algn="ctr" defTabSz="825500">
                        <a:lnSpc>
                          <a:spcPct val="90000"/>
                        </a:lnSpc>
                        <a:defRPr sz="2400" b="1" cap="small">
                          <a:solidFill>
                            <a:srgbClr val="FFFFFF"/>
                          </a:solidFill>
                          <a:latin typeface="Trebuchet MS"/>
                          <a:ea typeface="Trebuchet MS"/>
                          <a:cs typeface="Trebuchet MS"/>
                          <a:sym typeface="Trebuchet MS"/>
                        </a:defRPr>
                      </a:pPr>
                      <a:r>
                        <a:rPr lang="en-US" dirty="0">
                          <a:effectLst/>
                        </a:rPr>
                        <a:t>%</a:t>
                      </a:r>
                      <a:endParaRPr lang="en-GB" dirty="0">
                        <a:effectLst/>
                      </a:endParaRPr>
                    </a:p>
                  </a:txBody>
                  <a:tcPr marL="9144" marR="9144" marT="9144" marB="9144" anchor="ctr" horzOverflow="overflow">
                    <a:lnL w="38100" cap="flat" cmpd="sng" algn="ctr">
                      <a:solidFill>
                        <a:srgbClr val="FFFFFF"/>
                      </a:solidFill>
                      <a:custDash>
                        <a:ds d="200000" sp="200000"/>
                      </a:custDash>
                      <a:miter lim="400000"/>
                      <a:headEnd type="none" w="med" len="med"/>
                      <a:tailEnd type="none" w="med" len="med"/>
                    </a:lnL>
                    <a:lnR w="38100">
                      <a:solidFill>
                        <a:srgbClr val="FFFFFF"/>
                      </a:solidFill>
                      <a:custDash>
                        <a:ds d="200000" sp="200000"/>
                      </a:custDash>
                      <a:miter lim="400000"/>
                    </a:lnR>
                    <a:lnT w="38100">
                      <a:solidFill>
                        <a:srgbClr val="FFFFFF"/>
                      </a:solidFill>
                      <a:custDash>
                        <a:ds d="200000" sp="200000"/>
                      </a:custDash>
                      <a:miter lim="400000"/>
                    </a:lnT>
                    <a:lnB w="38100" cap="flat" cmpd="sng" algn="ctr">
                      <a:solidFill>
                        <a:srgbClr val="A7A7A7"/>
                      </a:solidFill>
                      <a:custDash>
                        <a:ds d="200000" sp="200000"/>
                      </a:custDash>
                      <a:miter lim="400000"/>
                      <a:headEnd type="none" w="med" len="med"/>
                      <a:tailEnd type="none" w="med" len="med"/>
                    </a:lnB>
                    <a:solidFill>
                      <a:schemeClr val="accent3"/>
                    </a:solidFill>
                  </a:tcPr>
                </a:tc>
                <a:extLst>
                  <a:ext uri="{0D108BD9-81ED-4DB2-BD59-A6C34878D82A}">
                    <a16:rowId xmlns:a16="http://schemas.microsoft.com/office/drawing/2014/main" val="10001"/>
                  </a:ext>
                </a:extLst>
              </a:tr>
              <a:tr h="470155">
                <a:tc>
                  <a:txBody>
                    <a:bodyPr/>
                    <a:lstStyle/>
                    <a:p>
                      <a:pPr algn="l" defTabSz="825500">
                        <a:defRPr sz="1800">
                          <a:solidFill>
                            <a:srgbClr val="000000"/>
                          </a:solidFill>
                        </a:defRPr>
                      </a:pPr>
                      <a:r>
                        <a:rPr lang="en-GB" sz="2400" b="1" dirty="0">
                          <a:effectLst/>
                          <a:latin typeface="Trebuchet MS"/>
                          <a:ea typeface="Trebuchet MS"/>
                          <a:cs typeface="Trebuchet MS"/>
                          <a:sym typeface="Trebuchet MS"/>
                        </a:rPr>
                        <a:t>General Public Service</a:t>
                      </a:r>
                    </a:p>
                  </a:txBody>
                  <a:tcPr marL="9840" marR="9840" marT="9840" marB="9840" anchor="ctr" horzOverflow="overflow">
                    <a:lnL w="12700">
                      <a:miter lim="400000"/>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noFill/>
                  </a:tcPr>
                </a:tc>
                <a:tc>
                  <a:txBody>
                    <a:bodyPr/>
                    <a:lstStyle/>
                    <a:p>
                      <a:pPr algn="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79,886</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noFill/>
                  </a:tcPr>
                </a:tc>
                <a:tc>
                  <a:txBody>
                    <a:bodyPr/>
                    <a:lstStyle/>
                    <a:p>
                      <a:pPr algn="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55,016</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noFill/>
                  </a:tcPr>
                </a:tc>
                <a:tc>
                  <a:txBody>
                    <a:bodyPr/>
                    <a:lstStyle/>
                    <a:p>
                      <a:pPr algn="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134,902</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noFill/>
                  </a:tcPr>
                </a:tc>
                <a:tc>
                  <a:txBody>
                    <a:bodyPr/>
                    <a:lstStyle/>
                    <a:p>
                      <a:pPr algn="ct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5.13</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noFill/>
                  </a:tcPr>
                </a:tc>
                <a:extLst>
                  <a:ext uri="{0D108BD9-81ED-4DB2-BD59-A6C34878D82A}">
                    <a16:rowId xmlns:a16="http://schemas.microsoft.com/office/drawing/2014/main" val="10002"/>
                  </a:ext>
                </a:extLst>
              </a:tr>
              <a:tr h="470155">
                <a:tc>
                  <a:txBody>
                    <a:bodyPr/>
                    <a:lstStyle/>
                    <a:p>
                      <a:pPr algn="l" defTabSz="825500">
                        <a:defRPr sz="1800">
                          <a:solidFill>
                            <a:srgbClr val="000000"/>
                          </a:solidFill>
                        </a:defRPr>
                      </a:pPr>
                      <a:r>
                        <a:rPr lang="en-GB" sz="2400" b="1">
                          <a:effectLst/>
                          <a:latin typeface="Trebuchet MS"/>
                          <a:ea typeface="Trebuchet MS"/>
                          <a:cs typeface="Trebuchet MS"/>
                          <a:sym typeface="Trebuchet MS"/>
                        </a:rPr>
                        <a:t>Public Order and Safety</a:t>
                      </a:r>
                      <a:endParaRPr lang="en-GB" sz="2400" b="1" dirty="0">
                        <a:effectLst/>
                        <a:latin typeface="Trebuchet MS"/>
                        <a:ea typeface="Trebuchet MS"/>
                        <a:cs typeface="Trebuchet MS"/>
                        <a:sym typeface="Trebuchet MS"/>
                      </a:endParaRPr>
                    </a:p>
                  </a:txBody>
                  <a:tcPr marL="9840" marR="9840" marT="9840" marB="9840" anchor="ctr" horzOverflow="overflow">
                    <a:lnL w="12700">
                      <a:miter lim="400000"/>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27,382</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18,718</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46,101</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a:solidFill>
                        <a:srgbClr val="A7A7A7"/>
                      </a:solidFill>
                      <a:custDash>
                        <a:ds d="200000" sp="200000"/>
                      </a:custDash>
                      <a:miter lim="400000"/>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ct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3.96 </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a:solidFill>
                        <a:srgbClr val="A7A7A7"/>
                      </a:solidFill>
                      <a:custDash>
                        <a:ds d="200000" sp="200000"/>
                      </a:custDash>
                      <a:miter lim="400000"/>
                    </a:lnL>
                    <a:lnR w="38100">
                      <a:solidFill>
                        <a:srgbClr val="A7A7A7"/>
                      </a:solidFill>
                      <a:custDash>
                        <a:ds d="200000" sp="200000"/>
                      </a:custDash>
                      <a:miter lim="400000"/>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noFill/>
                  </a:tcPr>
                </a:tc>
                <a:extLst>
                  <a:ext uri="{0D108BD9-81ED-4DB2-BD59-A6C34878D82A}">
                    <a16:rowId xmlns:a16="http://schemas.microsoft.com/office/drawing/2014/main" val="10003"/>
                  </a:ext>
                </a:extLst>
              </a:tr>
              <a:tr h="470155">
                <a:tc>
                  <a:txBody>
                    <a:bodyPr/>
                    <a:lstStyle/>
                    <a:p>
                      <a:pPr algn="l" defTabSz="825500">
                        <a:defRPr sz="1800">
                          <a:solidFill>
                            <a:srgbClr val="000000"/>
                          </a:solidFill>
                        </a:defRPr>
                      </a:pPr>
                      <a:r>
                        <a:rPr lang="en-GB" sz="2400" b="1" dirty="0">
                          <a:effectLst/>
                          <a:latin typeface="Trebuchet MS"/>
                          <a:ea typeface="Trebuchet MS"/>
                          <a:cs typeface="Trebuchet MS"/>
                          <a:sym typeface="Trebuchet MS"/>
                        </a:rPr>
                        <a:t>Economic Affairs</a:t>
                      </a:r>
                    </a:p>
                  </a:txBody>
                  <a:tcPr marL="9840" marR="9840" marT="9840" marB="9840" anchor="ctr" horzOverflow="overflow">
                    <a:lnL w="12700">
                      <a:miter lim="400000"/>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57,090</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284,351</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341,441</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a:solidFill>
                        <a:srgbClr val="A7A7A7"/>
                      </a:solidFill>
                      <a:custDash>
                        <a:ds d="200000" sp="200000"/>
                      </a:custDash>
                      <a:miter lim="400000"/>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ct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29.35 </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a:solidFill>
                        <a:srgbClr val="A7A7A7"/>
                      </a:solidFill>
                      <a:custDash>
                        <a:ds d="200000" sp="200000"/>
                      </a:custDash>
                      <a:miter lim="400000"/>
                    </a:lnL>
                    <a:lnR w="38100">
                      <a:solidFill>
                        <a:srgbClr val="A7A7A7"/>
                      </a:solidFill>
                      <a:custDash>
                        <a:ds d="200000" sp="200000"/>
                      </a:custDash>
                      <a:miter lim="400000"/>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noFill/>
                  </a:tcPr>
                </a:tc>
                <a:extLst>
                  <a:ext uri="{0D108BD9-81ED-4DB2-BD59-A6C34878D82A}">
                    <a16:rowId xmlns:a16="http://schemas.microsoft.com/office/drawing/2014/main" val="10004"/>
                  </a:ext>
                </a:extLst>
              </a:tr>
              <a:tr h="470155">
                <a:tc>
                  <a:txBody>
                    <a:bodyPr/>
                    <a:lstStyle/>
                    <a:p>
                      <a:pPr algn="l" defTabSz="825500">
                        <a:defRPr sz="1800">
                          <a:solidFill>
                            <a:srgbClr val="000000"/>
                          </a:solidFill>
                        </a:defRPr>
                      </a:pPr>
                      <a:r>
                        <a:rPr lang="en-GB" sz="2400" b="1" dirty="0">
                          <a:effectLst/>
                          <a:latin typeface="Trebuchet MS"/>
                          <a:ea typeface="Trebuchet MS"/>
                          <a:cs typeface="Trebuchet MS"/>
                          <a:sym typeface="Trebuchet MS"/>
                        </a:rPr>
                        <a:t>Environmental Protection</a:t>
                      </a:r>
                    </a:p>
                  </a:txBody>
                  <a:tcPr marL="9840" marR="9840" marT="9840" marB="9840" anchor="ctr" horzOverflow="overflow">
                    <a:lnL w="12700">
                      <a:miter lim="400000"/>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31,448</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28,212</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59,660</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a:solidFill>
                        <a:srgbClr val="A7A7A7"/>
                      </a:solidFill>
                      <a:custDash>
                        <a:ds d="200000" sp="200000"/>
                      </a:custDash>
                      <a:miter lim="400000"/>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ct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5.13 </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a:solidFill>
                        <a:srgbClr val="A7A7A7"/>
                      </a:solidFill>
                      <a:custDash>
                        <a:ds d="200000" sp="200000"/>
                      </a:custDash>
                      <a:miter lim="400000"/>
                    </a:lnL>
                    <a:lnR w="38100">
                      <a:solidFill>
                        <a:srgbClr val="A7A7A7"/>
                      </a:solidFill>
                      <a:custDash>
                        <a:ds d="200000" sp="200000"/>
                      </a:custDash>
                      <a:miter lim="400000"/>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noFill/>
                  </a:tcPr>
                </a:tc>
                <a:extLst>
                  <a:ext uri="{0D108BD9-81ED-4DB2-BD59-A6C34878D82A}">
                    <a16:rowId xmlns:a16="http://schemas.microsoft.com/office/drawing/2014/main" val="10005"/>
                  </a:ext>
                </a:extLst>
              </a:tr>
              <a:tr h="470155">
                <a:tc>
                  <a:txBody>
                    <a:bodyPr/>
                    <a:lstStyle/>
                    <a:p>
                      <a:pPr algn="l" defTabSz="825500">
                        <a:defRPr sz="1800">
                          <a:solidFill>
                            <a:srgbClr val="000000"/>
                          </a:solidFill>
                        </a:defRPr>
                      </a:pPr>
                      <a:r>
                        <a:rPr lang="en-GB" sz="2400" b="1">
                          <a:effectLst/>
                          <a:latin typeface="Trebuchet MS"/>
                          <a:ea typeface="Trebuchet MS"/>
                          <a:cs typeface="Trebuchet MS"/>
                          <a:sym typeface="Trebuchet MS"/>
                        </a:rPr>
                        <a:t>Housing &amp; Community Amenities</a:t>
                      </a:r>
                    </a:p>
                  </a:txBody>
                  <a:tcPr marL="9840" marR="9840" marT="9840" marB="9840" anchor="ctr" horzOverflow="overflow">
                    <a:lnL w="12700">
                      <a:miter lim="400000"/>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6,414</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30,614</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37,028</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a:solidFill>
                        <a:srgbClr val="A7A7A7"/>
                      </a:solidFill>
                      <a:custDash>
                        <a:ds d="200000" sp="200000"/>
                      </a:custDash>
                      <a:miter lim="400000"/>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ct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3.18 </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a:solidFill>
                        <a:srgbClr val="A7A7A7"/>
                      </a:solidFill>
                      <a:custDash>
                        <a:ds d="200000" sp="200000"/>
                      </a:custDash>
                      <a:miter lim="400000"/>
                    </a:lnL>
                    <a:lnR w="38100">
                      <a:solidFill>
                        <a:srgbClr val="A7A7A7"/>
                      </a:solidFill>
                      <a:custDash>
                        <a:ds d="200000" sp="200000"/>
                      </a:custDash>
                      <a:miter lim="400000"/>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noFill/>
                  </a:tcPr>
                </a:tc>
                <a:extLst>
                  <a:ext uri="{0D108BD9-81ED-4DB2-BD59-A6C34878D82A}">
                    <a16:rowId xmlns:a16="http://schemas.microsoft.com/office/drawing/2014/main" val="10006"/>
                  </a:ext>
                </a:extLst>
              </a:tr>
              <a:tr h="470155">
                <a:tc>
                  <a:txBody>
                    <a:bodyPr/>
                    <a:lstStyle/>
                    <a:p>
                      <a:pPr algn="l" defTabSz="825500">
                        <a:defRPr sz="1800">
                          <a:solidFill>
                            <a:srgbClr val="000000"/>
                          </a:solidFill>
                        </a:defRPr>
                      </a:pPr>
                      <a:r>
                        <a:rPr lang="en-GB" sz="2400" b="1">
                          <a:effectLst/>
                          <a:latin typeface="Trebuchet MS"/>
                          <a:ea typeface="Trebuchet MS"/>
                          <a:cs typeface="Trebuchet MS"/>
                          <a:sym typeface="Trebuchet MS"/>
                        </a:rPr>
                        <a:t>Health</a:t>
                      </a:r>
                    </a:p>
                  </a:txBody>
                  <a:tcPr marL="9840" marR="9840" marT="9840" marB="9840" anchor="ctr" horzOverflow="overflow">
                    <a:lnL w="12700">
                      <a:miter lim="400000"/>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73,537</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32,460</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105,997</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a:solidFill>
                        <a:srgbClr val="A7A7A7"/>
                      </a:solidFill>
                      <a:custDash>
                        <a:ds d="200000" sp="200000"/>
                      </a:custDash>
                      <a:miter lim="400000"/>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ct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9.11 </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a:solidFill>
                        <a:srgbClr val="A7A7A7"/>
                      </a:solidFill>
                      <a:custDash>
                        <a:ds d="200000" sp="200000"/>
                      </a:custDash>
                      <a:miter lim="400000"/>
                    </a:lnL>
                    <a:lnR w="38100">
                      <a:solidFill>
                        <a:srgbClr val="A7A7A7"/>
                      </a:solidFill>
                      <a:custDash>
                        <a:ds d="200000" sp="200000"/>
                      </a:custDash>
                      <a:miter lim="400000"/>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noFill/>
                  </a:tcPr>
                </a:tc>
                <a:extLst>
                  <a:ext uri="{0D108BD9-81ED-4DB2-BD59-A6C34878D82A}">
                    <a16:rowId xmlns:a16="http://schemas.microsoft.com/office/drawing/2014/main" val="10007"/>
                  </a:ext>
                </a:extLst>
              </a:tr>
              <a:tr h="470155">
                <a:tc>
                  <a:txBody>
                    <a:bodyPr/>
                    <a:lstStyle/>
                    <a:p>
                      <a:pPr algn="l" defTabSz="825500">
                        <a:defRPr sz="1800">
                          <a:solidFill>
                            <a:srgbClr val="000000"/>
                          </a:solidFill>
                        </a:defRPr>
                      </a:pPr>
                      <a:r>
                        <a:rPr lang="en-GB" sz="2400" b="1">
                          <a:effectLst/>
                          <a:latin typeface="Trebuchet MS"/>
                          <a:ea typeface="Trebuchet MS"/>
                          <a:cs typeface="Trebuchet MS"/>
                          <a:sym typeface="Trebuchet MS"/>
                        </a:rPr>
                        <a:t>Recreation &amp; Religion</a:t>
                      </a:r>
                    </a:p>
                  </a:txBody>
                  <a:tcPr marL="9840" marR="9840" marT="9840" marB="9840" anchor="ctr" horzOverflow="overflow">
                    <a:lnL w="12700">
                      <a:miter lim="400000"/>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5,347</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1,949</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7,296</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a:solidFill>
                        <a:srgbClr val="A7A7A7"/>
                      </a:solidFill>
                      <a:custDash>
                        <a:ds d="200000" sp="200000"/>
                      </a:custDash>
                      <a:miter lim="400000"/>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ct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0.63 </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a:solidFill>
                        <a:srgbClr val="A7A7A7"/>
                      </a:solidFill>
                      <a:custDash>
                        <a:ds d="200000" sp="200000"/>
                      </a:custDash>
                      <a:miter lim="400000"/>
                    </a:lnL>
                    <a:lnR w="38100">
                      <a:solidFill>
                        <a:srgbClr val="A7A7A7"/>
                      </a:solidFill>
                      <a:custDash>
                        <a:ds d="200000" sp="200000"/>
                      </a:custDash>
                      <a:miter lim="400000"/>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noFill/>
                  </a:tcPr>
                </a:tc>
                <a:extLst>
                  <a:ext uri="{0D108BD9-81ED-4DB2-BD59-A6C34878D82A}">
                    <a16:rowId xmlns:a16="http://schemas.microsoft.com/office/drawing/2014/main" val="10008"/>
                  </a:ext>
                </a:extLst>
              </a:tr>
              <a:tr h="470155">
                <a:tc>
                  <a:txBody>
                    <a:bodyPr/>
                    <a:lstStyle/>
                    <a:p>
                      <a:pPr algn="l" defTabSz="825500">
                        <a:defRPr sz="1800">
                          <a:solidFill>
                            <a:srgbClr val="000000"/>
                          </a:solidFill>
                        </a:defRPr>
                      </a:pPr>
                      <a:r>
                        <a:rPr lang="en-GB" sz="2400" b="1">
                          <a:effectLst/>
                          <a:latin typeface="Trebuchet MS"/>
                          <a:ea typeface="Trebuchet MS"/>
                          <a:cs typeface="Trebuchet MS"/>
                          <a:sym typeface="Trebuchet MS"/>
                        </a:rPr>
                        <a:t>Education</a:t>
                      </a:r>
                    </a:p>
                  </a:txBody>
                  <a:tcPr marL="9840" marR="9840" marT="9840" marB="9840" anchor="ctr" horzOverflow="overflow">
                    <a:lnL w="12700">
                      <a:miter lim="400000"/>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103,645</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43,290</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146,935</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a:solidFill>
                        <a:srgbClr val="A7A7A7"/>
                      </a:solidFill>
                      <a:custDash>
                        <a:ds d="200000" sp="200000"/>
                      </a:custDash>
                      <a:miter lim="400000"/>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ct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12.63 </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a:solidFill>
                        <a:srgbClr val="A7A7A7"/>
                      </a:solidFill>
                      <a:custDash>
                        <a:ds d="200000" sp="200000"/>
                      </a:custDash>
                      <a:miter lim="400000"/>
                    </a:lnL>
                    <a:lnR w="38100">
                      <a:solidFill>
                        <a:srgbClr val="A7A7A7"/>
                      </a:solidFill>
                      <a:custDash>
                        <a:ds d="200000" sp="200000"/>
                      </a:custDash>
                      <a:miter lim="400000"/>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noFill/>
                  </a:tcPr>
                </a:tc>
                <a:extLst>
                  <a:ext uri="{0D108BD9-81ED-4DB2-BD59-A6C34878D82A}">
                    <a16:rowId xmlns:a16="http://schemas.microsoft.com/office/drawing/2014/main" val="10009"/>
                  </a:ext>
                </a:extLst>
              </a:tr>
              <a:tr h="470155">
                <a:tc>
                  <a:txBody>
                    <a:bodyPr/>
                    <a:lstStyle/>
                    <a:p>
                      <a:pPr algn="l" defTabSz="825500">
                        <a:defRPr sz="1800">
                          <a:solidFill>
                            <a:srgbClr val="000000"/>
                          </a:solidFill>
                        </a:defRPr>
                      </a:pPr>
                      <a:r>
                        <a:rPr lang="en-GB" sz="2400" b="1" dirty="0">
                          <a:effectLst/>
                          <a:latin typeface="Trebuchet MS"/>
                          <a:ea typeface="Trebuchet MS"/>
                          <a:cs typeface="Trebuchet MS"/>
                          <a:sym typeface="Trebuchet MS"/>
                        </a:rPr>
                        <a:t>Social Protection</a:t>
                      </a:r>
                    </a:p>
                  </a:txBody>
                  <a:tcPr marL="9840" marR="9840" marT="9840" marB="9840" anchor="ctr" horzOverflow="overflow">
                    <a:lnL w="12700">
                      <a:miter lim="400000"/>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5,020</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4,136</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9,156</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a:solidFill>
                        <a:srgbClr val="A7A7A7"/>
                      </a:solidFill>
                      <a:custDash>
                        <a:ds d="200000" sp="200000"/>
                      </a:custDash>
                      <a:miter lim="400000"/>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ct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0.79 </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a:solidFill>
                        <a:srgbClr val="A7A7A7"/>
                      </a:solidFill>
                      <a:custDash>
                        <a:ds d="200000" sp="200000"/>
                      </a:custDash>
                      <a:miter lim="400000"/>
                    </a:lnL>
                    <a:lnR w="38100">
                      <a:solidFill>
                        <a:srgbClr val="A7A7A7"/>
                      </a:solidFill>
                      <a:custDash>
                        <a:ds d="200000" sp="200000"/>
                      </a:custDash>
                      <a:miter lim="400000"/>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noFill/>
                  </a:tcPr>
                </a:tc>
                <a:extLst>
                  <a:ext uri="{0D108BD9-81ED-4DB2-BD59-A6C34878D82A}">
                    <a16:rowId xmlns:a16="http://schemas.microsoft.com/office/drawing/2014/main" val="10010"/>
                  </a:ext>
                </a:extLst>
              </a:tr>
              <a:tr h="445936">
                <a:tc>
                  <a:txBody>
                    <a:bodyPr/>
                    <a:lstStyle/>
                    <a:p>
                      <a:pPr algn="l" defTabSz="825500">
                        <a:defRPr sz="1800">
                          <a:solidFill>
                            <a:srgbClr val="000000"/>
                          </a:solidFill>
                        </a:defRPr>
                      </a:pPr>
                      <a:r>
                        <a:rPr lang="en-GB" sz="2400" b="1" dirty="0">
                          <a:effectLst/>
                          <a:latin typeface="Trebuchet MS"/>
                          <a:ea typeface="Trebuchet MS"/>
                          <a:cs typeface="Trebuchet MS"/>
                          <a:sym typeface="Trebuchet MS"/>
                        </a:rPr>
                        <a:t>Total</a:t>
                      </a:r>
                    </a:p>
                  </a:txBody>
                  <a:tcPr marL="9840" marR="9840" marT="9840" marB="9840" anchor="ctr" horzOverflow="overflow">
                    <a:lnL w="12700">
                      <a:miter lim="400000"/>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solidFill>
                      <a:schemeClr val="bg1">
                        <a:lumMod val="65000"/>
                      </a:schemeClr>
                    </a:solidFill>
                  </a:tcPr>
                </a:tc>
                <a:tc>
                  <a:txBody>
                    <a:bodyPr/>
                    <a:lstStyle/>
                    <a:p>
                      <a:pPr algn="r" fontAlgn="b">
                        <a:lnSpc>
                          <a:spcPct val="100000"/>
                        </a:lnSpc>
                      </a:pPr>
                      <a:r>
                        <a:rPr lang="en-US" sz="2400" b="1"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389,769</a:t>
                      </a:r>
                      <a:endParaRPr lang="en-US" sz="2400" b="1"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solidFill>
                      <a:schemeClr val="bg1">
                        <a:lumMod val="65000"/>
                      </a:schemeClr>
                    </a:solidFill>
                  </a:tcPr>
                </a:tc>
                <a:tc>
                  <a:txBody>
                    <a:bodyPr/>
                    <a:lstStyle/>
                    <a:p>
                      <a:pPr algn="r" fontAlgn="b">
                        <a:lnSpc>
                          <a:spcPct val="100000"/>
                        </a:lnSpc>
                      </a:pPr>
                      <a:r>
                        <a:rPr lang="en-US" sz="2400" b="1"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498,746</a:t>
                      </a:r>
                      <a:endParaRPr lang="en-US" sz="2400" b="1"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solidFill>
                      <a:schemeClr val="bg1">
                        <a:lumMod val="65000"/>
                      </a:schemeClr>
                    </a:solidFill>
                  </a:tcPr>
                </a:tc>
                <a:tc>
                  <a:txBody>
                    <a:bodyPr/>
                    <a:lstStyle/>
                    <a:p>
                      <a:pPr algn="r" fontAlgn="ctr">
                        <a:lnSpc>
                          <a:spcPct val="100000"/>
                        </a:lnSpc>
                      </a:pPr>
                      <a:r>
                        <a:rPr lang="en-US" sz="2400" b="1"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888,515</a:t>
                      </a:r>
                      <a:endParaRPr lang="en-US" sz="2400" b="1"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a:solidFill>
                        <a:srgbClr val="A7A7A7"/>
                      </a:solidFill>
                      <a:custDash>
                        <a:ds d="200000" sp="200000"/>
                      </a:custDash>
                      <a:miter lim="400000"/>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solidFill>
                      <a:schemeClr val="bg1">
                        <a:lumMod val="65000"/>
                      </a:schemeClr>
                    </a:solidFill>
                  </a:tcPr>
                </a:tc>
                <a:tc>
                  <a:txBody>
                    <a:bodyPr/>
                    <a:lstStyle/>
                    <a:p>
                      <a:pPr algn="ctr" fontAlgn="ctr">
                        <a:lnSpc>
                          <a:spcPct val="100000"/>
                        </a:lnSpc>
                      </a:pPr>
                      <a:r>
                        <a:rPr lang="en-US" sz="2400" b="1"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76.36 </a:t>
                      </a:r>
                      <a:endParaRPr lang="en-US" sz="2400" b="1"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a:solidFill>
                        <a:srgbClr val="A7A7A7"/>
                      </a:solidFill>
                      <a:custDash>
                        <a:ds d="200000" sp="200000"/>
                      </a:custDash>
                      <a:miter lim="400000"/>
                    </a:lnL>
                    <a:lnR w="38100">
                      <a:solidFill>
                        <a:srgbClr val="A7A7A7"/>
                      </a:solidFill>
                      <a:custDash>
                        <a:ds d="200000" sp="200000"/>
                      </a:custDash>
                      <a:miter lim="400000"/>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solidFill>
                      <a:schemeClr val="bg1">
                        <a:lumMod val="65000"/>
                      </a:schemeClr>
                    </a:solidFill>
                  </a:tcPr>
                </a:tc>
                <a:extLst>
                  <a:ext uri="{0D108BD9-81ED-4DB2-BD59-A6C34878D82A}">
                    <a16:rowId xmlns:a16="http://schemas.microsoft.com/office/drawing/2014/main" val="10011"/>
                  </a:ext>
                </a:extLst>
              </a:tr>
              <a:tr h="445936">
                <a:tc>
                  <a:txBody>
                    <a:bodyPr/>
                    <a:lstStyle/>
                    <a:p>
                      <a:pPr algn="l" defTabSz="825500">
                        <a:defRPr sz="1800">
                          <a:solidFill>
                            <a:srgbClr val="000000"/>
                          </a:solidFill>
                        </a:defRPr>
                      </a:pPr>
                      <a:r>
                        <a:rPr lang="en-US" sz="2400" b="1" dirty="0">
                          <a:effectLst/>
                          <a:latin typeface="Trebuchet MS"/>
                          <a:ea typeface="Trebuchet MS"/>
                          <a:cs typeface="Trebuchet MS"/>
                          <a:sym typeface="Trebuchet MS"/>
                        </a:rPr>
                        <a:t>STATEWIDE</a:t>
                      </a:r>
                      <a:endParaRPr lang="en-GB" sz="2400" b="1" dirty="0">
                        <a:effectLst/>
                        <a:latin typeface="Trebuchet MS"/>
                        <a:ea typeface="Trebuchet MS"/>
                        <a:cs typeface="Trebuchet MS"/>
                        <a:sym typeface="Trebuchet MS"/>
                      </a:endParaRPr>
                    </a:p>
                  </a:txBody>
                  <a:tcPr marL="9840" marR="9840" marT="9840" marB="9840" anchor="ctr" horzOverflow="overflow">
                    <a:lnL w="12700">
                      <a:miter lim="400000"/>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solidFill>
                      <a:srgbClr val="FFC000"/>
                    </a:solidFill>
                  </a:tcPr>
                </a:tc>
                <a:tc>
                  <a:txBody>
                    <a:bodyPr/>
                    <a:lstStyle/>
                    <a:p>
                      <a:pPr algn="r" fontAlgn="ctr">
                        <a:lnSpc>
                          <a:spcPct val="100000"/>
                        </a:lnSpc>
                      </a:pPr>
                      <a:r>
                        <a:rPr lang="en-US" sz="2400" b="1"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70,818</a:t>
                      </a:r>
                      <a:endParaRPr lang="en-US" sz="2400" b="1"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solidFill>
                      <a:srgbClr val="FFC000"/>
                    </a:solidFill>
                  </a:tcPr>
                </a:tc>
                <a:tc>
                  <a:txBody>
                    <a:bodyPr/>
                    <a:lstStyle/>
                    <a:p>
                      <a:pPr algn="r" fontAlgn="ctr">
                        <a:lnSpc>
                          <a:spcPct val="100000"/>
                        </a:lnSpc>
                      </a:pPr>
                      <a:r>
                        <a:rPr lang="en-US" sz="2400" b="1"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204,189</a:t>
                      </a:r>
                      <a:endParaRPr lang="en-US" sz="2400" b="1"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solidFill>
                      <a:srgbClr val="FFC000"/>
                    </a:solidFill>
                  </a:tcPr>
                </a:tc>
                <a:tc>
                  <a:txBody>
                    <a:bodyPr/>
                    <a:lstStyle/>
                    <a:p>
                      <a:pPr algn="r" fontAlgn="ctr">
                        <a:lnSpc>
                          <a:spcPct val="100000"/>
                        </a:lnSpc>
                      </a:pPr>
                      <a:r>
                        <a:rPr lang="en-US" sz="2400" b="1"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275,007</a:t>
                      </a:r>
                      <a:endParaRPr lang="en-US" sz="2400" b="1"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solidFill>
                      <a:srgbClr val="FFC000"/>
                    </a:solidFill>
                  </a:tcPr>
                </a:tc>
                <a:tc>
                  <a:txBody>
                    <a:bodyPr/>
                    <a:lstStyle/>
                    <a:p>
                      <a:pPr algn="ctr" fontAlgn="ctr">
                        <a:lnSpc>
                          <a:spcPct val="100000"/>
                        </a:lnSpc>
                      </a:pPr>
                      <a:r>
                        <a:rPr lang="en-US" sz="2400" b="1"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23.64 </a:t>
                      </a:r>
                      <a:endParaRPr lang="en-US" sz="2400" b="1"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solidFill>
                      <a:srgbClr val="FFC000"/>
                    </a:solidFill>
                  </a:tcPr>
                </a:tc>
                <a:extLst>
                  <a:ext uri="{0D108BD9-81ED-4DB2-BD59-A6C34878D82A}">
                    <a16:rowId xmlns:a16="http://schemas.microsoft.com/office/drawing/2014/main" val="1222212686"/>
                  </a:ext>
                </a:extLst>
              </a:tr>
              <a:tr h="1178553">
                <a:tc>
                  <a:txBody>
                    <a:bodyPr/>
                    <a:lstStyle/>
                    <a:p>
                      <a:pPr algn="l" fontAlgn="ctr">
                        <a:lnSpc>
                          <a:spcPct val="100000"/>
                        </a:lnSpc>
                      </a:pPr>
                      <a:r>
                        <a:rPr lang="en-US" sz="2400" b="1"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Contingency Reserve (Including Special Expenditure- Statewide and Special Expenditure- Others)</a:t>
                      </a:r>
                      <a:endParaRPr lang="en-US" sz="2400" b="1"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12700">
                      <a:miter lim="400000"/>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noFill/>
                  </a:tcPr>
                </a:tc>
                <a:tc>
                  <a:txBody>
                    <a:bodyPr/>
                    <a:lstStyle/>
                    <a:p>
                      <a:pPr algn="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5,359</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noFill/>
                  </a:tcPr>
                </a:tc>
                <a:tc>
                  <a:txBody>
                    <a:bodyPr/>
                    <a:lstStyle/>
                    <a:p>
                      <a:pPr algn="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16,196</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noFill/>
                  </a:tcPr>
                </a:tc>
                <a:tc>
                  <a:txBody>
                    <a:bodyPr/>
                    <a:lstStyle/>
                    <a:p>
                      <a:pPr algn="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21,555</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noFill/>
                  </a:tcPr>
                </a:tc>
                <a:tc>
                  <a:txBody>
                    <a:bodyPr/>
                    <a:lstStyle/>
                    <a:p>
                      <a:pPr algn="ct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1.85 </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noFill/>
                  </a:tcPr>
                </a:tc>
                <a:extLst>
                  <a:ext uri="{0D108BD9-81ED-4DB2-BD59-A6C34878D82A}">
                    <a16:rowId xmlns:a16="http://schemas.microsoft.com/office/drawing/2014/main" val="51780660"/>
                  </a:ext>
                </a:extLst>
              </a:tr>
              <a:tr h="785702">
                <a:tc>
                  <a:txBody>
                    <a:bodyPr/>
                    <a:lstStyle/>
                    <a:p>
                      <a:pPr algn="l" fontAlgn="ctr">
                        <a:lnSpc>
                          <a:spcPct val="100000"/>
                        </a:lnSpc>
                      </a:pPr>
                      <a:r>
                        <a:rPr lang="en-US" sz="2400" b="1"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Loans (Repayments, CDSA &amp; Debt Servicing)</a:t>
                      </a:r>
                      <a:endParaRPr lang="en-US" sz="2400" b="1"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12700">
                      <a:miter lim="400000"/>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noFill/>
                  </a:tcPr>
                </a:tc>
                <a:tc>
                  <a:txBody>
                    <a:bodyPr/>
                    <a:lstStyle/>
                    <a:p>
                      <a:pPr algn="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27,474</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noFill/>
                  </a:tcPr>
                </a:tc>
                <a:tc>
                  <a:txBody>
                    <a:bodyPr/>
                    <a:lstStyle/>
                    <a:p>
                      <a:pPr algn="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130,929</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noFill/>
                  </a:tcPr>
                </a:tc>
                <a:tc>
                  <a:txBody>
                    <a:bodyPr/>
                    <a:lstStyle/>
                    <a:p>
                      <a:pPr algn="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158,402</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noFill/>
                  </a:tcPr>
                </a:tc>
                <a:tc>
                  <a:txBody>
                    <a:bodyPr/>
                    <a:lstStyle/>
                    <a:p>
                      <a:pPr algn="ct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13.61 </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noFill/>
                  </a:tcPr>
                </a:tc>
                <a:extLst>
                  <a:ext uri="{0D108BD9-81ED-4DB2-BD59-A6C34878D82A}">
                    <a16:rowId xmlns:a16="http://schemas.microsoft.com/office/drawing/2014/main" val="3671133768"/>
                  </a:ext>
                </a:extLst>
              </a:tr>
              <a:tr h="785702">
                <a:tc>
                  <a:txBody>
                    <a:bodyPr/>
                    <a:lstStyle/>
                    <a:p>
                      <a:pPr algn="l" fontAlgn="ctr">
                        <a:lnSpc>
                          <a:spcPct val="100000"/>
                        </a:lnSpc>
                      </a:pPr>
                      <a:r>
                        <a:rPr lang="en-US" sz="2400" b="1"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Personnel Cost (Service wide and Pension)</a:t>
                      </a:r>
                      <a:endParaRPr lang="en-US" sz="2400" b="1"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12700">
                      <a:miter lim="400000"/>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noFill/>
                  </a:tcPr>
                </a:tc>
                <a:tc>
                  <a:txBody>
                    <a:bodyPr/>
                    <a:lstStyle/>
                    <a:p>
                      <a:pPr algn="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37,986</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noFill/>
                  </a:tcPr>
                </a:tc>
                <a:tc>
                  <a:txBody>
                    <a:bodyPr/>
                    <a:lstStyle/>
                    <a:p>
                      <a:pPr algn="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 0</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noFill/>
                  </a:tcPr>
                </a:tc>
                <a:tc>
                  <a:txBody>
                    <a:bodyPr/>
                    <a:lstStyle/>
                    <a:p>
                      <a:pPr algn="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37,986</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noFill/>
                  </a:tcPr>
                </a:tc>
                <a:tc>
                  <a:txBody>
                    <a:bodyPr/>
                    <a:lstStyle/>
                    <a:p>
                      <a:pPr algn="ct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3.26 </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noFill/>
                  </a:tcPr>
                </a:tc>
                <a:extLst>
                  <a:ext uri="{0D108BD9-81ED-4DB2-BD59-A6C34878D82A}">
                    <a16:rowId xmlns:a16="http://schemas.microsoft.com/office/drawing/2014/main" val="1638669975"/>
                  </a:ext>
                </a:extLst>
              </a:tr>
              <a:tr h="445936">
                <a:tc>
                  <a:txBody>
                    <a:bodyPr/>
                    <a:lstStyle/>
                    <a:p>
                      <a:pPr algn="l" fontAlgn="ctr">
                        <a:lnSpc>
                          <a:spcPct val="100000"/>
                        </a:lnSpc>
                      </a:pPr>
                      <a:r>
                        <a:rPr lang="en-US" sz="2400" b="1"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Grants &amp; Counterpart Funding</a:t>
                      </a:r>
                      <a:endParaRPr lang="en-US" sz="2400" b="1"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12700">
                      <a:miter lim="400000"/>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noFill/>
                  </a:tcPr>
                </a:tc>
                <a:tc>
                  <a:txBody>
                    <a:bodyPr/>
                    <a:lstStyle/>
                    <a:p>
                      <a:pPr algn="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0</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noFill/>
                  </a:tcPr>
                </a:tc>
                <a:tc>
                  <a:txBody>
                    <a:bodyPr/>
                    <a:lstStyle/>
                    <a:p>
                      <a:pPr algn="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57,064</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noFill/>
                  </a:tcPr>
                </a:tc>
                <a:tc>
                  <a:txBody>
                    <a:bodyPr/>
                    <a:lstStyle/>
                    <a:p>
                      <a:pPr algn="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57,064</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noFill/>
                  </a:tcPr>
                </a:tc>
                <a:tc>
                  <a:txBody>
                    <a:bodyPr/>
                    <a:lstStyle/>
                    <a:p>
                      <a:pPr algn="ctr" fontAlgn="ctr">
                        <a:lnSpc>
                          <a:spcPct val="100000"/>
                        </a:lnSpc>
                      </a:pPr>
                      <a:r>
                        <a:rPr lang="en-US" sz="2400" b="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4.90 </a:t>
                      </a:r>
                      <a:endParaRPr lang="en-US" sz="2400" b="0" i="0" u="none" strike="noStrike" cap="none" spc="0" baseline="0" dirty="0">
                        <a:solidFill>
                          <a:srgbClr val="000000"/>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noFill/>
                  </a:tcPr>
                </a:tc>
                <a:extLst>
                  <a:ext uri="{0D108BD9-81ED-4DB2-BD59-A6C34878D82A}">
                    <a16:rowId xmlns:a16="http://schemas.microsoft.com/office/drawing/2014/main" val="174945629"/>
                  </a:ext>
                </a:extLst>
              </a:tr>
              <a:tr h="495697">
                <a:tc>
                  <a:txBody>
                    <a:bodyPr/>
                    <a:lstStyle/>
                    <a:p>
                      <a:pPr algn="ctr" defTabSz="825500">
                        <a:lnSpc>
                          <a:spcPct val="90000"/>
                        </a:lnSpc>
                        <a:defRPr sz="1800">
                          <a:solidFill>
                            <a:srgbClr val="000000"/>
                          </a:solidFill>
                        </a:defRPr>
                      </a:pPr>
                      <a:r>
                        <a:rPr lang="en-US" sz="2400" b="1" cap="small" dirty="0">
                          <a:solidFill>
                            <a:srgbClr val="FFFFFF"/>
                          </a:solidFill>
                          <a:latin typeface="Trebuchet MS"/>
                          <a:ea typeface="Trebuchet MS"/>
                          <a:cs typeface="Trebuchet MS"/>
                          <a:sym typeface="Trebuchet MS"/>
                        </a:rPr>
                        <a:t>Grand</a:t>
                      </a:r>
                      <a:r>
                        <a:rPr lang="en-US" sz="2400" b="1" cap="small" baseline="0" dirty="0">
                          <a:solidFill>
                            <a:srgbClr val="FFFFFF"/>
                          </a:solidFill>
                          <a:latin typeface="Trebuchet MS"/>
                          <a:ea typeface="Trebuchet MS"/>
                          <a:cs typeface="Trebuchet MS"/>
                          <a:sym typeface="Trebuchet MS"/>
                        </a:rPr>
                        <a:t> Total</a:t>
                      </a:r>
                      <a:endParaRPr sz="2400" b="1" cap="small" dirty="0">
                        <a:solidFill>
                          <a:srgbClr val="FFFFFF"/>
                        </a:solidFill>
                        <a:latin typeface="Trebuchet MS"/>
                        <a:ea typeface="Trebuchet MS"/>
                        <a:cs typeface="Trebuchet MS"/>
                        <a:sym typeface="Trebuchet MS"/>
                      </a:endParaRPr>
                    </a:p>
                  </a:txBody>
                  <a:tcPr marL="9840" marR="9840" marT="9840" marB="9840" anchor="ctr" horzOverflow="overflow">
                    <a:lnL w="12700">
                      <a:miter lim="400000"/>
                    </a:lnL>
                    <a:lnR w="38100" cap="flat" cmpd="sng" algn="ctr">
                      <a:solidFill>
                        <a:srgbClr val="FFFFFF"/>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12700">
                      <a:miter lim="400000"/>
                    </a:lnB>
                    <a:solidFill>
                      <a:schemeClr val="accent3"/>
                    </a:solidFill>
                  </a:tcPr>
                </a:tc>
                <a:tc>
                  <a:txBody>
                    <a:bodyPr/>
                    <a:lstStyle/>
                    <a:p>
                      <a:pPr algn="r" fontAlgn="ctr">
                        <a:lnSpc>
                          <a:spcPct val="100000"/>
                        </a:lnSpc>
                      </a:pPr>
                      <a:r>
                        <a:rPr lang="en-US" sz="2400" b="1" u="none" strike="noStrike" cap="none" spc="0" baseline="0" dirty="0">
                          <a:solidFill>
                            <a:schemeClr val="bg1"/>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460,587</a:t>
                      </a:r>
                      <a:endParaRPr lang="en-US" sz="2400" b="1" i="0" u="none" strike="noStrike" cap="none" spc="0" baseline="0" dirty="0">
                        <a:solidFill>
                          <a:schemeClr val="bg1"/>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cap="flat" cmpd="sng" algn="ctr">
                      <a:solidFill>
                        <a:srgbClr val="FFFFFF"/>
                      </a:solidFill>
                      <a:custDash>
                        <a:ds d="200000" sp="200000"/>
                      </a:custDash>
                      <a:miter lim="400000"/>
                      <a:headEnd type="none" w="med" len="med"/>
                      <a:tailEnd type="none" w="med" len="med"/>
                    </a:lnL>
                    <a:lnR w="38100" cap="flat" cmpd="sng" algn="ctr">
                      <a:solidFill>
                        <a:srgbClr val="FFFFFF"/>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12700">
                      <a:miter lim="400000"/>
                    </a:lnB>
                    <a:solidFill>
                      <a:schemeClr val="accent3"/>
                    </a:solidFill>
                  </a:tcPr>
                </a:tc>
                <a:tc>
                  <a:txBody>
                    <a:bodyPr/>
                    <a:lstStyle/>
                    <a:p>
                      <a:pPr algn="r" fontAlgn="ctr">
                        <a:lnSpc>
                          <a:spcPct val="100000"/>
                        </a:lnSpc>
                      </a:pPr>
                      <a:r>
                        <a:rPr lang="en-US" sz="2400" b="1" u="none" strike="noStrike" cap="none" spc="0" baseline="0" dirty="0">
                          <a:solidFill>
                            <a:schemeClr val="bg1"/>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702,935</a:t>
                      </a:r>
                      <a:endParaRPr lang="en-US" sz="2400" b="1" i="0" u="none" strike="noStrike" cap="none" spc="0" baseline="0" dirty="0">
                        <a:solidFill>
                          <a:schemeClr val="bg1"/>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cap="flat" cmpd="sng" algn="ctr">
                      <a:solidFill>
                        <a:srgbClr val="FFFFFF"/>
                      </a:solidFill>
                      <a:custDash>
                        <a:ds d="200000" sp="200000"/>
                      </a:custDash>
                      <a:miter lim="400000"/>
                      <a:headEnd type="none" w="med" len="med"/>
                      <a:tailEnd type="none" w="med" len="med"/>
                    </a:lnL>
                    <a:lnR w="38100" cap="flat" cmpd="sng" algn="ctr">
                      <a:solidFill>
                        <a:srgbClr val="FFFFFF"/>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12700">
                      <a:miter lim="400000"/>
                    </a:lnB>
                    <a:solidFill>
                      <a:schemeClr val="accent3"/>
                    </a:solidFill>
                  </a:tcPr>
                </a:tc>
                <a:tc>
                  <a:txBody>
                    <a:bodyPr/>
                    <a:lstStyle/>
                    <a:p>
                      <a:pPr algn="r" fontAlgn="ctr">
                        <a:lnSpc>
                          <a:spcPct val="100000"/>
                        </a:lnSpc>
                      </a:pPr>
                      <a:r>
                        <a:rPr lang="en-US" sz="2400" b="1" u="none" strike="noStrike" cap="none" spc="0" baseline="0" dirty="0">
                          <a:solidFill>
                            <a:schemeClr val="bg1"/>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1,163,522</a:t>
                      </a:r>
                      <a:endParaRPr lang="en-US" sz="2400" b="1" i="0" u="none" strike="noStrike" cap="none" spc="0" baseline="0" dirty="0">
                        <a:solidFill>
                          <a:schemeClr val="bg1"/>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cap="flat" cmpd="sng" algn="ctr">
                      <a:solidFill>
                        <a:srgbClr val="FFFFFF"/>
                      </a:solidFill>
                      <a:custDash>
                        <a:ds d="200000" sp="200000"/>
                      </a:custDash>
                      <a:miter lim="400000"/>
                      <a:headEnd type="none" w="med" len="med"/>
                      <a:tailEnd type="none" w="med" len="med"/>
                    </a:lnL>
                    <a:lnR w="38100" cap="flat" cmpd="sng" algn="ctr">
                      <a:solidFill>
                        <a:srgbClr val="FFFFFF"/>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12700">
                      <a:miter lim="400000"/>
                    </a:lnB>
                    <a:solidFill>
                      <a:schemeClr val="accent3"/>
                    </a:solidFill>
                  </a:tcPr>
                </a:tc>
                <a:tc>
                  <a:txBody>
                    <a:bodyPr/>
                    <a:lstStyle/>
                    <a:p>
                      <a:pPr algn="ctr" fontAlgn="ctr">
                        <a:lnSpc>
                          <a:spcPct val="100000"/>
                        </a:lnSpc>
                      </a:pPr>
                      <a:r>
                        <a:rPr lang="en-US" sz="2400" b="1" u="none" strike="noStrike" cap="none" spc="0" baseline="0" dirty="0">
                          <a:solidFill>
                            <a:schemeClr val="bg1"/>
                          </a:solidFill>
                          <a:effectLst/>
                          <a:uFillTx/>
                          <a:latin typeface="Trebuchet MS" panose="020B0603020202020204" pitchFamily="34" charset="0"/>
                          <a:ea typeface="Tahoma" panose="020B0604030504040204" pitchFamily="34" charset="0"/>
                          <a:cs typeface="Tahoma" panose="020B0604030504040204" pitchFamily="34" charset="0"/>
                          <a:sym typeface="Trebuchet MS"/>
                        </a:rPr>
                        <a:t>100.00 </a:t>
                      </a:r>
                      <a:endParaRPr lang="en-US" sz="2400" b="1" i="0" u="none" strike="noStrike" cap="none" spc="0" baseline="0" dirty="0">
                        <a:solidFill>
                          <a:schemeClr val="bg1"/>
                        </a:solidFill>
                        <a:effectLst/>
                        <a:uFillTx/>
                        <a:latin typeface="Trebuchet MS" panose="020B0603020202020204" pitchFamily="34" charset="0"/>
                        <a:ea typeface="Tahoma" panose="020B0604030504040204" pitchFamily="34" charset="0"/>
                        <a:cs typeface="Tahoma" panose="020B0604030504040204" pitchFamily="34" charset="0"/>
                        <a:sym typeface="Trebuchet MS"/>
                      </a:endParaRPr>
                    </a:p>
                  </a:txBody>
                  <a:tcPr marL="0" marR="0" marT="0" marB="0" anchor="ctr">
                    <a:lnL w="38100" cap="flat" cmpd="sng" algn="ctr">
                      <a:solidFill>
                        <a:srgbClr val="FFFFFF"/>
                      </a:solidFill>
                      <a:custDash>
                        <a:ds d="200000" sp="200000"/>
                      </a:custDash>
                      <a:miter lim="400000"/>
                      <a:headEnd type="none" w="med" len="med"/>
                      <a:tailEnd type="none" w="med" len="med"/>
                    </a:lnL>
                    <a:lnR w="12700">
                      <a:solidFill>
                        <a:srgbClr val="FFFFFF"/>
                      </a:solidFill>
                      <a:custDash>
                        <a:ds d="200000" sp="200000"/>
                      </a:custDash>
                      <a:miter lim="400000"/>
                    </a:lnR>
                    <a:lnT w="38100" cap="flat" cmpd="sng" algn="ctr">
                      <a:solidFill>
                        <a:srgbClr val="A7A7A7"/>
                      </a:solidFill>
                      <a:custDash>
                        <a:ds d="200000" sp="200000"/>
                      </a:custDash>
                      <a:miter lim="400000"/>
                      <a:headEnd type="none" w="med" len="med"/>
                      <a:tailEnd type="none" w="med" len="med"/>
                    </a:lnT>
                    <a:lnB w="12700">
                      <a:miter lim="400000"/>
                    </a:lnB>
                    <a:solidFill>
                      <a:schemeClr val="accent3"/>
                    </a:solidFill>
                  </a:tcPr>
                </a:tc>
                <a:extLst>
                  <a:ext uri="{0D108BD9-81ED-4DB2-BD59-A6C34878D82A}">
                    <a16:rowId xmlns:a16="http://schemas.microsoft.com/office/drawing/2014/main" val="10012"/>
                  </a:ext>
                </a:extLst>
              </a:tr>
            </a:tbl>
          </a:graphicData>
        </a:graphic>
      </p:graphicFrame>
      <p:sp>
        <p:nvSpPr>
          <p:cNvPr id="1394" name="Rectangle"/>
          <p:cNvSpPr/>
          <p:nvPr/>
        </p:nvSpPr>
        <p:spPr>
          <a:xfrm>
            <a:off x="12637007" y="2430035"/>
            <a:ext cx="10830160" cy="10011785"/>
          </a:xfrm>
          <a:prstGeom prst="rect">
            <a:avLst/>
          </a:prstGeom>
          <a:solidFill>
            <a:srgbClr val="FFFFFF"/>
          </a:solidFill>
          <a:ln w="12700">
            <a:miter lim="400000"/>
          </a:ln>
          <a:effectLst>
            <a:outerShdw blurRad="50800" dist="25400" dir="5400000" rotWithShape="0">
              <a:srgbClr val="000000">
                <a:alpha val="78653"/>
              </a:srgbClr>
            </a:outerShdw>
          </a:effectLst>
        </p:spPr>
        <p:txBody>
          <a:bodyPr lIns="38100" tIns="38100" rIns="38100" bIns="38100" anchor="ctr"/>
          <a:lstStyle/>
          <a:p>
            <a:pPr algn="l">
              <a:defRPr sz="2000" b="0" cap="none">
                <a:solidFill>
                  <a:srgbClr val="252D30"/>
                </a:solidFill>
                <a:effectLst/>
              </a:defRPr>
            </a:pPr>
            <a:endParaRPr/>
          </a:p>
        </p:txBody>
      </p:sp>
      <p:sp>
        <p:nvSpPr>
          <p:cNvPr id="1395" name="Re-Ordered Budget"/>
          <p:cNvSpPr txBox="1"/>
          <p:nvPr/>
        </p:nvSpPr>
        <p:spPr>
          <a:xfrm>
            <a:off x="16737145" y="2090900"/>
            <a:ext cx="2629883" cy="5539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8" tIns="45718" rIns="45718" bIns="45718">
            <a:spAutoFit/>
          </a:bodyPr>
          <a:lstStyle>
            <a:lvl1pPr>
              <a:defRPr sz="3000">
                <a:solidFill>
                  <a:schemeClr val="accent3"/>
                </a:solidFill>
                <a:latin typeface="Trebuchet MS"/>
                <a:ea typeface="Trebuchet MS"/>
                <a:cs typeface="Trebuchet MS"/>
                <a:sym typeface="Trebuchet MS"/>
              </a:defRPr>
            </a:lvl1pPr>
          </a:lstStyle>
          <a:p>
            <a:r>
              <a:rPr lang="en-US" dirty="0"/>
              <a:t>Allocation</a:t>
            </a:r>
            <a:r>
              <a:rPr dirty="0"/>
              <a:t> (%)</a:t>
            </a:r>
          </a:p>
        </p:txBody>
      </p:sp>
      <p:graphicFrame>
        <p:nvGraphicFramePr>
          <p:cNvPr id="1396" name="2D Bar Chart"/>
          <p:cNvGraphicFramePr/>
          <p:nvPr>
            <p:extLst>
              <p:ext uri="{D42A27DB-BD31-4B8C-83A1-F6EECF244321}">
                <p14:modId xmlns:p14="http://schemas.microsoft.com/office/powerpoint/2010/main" val="234703524"/>
              </p:ext>
            </p:extLst>
          </p:nvPr>
        </p:nvGraphicFramePr>
        <p:xfrm>
          <a:off x="13493977" y="2218410"/>
          <a:ext cx="10564896" cy="1043503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79153767"/>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6" name="Approved Budget Overview"/>
          <p:cNvSpPr txBox="1"/>
          <p:nvPr/>
        </p:nvSpPr>
        <p:spPr>
          <a:xfrm>
            <a:off x="8756891" y="6588594"/>
            <a:ext cx="11074774" cy="891539"/>
          </a:xfrm>
          <a:prstGeom prst="rect">
            <a:avLst/>
          </a:prstGeom>
          <a:ln w="38100">
            <a:solidFill>
              <a:schemeClr val="accent3"/>
            </a:solidFill>
            <a:miter lim="400000"/>
          </a:ln>
          <a:effectLst>
            <a:outerShdw blurRad="12700" dist="12700" rotWithShape="0">
              <a:srgbClr val="000000">
                <a:alpha val="1508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1918" tIns="121918" rIns="121918" bIns="121918" anchor="ctr">
            <a:spAutoFit/>
          </a:bodyPr>
          <a:lstStyle/>
          <a:p>
            <a:r>
              <a:rPr lang="en-US" dirty="0"/>
              <a:t>Budget Performance Summary </a:t>
            </a:r>
          </a:p>
        </p:txBody>
      </p:sp>
      <p:sp>
        <p:nvSpPr>
          <p:cNvPr id="8" name="Rectangle 7">
            <a:extLst>
              <a:ext uri="{FF2B5EF4-FFF2-40B4-BE49-F238E27FC236}">
                <a16:creationId xmlns:a16="http://schemas.microsoft.com/office/drawing/2014/main" id="{989005A8-80EA-49C7-9A6B-F6CB50FBA800}"/>
              </a:ext>
            </a:extLst>
          </p:cNvPr>
          <p:cNvSpPr/>
          <p:nvPr/>
        </p:nvSpPr>
        <p:spPr>
          <a:xfrm>
            <a:off x="8775941" y="7649029"/>
            <a:ext cx="826321" cy="330969"/>
          </a:xfrm>
          <a:prstGeom prst="rect">
            <a:avLst/>
          </a:prstGeom>
          <a:solidFill>
            <a:srgbClr val="DCDCD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9" name="Rectangle 8">
            <a:extLst>
              <a:ext uri="{FF2B5EF4-FFF2-40B4-BE49-F238E27FC236}">
                <a16:creationId xmlns:a16="http://schemas.microsoft.com/office/drawing/2014/main" id="{DBF45EF8-5EF9-47B5-A01D-D2DC4A0EBD17}"/>
              </a:ext>
            </a:extLst>
          </p:cNvPr>
          <p:cNvSpPr/>
          <p:nvPr/>
        </p:nvSpPr>
        <p:spPr>
          <a:xfrm>
            <a:off x="9639504" y="7649029"/>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0" name="Rectangle 9">
            <a:extLst>
              <a:ext uri="{FF2B5EF4-FFF2-40B4-BE49-F238E27FC236}">
                <a16:creationId xmlns:a16="http://schemas.microsoft.com/office/drawing/2014/main" id="{CD1AC45B-86EA-4BBA-9220-ACE59B0452B6}"/>
              </a:ext>
            </a:extLst>
          </p:cNvPr>
          <p:cNvSpPr/>
          <p:nvPr/>
        </p:nvSpPr>
        <p:spPr>
          <a:xfrm>
            <a:off x="10503067" y="7649029"/>
            <a:ext cx="826321" cy="330969"/>
          </a:xfrm>
          <a:prstGeom prst="rect">
            <a:avLst/>
          </a:prstGeom>
          <a:solidFill>
            <a:srgbClr val="00AEEF"/>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1" name="Rectangle 10">
            <a:extLst>
              <a:ext uri="{FF2B5EF4-FFF2-40B4-BE49-F238E27FC236}">
                <a16:creationId xmlns:a16="http://schemas.microsoft.com/office/drawing/2014/main" id="{0599E891-FE16-40C8-BF48-71A3648208F8}"/>
              </a:ext>
            </a:extLst>
          </p:cNvPr>
          <p:cNvSpPr/>
          <p:nvPr/>
        </p:nvSpPr>
        <p:spPr>
          <a:xfrm>
            <a:off x="11366630" y="7649029"/>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2" name="Rectangle 11">
            <a:extLst>
              <a:ext uri="{FF2B5EF4-FFF2-40B4-BE49-F238E27FC236}">
                <a16:creationId xmlns:a16="http://schemas.microsoft.com/office/drawing/2014/main" id="{49658716-EAC0-4EF8-9373-6FD389B7A910}"/>
              </a:ext>
            </a:extLst>
          </p:cNvPr>
          <p:cNvSpPr/>
          <p:nvPr/>
        </p:nvSpPr>
        <p:spPr>
          <a:xfrm>
            <a:off x="12230193" y="7649029"/>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3" name="Rectangle 12">
            <a:extLst>
              <a:ext uri="{FF2B5EF4-FFF2-40B4-BE49-F238E27FC236}">
                <a16:creationId xmlns:a16="http://schemas.microsoft.com/office/drawing/2014/main" id="{A8B32D54-6463-4455-B2D3-7CA38413D6FD}"/>
              </a:ext>
            </a:extLst>
          </p:cNvPr>
          <p:cNvSpPr/>
          <p:nvPr/>
        </p:nvSpPr>
        <p:spPr>
          <a:xfrm>
            <a:off x="13093756" y="7649029"/>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4" name="Rectangle 13">
            <a:extLst>
              <a:ext uri="{FF2B5EF4-FFF2-40B4-BE49-F238E27FC236}">
                <a16:creationId xmlns:a16="http://schemas.microsoft.com/office/drawing/2014/main" id="{D5B0A008-FF24-499B-8016-F8449AD9583A}"/>
              </a:ext>
            </a:extLst>
          </p:cNvPr>
          <p:cNvSpPr/>
          <p:nvPr/>
        </p:nvSpPr>
        <p:spPr>
          <a:xfrm>
            <a:off x="13957319" y="7649029"/>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5" name="Rectangle 14">
            <a:extLst>
              <a:ext uri="{FF2B5EF4-FFF2-40B4-BE49-F238E27FC236}">
                <a16:creationId xmlns:a16="http://schemas.microsoft.com/office/drawing/2014/main" id="{337DD177-72AF-4020-90D0-859F72A7B11E}"/>
              </a:ext>
            </a:extLst>
          </p:cNvPr>
          <p:cNvSpPr/>
          <p:nvPr/>
        </p:nvSpPr>
        <p:spPr>
          <a:xfrm>
            <a:off x="14820882" y="7649029"/>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6" name="Rectangle 15">
            <a:extLst>
              <a:ext uri="{FF2B5EF4-FFF2-40B4-BE49-F238E27FC236}">
                <a16:creationId xmlns:a16="http://schemas.microsoft.com/office/drawing/2014/main" id="{B2919FB7-0FB7-4E39-89AC-D00E2F526F78}"/>
              </a:ext>
            </a:extLst>
          </p:cNvPr>
          <p:cNvSpPr/>
          <p:nvPr/>
        </p:nvSpPr>
        <p:spPr>
          <a:xfrm>
            <a:off x="15684445" y="7649029"/>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7" name="Rectangle 16">
            <a:extLst>
              <a:ext uri="{FF2B5EF4-FFF2-40B4-BE49-F238E27FC236}">
                <a16:creationId xmlns:a16="http://schemas.microsoft.com/office/drawing/2014/main" id="{200E7EF1-1FF3-49E0-9A48-AC8968A0590F}"/>
              </a:ext>
            </a:extLst>
          </p:cNvPr>
          <p:cNvSpPr/>
          <p:nvPr/>
        </p:nvSpPr>
        <p:spPr>
          <a:xfrm>
            <a:off x="16548008" y="7649029"/>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8" name="Rectangle 17">
            <a:extLst>
              <a:ext uri="{FF2B5EF4-FFF2-40B4-BE49-F238E27FC236}">
                <a16:creationId xmlns:a16="http://schemas.microsoft.com/office/drawing/2014/main" id="{BD97404E-F784-4C15-A501-89F8088D1510}"/>
              </a:ext>
            </a:extLst>
          </p:cNvPr>
          <p:cNvSpPr/>
          <p:nvPr/>
        </p:nvSpPr>
        <p:spPr>
          <a:xfrm>
            <a:off x="17411571" y="7649029"/>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9" name="Rectangle 18">
            <a:extLst>
              <a:ext uri="{FF2B5EF4-FFF2-40B4-BE49-F238E27FC236}">
                <a16:creationId xmlns:a16="http://schemas.microsoft.com/office/drawing/2014/main" id="{45E542ED-A51B-43B5-B129-AE40EF8608FB}"/>
              </a:ext>
            </a:extLst>
          </p:cNvPr>
          <p:cNvSpPr/>
          <p:nvPr/>
        </p:nvSpPr>
        <p:spPr>
          <a:xfrm>
            <a:off x="18275134" y="7649029"/>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20" name="Rectangle 19">
            <a:extLst>
              <a:ext uri="{FF2B5EF4-FFF2-40B4-BE49-F238E27FC236}">
                <a16:creationId xmlns:a16="http://schemas.microsoft.com/office/drawing/2014/main" id="{A8479F44-E6F6-4D26-AC1F-61B8B21D047E}"/>
              </a:ext>
            </a:extLst>
          </p:cNvPr>
          <p:cNvSpPr/>
          <p:nvPr/>
        </p:nvSpPr>
        <p:spPr>
          <a:xfrm>
            <a:off x="19138694" y="7649029"/>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21" name="Approved Budget Overview">
            <a:extLst>
              <a:ext uri="{FF2B5EF4-FFF2-40B4-BE49-F238E27FC236}">
                <a16:creationId xmlns:a16="http://schemas.microsoft.com/office/drawing/2014/main" id="{33B42E56-76FC-4642-B16F-596448794C83}"/>
              </a:ext>
            </a:extLst>
          </p:cNvPr>
          <p:cNvSpPr txBox="1"/>
          <p:nvPr/>
        </p:nvSpPr>
        <p:spPr>
          <a:xfrm>
            <a:off x="5499867" y="6588594"/>
            <a:ext cx="3109818" cy="891539"/>
          </a:xfrm>
          <a:prstGeom prst="rect">
            <a:avLst/>
          </a:prstGeom>
          <a:solidFill>
            <a:srgbClr val="1A77B9"/>
          </a:solidFill>
          <a:ln w="38100">
            <a:solidFill>
              <a:schemeClr val="accent3"/>
            </a:solidFill>
            <a:miter lim="400000"/>
          </a:ln>
          <a:effectLst>
            <a:outerShdw blurRad="12700" dist="12700" rotWithShape="0">
              <a:srgbClr val="000000">
                <a:alpha val="27675"/>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121918" tIns="121918" rIns="121918" bIns="121918" anchor="ctr">
            <a:spAutoFit/>
          </a:bodyPr>
          <a:lstStyle/>
          <a:p>
            <a:endParaRPr dirty="0"/>
          </a:p>
        </p:txBody>
      </p:sp>
      <p:sp>
        <p:nvSpPr>
          <p:cNvPr id="22" name="2019">
            <a:extLst>
              <a:ext uri="{FF2B5EF4-FFF2-40B4-BE49-F238E27FC236}">
                <a16:creationId xmlns:a16="http://schemas.microsoft.com/office/drawing/2014/main" id="{A4E1F68A-5840-4E24-AB70-5914D8555D51}"/>
              </a:ext>
            </a:extLst>
          </p:cNvPr>
          <p:cNvSpPr txBox="1"/>
          <p:nvPr/>
        </p:nvSpPr>
        <p:spPr>
          <a:xfrm>
            <a:off x="5354860" y="6566609"/>
            <a:ext cx="3421081" cy="984885"/>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defRPr sz="6400">
                <a:solidFill>
                  <a:schemeClr val="accent4"/>
                </a:solidFill>
                <a:effectLst>
                  <a:outerShdw blurRad="12700" dist="25400" dir="18900000" rotWithShape="0">
                    <a:srgbClr val="000000"/>
                  </a:outerShdw>
                </a:effectLst>
              </a:defRPr>
            </a:lvl1pPr>
          </a:lstStyle>
          <a:p>
            <a:r>
              <a:rPr lang="en-US" dirty="0">
                <a:solidFill>
                  <a:schemeClr val="bg1"/>
                </a:solidFill>
              </a:rPr>
              <a:t>Q1 2021</a:t>
            </a:r>
            <a:endParaRPr dirty="0">
              <a:solidFill>
                <a:schemeClr val="bg1"/>
              </a:solidFill>
            </a:endParaRPr>
          </a:p>
        </p:txBody>
      </p:sp>
    </p:spTree>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a:extLst>
              <a:ext uri="{FF2B5EF4-FFF2-40B4-BE49-F238E27FC236}">
                <a16:creationId xmlns:a16="http://schemas.microsoft.com/office/drawing/2014/main" id="{148F5BC7-A299-404C-B94A-523A883A46D4}"/>
              </a:ext>
            </a:extLst>
          </p:cNvPr>
          <p:cNvGraphicFramePr/>
          <p:nvPr>
            <p:extLst>
              <p:ext uri="{D42A27DB-BD31-4B8C-83A1-F6EECF244321}">
                <p14:modId xmlns:p14="http://schemas.microsoft.com/office/powerpoint/2010/main" val="444396246"/>
              </p:ext>
            </p:extLst>
          </p:nvPr>
        </p:nvGraphicFramePr>
        <p:xfrm>
          <a:off x="2337047" y="2134644"/>
          <a:ext cx="18033015" cy="10261607"/>
        </p:xfrm>
        <a:graphic>
          <a:graphicData uri="http://schemas.openxmlformats.org/drawingml/2006/table">
            <a:tbl>
              <a:tblPr>
                <a:tableStyleId>{8F44A2F1-9E1F-4B54-A3A2-5F16C0AD49E2}</a:tableStyleId>
              </a:tblPr>
              <a:tblGrid>
                <a:gridCol w="8919390">
                  <a:extLst>
                    <a:ext uri="{9D8B030D-6E8A-4147-A177-3AD203B41FA5}">
                      <a16:colId xmlns:a16="http://schemas.microsoft.com/office/drawing/2014/main" val="20000"/>
                    </a:ext>
                  </a:extLst>
                </a:gridCol>
                <a:gridCol w="2362054">
                  <a:extLst>
                    <a:ext uri="{9D8B030D-6E8A-4147-A177-3AD203B41FA5}">
                      <a16:colId xmlns:a16="http://schemas.microsoft.com/office/drawing/2014/main" val="2326843308"/>
                    </a:ext>
                  </a:extLst>
                </a:gridCol>
                <a:gridCol w="2563735">
                  <a:extLst>
                    <a:ext uri="{9D8B030D-6E8A-4147-A177-3AD203B41FA5}">
                      <a16:colId xmlns:a16="http://schemas.microsoft.com/office/drawing/2014/main" val="20002"/>
                    </a:ext>
                  </a:extLst>
                </a:gridCol>
                <a:gridCol w="2556704">
                  <a:extLst>
                    <a:ext uri="{9D8B030D-6E8A-4147-A177-3AD203B41FA5}">
                      <a16:colId xmlns:a16="http://schemas.microsoft.com/office/drawing/2014/main" val="20003"/>
                    </a:ext>
                  </a:extLst>
                </a:gridCol>
                <a:gridCol w="1631132">
                  <a:extLst>
                    <a:ext uri="{9D8B030D-6E8A-4147-A177-3AD203B41FA5}">
                      <a16:colId xmlns:a16="http://schemas.microsoft.com/office/drawing/2014/main" val="20004"/>
                    </a:ext>
                  </a:extLst>
                </a:gridCol>
              </a:tblGrid>
              <a:tr h="423412">
                <a:tc rowSpan="2">
                  <a:txBody>
                    <a:bodyPr/>
                    <a:lstStyle/>
                    <a:p>
                      <a:pPr defTabSz="825500">
                        <a:lnSpc>
                          <a:spcPct val="90000"/>
                        </a:lnSpc>
                        <a:defRPr sz="2400" b="1" cap="small">
                          <a:solidFill>
                            <a:srgbClr val="FFFFFF"/>
                          </a:solidFill>
                          <a:effectLst/>
                        </a:defRPr>
                      </a:pPr>
                      <a:r>
                        <a:rPr sz="2300" dirty="0">
                          <a:effectLst>
                            <a:outerShdw blurRad="38100" dist="38100" dir="2700000" algn="tl">
                              <a:srgbClr val="000000">
                                <a:alpha val="43137"/>
                              </a:srgbClr>
                            </a:outerShdw>
                          </a:effectLst>
                        </a:rPr>
                        <a:t>Fiscal Items</a:t>
                      </a:r>
                    </a:p>
                  </a:txBody>
                  <a:tcPr marL="9290" marR="9290" marT="9290" marB="9290" anchor="ctr" horzOverflow="overflow">
                    <a:lnL w="12700">
                      <a:miter lim="400000"/>
                    </a:lnL>
                    <a:lnR w="38100">
                      <a:solidFill>
                        <a:srgbClr val="FFFFFF"/>
                      </a:solidFill>
                      <a:custDash>
                        <a:ds d="200000" sp="200000"/>
                      </a:custDash>
                      <a:miter lim="400000"/>
                    </a:lnR>
                    <a:lnT w="12700">
                      <a:miter lim="400000"/>
                    </a:lnT>
                    <a:lnB w="38100">
                      <a:solidFill>
                        <a:srgbClr val="A7A7A7"/>
                      </a:solidFill>
                      <a:custDash>
                        <a:ds d="200000" sp="200000"/>
                      </a:custDash>
                      <a:miter lim="400000"/>
                    </a:lnB>
                    <a:solidFill>
                      <a:schemeClr val="accent3"/>
                    </a:solidFill>
                  </a:tcPr>
                </a:tc>
                <a:tc rowSpan="2">
                  <a:txBody>
                    <a:bodyPr/>
                    <a:lstStyle/>
                    <a:p>
                      <a:pPr defTabSz="825500">
                        <a:lnSpc>
                          <a:spcPct val="90000"/>
                        </a:lnSpc>
                        <a:defRPr sz="2400" b="1" cap="small">
                          <a:solidFill>
                            <a:srgbClr val="FFFFFF"/>
                          </a:solidFill>
                          <a:effectLst/>
                        </a:defRPr>
                      </a:pPr>
                      <a:r>
                        <a:rPr sz="2300" dirty="0">
                          <a:effectLst>
                            <a:outerShdw blurRad="38100" dist="38100" dir="2700000" algn="tl">
                              <a:srgbClr val="000000">
                                <a:alpha val="43137"/>
                              </a:srgbClr>
                            </a:outerShdw>
                          </a:effectLst>
                        </a:rPr>
                        <a:t>202</a:t>
                      </a:r>
                      <a:r>
                        <a:rPr lang="en-US" sz="2300" dirty="0">
                          <a:effectLst>
                            <a:outerShdw blurRad="38100" dist="38100" dir="2700000" algn="tl">
                              <a:srgbClr val="000000">
                                <a:alpha val="43137"/>
                              </a:srgbClr>
                            </a:outerShdw>
                          </a:effectLst>
                        </a:rPr>
                        <a:t>1</a:t>
                      </a:r>
                      <a:r>
                        <a:rPr sz="2300" dirty="0">
                          <a:effectLst>
                            <a:outerShdw blurRad="38100" dist="38100" dir="2700000" algn="tl">
                              <a:srgbClr val="000000">
                                <a:alpha val="43137"/>
                              </a:srgbClr>
                            </a:outerShdw>
                          </a:effectLst>
                        </a:rPr>
                        <a:t>  Budget</a:t>
                      </a:r>
                      <a:endParaRPr sz="2300" dirty="0">
                        <a:effectLst>
                          <a:outerShdw blurRad="38100" dist="38100" dir="2700000" algn="tl">
                            <a:srgbClr val="000000">
                              <a:alpha val="43137"/>
                            </a:srgbClr>
                          </a:outerShdw>
                        </a:effectLst>
                        <a:latin typeface="+mn-lt"/>
                        <a:ea typeface="+mn-ea"/>
                        <a:cs typeface="+mn-cs"/>
                        <a:sym typeface="Helvetica Neue"/>
                      </a:endParaRPr>
                    </a:p>
                    <a:p>
                      <a:pPr defTabSz="825500">
                        <a:lnSpc>
                          <a:spcPct val="90000"/>
                        </a:lnSpc>
                        <a:defRPr sz="2400" b="1" cap="small">
                          <a:solidFill>
                            <a:srgbClr val="FFFFFF"/>
                          </a:solidFill>
                          <a:effectLst/>
                        </a:defRPr>
                      </a:pPr>
                      <a:r>
                        <a:rPr sz="2300" dirty="0">
                          <a:effectLst>
                            <a:outerShdw blurRad="38100" dist="38100" dir="2700000" algn="tl">
                              <a:srgbClr val="000000">
                                <a:alpha val="43137"/>
                              </a:srgbClr>
                            </a:outerShdw>
                          </a:effectLst>
                        </a:rPr>
                        <a:t>(₦’Mn)</a:t>
                      </a:r>
                    </a:p>
                  </a:txBody>
                  <a:tcPr marL="8633" marR="8633" marT="8633" marB="8633" anchor="ctr" horzOverflow="overflow">
                    <a:lnL w="38100" cap="flat" cmpd="sng" algn="ctr">
                      <a:solidFill>
                        <a:srgbClr val="FFFFFF"/>
                      </a:solidFill>
                      <a:custDash>
                        <a:ds d="200000" sp="200000"/>
                      </a:custDash>
                      <a:miter lim="400000"/>
                      <a:headEnd type="none" w="med" len="med"/>
                      <a:tailEnd type="none" w="med" len="med"/>
                    </a:lnL>
                    <a:lnR w="38100" cap="flat" cmpd="sng" algn="ctr">
                      <a:solidFill>
                        <a:srgbClr val="FFFFFF"/>
                      </a:solidFill>
                      <a:custDash>
                        <a:ds d="200000" sp="200000"/>
                      </a:custDash>
                      <a:miter lim="400000"/>
                      <a:headEnd type="none" w="med" len="med"/>
                      <a:tailEnd type="none" w="med" len="med"/>
                    </a:lnR>
                    <a:lnT w="12700">
                      <a:miter lim="400000"/>
                    </a:lnT>
                    <a:solidFill>
                      <a:schemeClr val="accent3"/>
                    </a:solidFill>
                  </a:tcPr>
                </a:tc>
                <a:tc gridSpan="3">
                  <a:txBody>
                    <a:bodyPr/>
                    <a:lstStyle/>
                    <a:p>
                      <a:pPr defTabSz="825500">
                        <a:lnSpc>
                          <a:spcPct val="90000"/>
                        </a:lnSpc>
                        <a:defRPr sz="1800">
                          <a:effectLst/>
                        </a:defRPr>
                      </a:pPr>
                      <a:r>
                        <a:rPr lang="en-GB" sz="2300" b="1" cap="small" dirty="0">
                          <a:solidFill>
                            <a:srgbClr val="FFFFFF"/>
                          </a:solidFill>
                          <a:effectLst>
                            <a:outerShdw blurRad="38100" dist="38100" dir="2700000" algn="tl">
                              <a:srgbClr val="000000">
                                <a:alpha val="43137"/>
                              </a:srgbClr>
                            </a:outerShdw>
                          </a:effectLst>
                        </a:rPr>
                        <a:t>Q1</a:t>
                      </a:r>
                      <a:endParaRPr sz="2300" b="1" cap="small" dirty="0">
                        <a:solidFill>
                          <a:srgbClr val="FFFFFF"/>
                        </a:solidFill>
                        <a:effectLst>
                          <a:outerShdw blurRad="38100" dist="38100" dir="2700000" algn="tl">
                            <a:srgbClr val="000000">
                              <a:alpha val="43137"/>
                            </a:srgbClr>
                          </a:outerShdw>
                        </a:effectLst>
                      </a:endParaRPr>
                    </a:p>
                  </a:txBody>
                  <a:tcPr marL="0" marR="0" marT="0" marB="0" anchor="ctr" horzOverflow="overflow">
                    <a:lnL w="38100" cap="flat" cmpd="sng" algn="ctr">
                      <a:solidFill>
                        <a:srgbClr val="FFFFFF"/>
                      </a:solidFill>
                      <a:custDash>
                        <a:ds d="200000" sp="200000"/>
                      </a:custDash>
                      <a:miter lim="400000"/>
                      <a:headEnd type="none" w="med" len="med"/>
                      <a:tailEnd type="none" w="med" len="med"/>
                    </a:lnL>
                    <a:lnR w="38100">
                      <a:solidFill>
                        <a:srgbClr val="FFFFFF"/>
                      </a:solidFill>
                      <a:custDash>
                        <a:ds d="200000" sp="200000"/>
                      </a:custDash>
                      <a:miter lim="400000"/>
                    </a:lnR>
                    <a:lnT w="12700">
                      <a:miter lim="400000"/>
                    </a:lnT>
                    <a:lnB w="38100">
                      <a:solidFill>
                        <a:srgbClr val="FFFFFF"/>
                      </a:solidFill>
                      <a:custDash>
                        <a:ds d="200000" sp="200000"/>
                      </a:custDash>
                      <a:miter lim="400000"/>
                    </a:lnB>
                    <a:solidFill>
                      <a:schemeClr val="accent3"/>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477957">
                <a:tc vMerge="1">
                  <a:txBody>
                    <a:bodyPr/>
                    <a:lstStyle/>
                    <a:p>
                      <a:endParaRPr lang="en-US"/>
                    </a:p>
                  </a:txBody>
                  <a:tcPr/>
                </a:tc>
                <a:tc vMerge="1">
                  <a:txBody>
                    <a:bodyPr/>
                    <a:lstStyle/>
                    <a:p>
                      <a:endParaRPr lang="en-US" dirty="0"/>
                    </a:p>
                  </a:txBody>
                  <a:tcPr/>
                </a:tc>
                <a:tc>
                  <a:txBody>
                    <a:bodyPr/>
                    <a:lstStyle/>
                    <a:p>
                      <a:pPr defTabSz="825500">
                        <a:lnSpc>
                          <a:spcPct val="90000"/>
                        </a:lnSpc>
                        <a:defRPr sz="2400" b="1" cap="small">
                          <a:solidFill>
                            <a:srgbClr val="FFFFFF"/>
                          </a:solidFill>
                          <a:effectLst/>
                        </a:defRPr>
                      </a:pPr>
                      <a:r>
                        <a:rPr sz="2300" dirty="0">
                          <a:effectLst>
                            <a:outerShdw blurRad="38100" dist="38100" dir="2700000" algn="tl">
                              <a:srgbClr val="000000">
                                <a:alpha val="43137"/>
                              </a:srgbClr>
                            </a:outerShdw>
                          </a:effectLst>
                        </a:rPr>
                        <a:t>Budget</a:t>
                      </a:r>
                    </a:p>
                    <a:p>
                      <a:pPr defTabSz="825500">
                        <a:lnSpc>
                          <a:spcPct val="90000"/>
                        </a:lnSpc>
                        <a:defRPr sz="2400" b="1" cap="small">
                          <a:solidFill>
                            <a:srgbClr val="FFFFFF"/>
                          </a:solidFill>
                          <a:effectLst/>
                        </a:defRPr>
                      </a:pPr>
                      <a:r>
                        <a:rPr sz="2300" dirty="0">
                          <a:effectLst>
                            <a:outerShdw blurRad="38100" dist="38100" dir="2700000" algn="tl">
                              <a:srgbClr val="000000">
                                <a:alpha val="43137"/>
                              </a:srgbClr>
                            </a:outerShdw>
                          </a:effectLst>
                        </a:rPr>
                        <a:t>Jan – </a:t>
                      </a:r>
                      <a:r>
                        <a:rPr lang="en-GB" sz="2300" dirty="0">
                          <a:effectLst>
                            <a:outerShdw blurRad="38100" dist="38100" dir="2700000" algn="tl">
                              <a:srgbClr val="000000">
                                <a:alpha val="43137"/>
                              </a:srgbClr>
                            </a:outerShdw>
                          </a:effectLst>
                        </a:rPr>
                        <a:t>MAR</a:t>
                      </a:r>
                    </a:p>
                    <a:p>
                      <a:pPr defTabSz="825500">
                        <a:lnSpc>
                          <a:spcPct val="90000"/>
                        </a:lnSpc>
                        <a:defRPr sz="2400" b="1" cap="small">
                          <a:solidFill>
                            <a:srgbClr val="FFFFFF"/>
                          </a:solidFill>
                          <a:effectLst/>
                        </a:defRPr>
                      </a:pPr>
                      <a:r>
                        <a:rPr sz="2300" dirty="0">
                          <a:effectLst>
                            <a:outerShdw blurRad="38100" dist="38100" dir="2700000" algn="tl">
                              <a:srgbClr val="000000">
                                <a:alpha val="43137"/>
                              </a:srgbClr>
                            </a:outerShdw>
                          </a:effectLst>
                        </a:rPr>
                        <a:t>(₦’Mn)</a:t>
                      </a:r>
                    </a:p>
                  </a:txBody>
                  <a:tcPr marL="0" marR="0" marT="0" marB="0" anchor="ctr" horzOverflow="overflow">
                    <a:lnR w="38100">
                      <a:solidFill>
                        <a:srgbClr val="FFFFFF"/>
                      </a:solidFill>
                      <a:custDash>
                        <a:ds d="200000" sp="200000"/>
                      </a:custDash>
                      <a:miter lim="400000"/>
                    </a:lnR>
                    <a:lnT w="38100">
                      <a:solidFill>
                        <a:srgbClr val="FFFFFF"/>
                      </a:solidFill>
                      <a:custDash>
                        <a:ds d="200000" sp="200000"/>
                      </a:custDash>
                      <a:miter lim="400000"/>
                    </a:lnT>
                    <a:lnB w="38100" cap="flat" cmpd="sng" algn="ctr">
                      <a:solidFill>
                        <a:srgbClr val="A7A7A7"/>
                      </a:solidFill>
                      <a:custDash>
                        <a:ds d="200000" sp="200000"/>
                      </a:custDash>
                      <a:miter lim="400000"/>
                      <a:headEnd type="none" w="med" len="med"/>
                      <a:tailEnd type="none" w="med" len="med"/>
                    </a:lnB>
                    <a:solidFill>
                      <a:schemeClr val="accent3"/>
                    </a:solidFill>
                  </a:tcPr>
                </a:tc>
                <a:tc>
                  <a:txBody>
                    <a:bodyPr/>
                    <a:lstStyle/>
                    <a:p>
                      <a:pPr defTabSz="825500">
                        <a:lnSpc>
                          <a:spcPct val="90000"/>
                        </a:lnSpc>
                        <a:defRPr sz="2400" b="1" cap="small">
                          <a:solidFill>
                            <a:srgbClr val="FFFFFF"/>
                          </a:solidFill>
                          <a:effectLst/>
                        </a:defRPr>
                      </a:pPr>
                      <a:r>
                        <a:rPr lang="en-GB" sz="2300" dirty="0">
                          <a:effectLst>
                            <a:outerShdw blurRad="38100" dist="38100" dir="2700000" algn="tl">
                              <a:srgbClr val="000000">
                                <a:alpha val="43137"/>
                              </a:srgbClr>
                            </a:outerShdw>
                          </a:effectLst>
                        </a:rPr>
                        <a:t>Actual</a:t>
                      </a:r>
                      <a:endParaRPr sz="2300" dirty="0">
                        <a:effectLst>
                          <a:outerShdw blurRad="38100" dist="38100" dir="2700000" algn="tl">
                            <a:srgbClr val="000000">
                              <a:alpha val="43137"/>
                            </a:srgbClr>
                          </a:outerShdw>
                        </a:effectLst>
                      </a:endParaRPr>
                    </a:p>
                    <a:p>
                      <a:pPr defTabSz="825500">
                        <a:lnSpc>
                          <a:spcPct val="90000"/>
                        </a:lnSpc>
                        <a:defRPr sz="2400" b="1" cap="small">
                          <a:solidFill>
                            <a:srgbClr val="FFFFFF"/>
                          </a:solidFill>
                          <a:effectLst/>
                        </a:defRPr>
                      </a:pPr>
                      <a:r>
                        <a:rPr sz="2300" dirty="0">
                          <a:effectLst>
                            <a:outerShdw blurRad="38100" dist="38100" dir="2700000" algn="tl">
                              <a:srgbClr val="000000">
                                <a:alpha val="43137"/>
                              </a:srgbClr>
                            </a:outerShdw>
                          </a:effectLst>
                        </a:rPr>
                        <a:t>Jan </a:t>
                      </a:r>
                      <a:r>
                        <a:rPr lang="en-US" sz="2300" dirty="0">
                          <a:effectLst>
                            <a:outerShdw blurRad="38100" dist="38100" dir="2700000" algn="tl">
                              <a:srgbClr val="000000">
                                <a:alpha val="43137"/>
                              </a:srgbClr>
                            </a:outerShdw>
                          </a:effectLst>
                        </a:rPr>
                        <a:t>–</a:t>
                      </a:r>
                      <a:r>
                        <a:rPr sz="2300" dirty="0">
                          <a:effectLst>
                            <a:outerShdw blurRad="38100" dist="38100" dir="2700000" algn="tl">
                              <a:srgbClr val="000000">
                                <a:alpha val="43137"/>
                              </a:srgbClr>
                            </a:outerShdw>
                          </a:effectLst>
                        </a:rPr>
                        <a:t> </a:t>
                      </a:r>
                      <a:r>
                        <a:rPr lang="en-GB" sz="2300" dirty="0">
                          <a:effectLst>
                            <a:outerShdw blurRad="38100" dist="38100" dir="2700000" algn="tl">
                              <a:srgbClr val="000000">
                                <a:alpha val="43137"/>
                              </a:srgbClr>
                            </a:outerShdw>
                          </a:effectLst>
                        </a:rPr>
                        <a:t>MAR</a:t>
                      </a:r>
                      <a:endParaRPr sz="2300" dirty="0">
                        <a:effectLst>
                          <a:outerShdw blurRad="38100" dist="38100" dir="2700000" algn="tl">
                            <a:srgbClr val="000000">
                              <a:alpha val="43137"/>
                            </a:srgbClr>
                          </a:outerShdw>
                        </a:effectLst>
                      </a:endParaRPr>
                    </a:p>
                    <a:p>
                      <a:pPr defTabSz="825500">
                        <a:lnSpc>
                          <a:spcPct val="90000"/>
                        </a:lnSpc>
                        <a:defRPr sz="2400" b="1" cap="small">
                          <a:solidFill>
                            <a:srgbClr val="FFFFFF"/>
                          </a:solidFill>
                          <a:effectLst/>
                        </a:defRPr>
                      </a:pPr>
                      <a:r>
                        <a:rPr sz="2300" dirty="0">
                          <a:effectLst>
                            <a:outerShdw blurRad="38100" dist="38100" dir="2700000" algn="tl">
                              <a:srgbClr val="000000">
                                <a:alpha val="43137"/>
                              </a:srgbClr>
                            </a:outerShdw>
                          </a:effectLst>
                        </a:rPr>
                        <a:t>(₦’Mn)</a:t>
                      </a:r>
                    </a:p>
                  </a:txBody>
                  <a:tcPr marL="8633" marR="8633" marT="8633" marB="8633" anchor="ctr" horzOverflow="overflow">
                    <a:lnL w="38100">
                      <a:solidFill>
                        <a:srgbClr val="FFFFFF"/>
                      </a:solidFill>
                      <a:custDash>
                        <a:ds d="200000" sp="200000"/>
                      </a:custDash>
                      <a:miter lim="400000"/>
                    </a:lnL>
                    <a:lnR w="38100">
                      <a:solidFill>
                        <a:srgbClr val="FFFFFF"/>
                      </a:solidFill>
                      <a:custDash>
                        <a:ds d="200000" sp="200000"/>
                      </a:custDash>
                      <a:miter lim="400000"/>
                    </a:lnR>
                    <a:lnT w="38100">
                      <a:solidFill>
                        <a:srgbClr val="FFFFFF"/>
                      </a:solidFill>
                      <a:custDash>
                        <a:ds d="200000" sp="200000"/>
                      </a:custDash>
                      <a:miter lim="400000"/>
                    </a:lnT>
                    <a:lnB w="38100" cap="flat" cmpd="sng" algn="ctr">
                      <a:solidFill>
                        <a:srgbClr val="A7A7A7"/>
                      </a:solidFill>
                      <a:custDash>
                        <a:ds d="200000" sp="200000"/>
                      </a:custDash>
                      <a:miter lim="400000"/>
                      <a:headEnd type="none" w="med" len="med"/>
                      <a:tailEnd type="none" w="med" len="med"/>
                    </a:lnB>
                    <a:solidFill>
                      <a:schemeClr val="accent3"/>
                    </a:solidFill>
                  </a:tcPr>
                </a:tc>
                <a:tc>
                  <a:txBody>
                    <a:bodyPr/>
                    <a:lstStyle/>
                    <a:p>
                      <a:pPr defTabSz="825500">
                        <a:lnSpc>
                          <a:spcPct val="90000"/>
                        </a:lnSpc>
                        <a:defRPr sz="2400" b="1" cap="small">
                          <a:solidFill>
                            <a:srgbClr val="FFFFFF"/>
                          </a:solidFill>
                          <a:effectLst/>
                        </a:defRPr>
                      </a:pPr>
                      <a:r>
                        <a:rPr sz="2300" dirty="0">
                          <a:effectLst>
                            <a:outerShdw blurRad="38100" dist="38100" dir="2700000" algn="tl">
                              <a:srgbClr val="000000">
                                <a:alpha val="43137"/>
                              </a:srgbClr>
                            </a:outerShdw>
                          </a:effectLst>
                        </a:rPr>
                        <a:t>Perf.</a:t>
                      </a:r>
                    </a:p>
                    <a:p>
                      <a:pPr defTabSz="825500">
                        <a:lnSpc>
                          <a:spcPct val="90000"/>
                        </a:lnSpc>
                        <a:defRPr sz="2400" b="1" cap="small">
                          <a:solidFill>
                            <a:srgbClr val="FFFFFF"/>
                          </a:solidFill>
                          <a:effectLst/>
                        </a:defRPr>
                      </a:pPr>
                      <a:r>
                        <a:rPr sz="2300" dirty="0">
                          <a:effectLst>
                            <a:outerShdw blurRad="38100" dist="38100" dir="2700000" algn="tl">
                              <a:srgbClr val="000000">
                                <a:alpha val="43137"/>
                              </a:srgbClr>
                            </a:outerShdw>
                          </a:effectLst>
                        </a:rPr>
                        <a:t>(%)</a:t>
                      </a:r>
                    </a:p>
                  </a:txBody>
                  <a:tcPr marL="8633" marR="8633" marT="8633" marB="8633" anchor="ctr" horzOverflow="overflow">
                    <a:lnL w="38100">
                      <a:solidFill>
                        <a:srgbClr val="FFFFFF"/>
                      </a:solidFill>
                      <a:custDash>
                        <a:ds d="200000" sp="200000"/>
                      </a:custDash>
                      <a:miter lim="400000"/>
                    </a:lnL>
                    <a:lnR w="38100">
                      <a:solidFill>
                        <a:srgbClr val="FFFFFF"/>
                      </a:solidFill>
                      <a:custDash>
                        <a:ds d="200000" sp="200000"/>
                      </a:custDash>
                      <a:miter lim="400000"/>
                    </a:lnR>
                    <a:lnT w="38100">
                      <a:solidFill>
                        <a:srgbClr val="FFFFFF"/>
                      </a:solidFill>
                      <a:custDash>
                        <a:ds d="200000" sp="200000"/>
                      </a:custDash>
                      <a:miter lim="400000"/>
                    </a:lnT>
                    <a:lnB w="38100" cap="flat" cmpd="sng" algn="ctr">
                      <a:solidFill>
                        <a:srgbClr val="A7A7A7"/>
                      </a:solidFill>
                      <a:custDash>
                        <a:ds d="200000" sp="200000"/>
                      </a:custDash>
                      <a:miter lim="400000"/>
                      <a:headEnd type="none" w="med" len="med"/>
                      <a:tailEnd type="none" w="med" len="med"/>
                    </a:lnB>
                    <a:solidFill>
                      <a:schemeClr val="accent3"/>
                    </a:solidFill>
                  </a:tcPr>
                </a:tc>
                <a:extLst>
                  <a:ext uri="{0D108BD9-81ED-4DB2-BD59-A6C34878D82A}">
                    <a16:rowId xmlns:a16="http://schemas.microsoft.com/office/drawing/2014/main" val="10001"/>
                  </a:ext>
                </a:extLst>
              </a:tr>
              <a:tr h="456173">
                <a:tc>
                  <a:txBody>
                    <a:bodyPr/>
                    <a:lstStyle/>
                    <a:p>
                      <a:pPr marL="88900" indent="0" algn="l" defTabSz="825500">
                        <a:buSzPct val="100000"/>
                        <a:buNone/>
                        <a:defRPr sz="2400" b="1">
                          <a:effectLst/>
                          <a:latin typeface="+mn-lt"/>
                          <a:ea typeface="+mn-ea"/>
                          <a:cs typeface="+mn-cs"/>
                          <a:sym typeface="Helvetica Neue"/>
                        </a:defRPr>
                      </a:pPr>
                      <a:r>
                        <a:rPr lang="en-US" sz="2300" b="1" dirty="0">
                          <a:latin typeface="Trebuchet MS" panose="020B0603020202020204" pitchFamily="34" charset="0"/>
                        </a:rPr>
                        <a:t>Opening Balance</a:t>
                      </a:r>
                      <a:endParaRPr sz="2300" b="1" dirty="0">
                        <a:latin typeface="Trebuchet MS" panose="020B0603020202020204" pitchFamily="34" charset="0"/>
                      </a:endParaRPr>
                    </a:p>
                  </a:txBody>
                  <a:tcPr marL="9290" marR="9290" marT="9290" marB="9290" anchor="ctr" horzOverflow="overflow">
                    <a:lnL w="12700">
                      <a:miter lim="400000"/>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solidFill>
                      <a:srgbClr val="22C00F"/>
                    </a:solidFill>
                  </a:tcPr>
                </a:tc>
                <a:tc>
                  <a:txBody>
                    <a:bodyPr/>
                    <a:lstStyle/>
                    <a:p>
                      <a:pPr lvl="8" algn="ctr">
                        <a:defRPr sz="1800">
                          <a:effectLst/>
                        </a:defRPr>
                      </a:pPr>
                      <a:r>
                        <a:rPr lang="en-US" sz="2300" b="1" dirty="0">
                          <a:latin typeface="Trebuchet MS" panose="020B0603020202020204" pitchFamily="34" charset="0"/>
                        </a:rPr>
                        <a:t>8,500</a:t>
                      </a:r>
                      <a:endParaRPr sz="2300" b="1" dirty="0">
                        <a:latin typeface="Trebuchet MS" panose="020B0603020202020204" pitchFamily="34" charset="0"/>
                      </a:endParaRPr>
                    </a:p>
                  </a:txBody>
                  <a:tcPr marL="7194" marR="7194" marT="7194" marB="7194"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tcPr>
                </a:tc>
                <a:tc>
                  <a:txBody>
                    <a:bodyPr/>
                    <a:lstStyle/>
                    <a:p>
                      <a:pPr lvl="8" algn="ctr">
                        <a:defRPr sz="1800">
                          <a:effectLst/>
                        </a:defRPr>
                      </a:pPr>
                      <a:r>
                        <a:rPr lang="en-US" sz="2300" b="1" dirty="0">
                          <a:latin typeface="Trebuchet MS" panose="020B0603020202020204" pitchFamily="34" charset="0"/>
                        </a:rPr>
                        <a:t>2,125</a:t>
                      </a:r>
                      <a:endParaRPr sz="2300" b="1" dirty="0">
                        <a:latin typeface="Trebuchet MS" panose="020B0603020202020204" pitchFamily="34" charset="0"/>
                      </a:endParaRPr>
                    </a:p>
                  </a:txBody>
                  <a:tcPr marL="7194" marR="7194" marT="7194" marB="7194"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tcPr>
                </a:tc>
                <a:tc>
                  <a:txBody>
                    <a:bodyPr/>
                    <a:lstStyle/>
                    <a:p>
                      <a:pPr algn="ctr" fontAlgn="b"/>
                      <a:r>
                        <a:rPr lang="en-GB" sz="2300" b="1" i="0" u="none" strike="noStrike" dirty="0">
                          <a:solidFill>
                            <a:srgbClr val="000000"/>
                          </a:solidFill>
                          <a:effectLst/>
                          <a:latin typeface="Trebuchet MS" panose="020B0603020202020204" pitchFamily="34" charset="0"/>
                        </a:rPr>
                        <a:t>8,500</a:t>
                      </a:r>
                    </a:p>
                  </a:txBody>
                  <a:tcPr marL="7194" marR="7194" marT="7194" marB="0" anchor="ctr">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tcPr>
                </a:tc>
                <a:tc>
                  <a:txBody>
                    <a:bodyPr/>
                    <a:lstStyle/>
                    <a:p>
                      <a:pPr algn="ctr" fontAlgn="b"/>
                      <a:r>
                        <a:rPr lang="en-GB" sz="2300" b="1" i="0" u="none" strike="noStrike" dirty="0">
                          <a:solidFill>
                            <a:srgbClr val="000000"/>
                          </a:solidFill>
                          <a:effectLst/>
                          <a:latin typeface="Trebuchet MS" panose="020B0603020202020204" pitchFamily="34" charset="0"/>
                        </a:rPr>
                        <a:t>400</a:t>
                      </a:r>
                    </a:p>
                  </a:txBody>
                  <a:tcPr marL="7194" marR="7194" marT="7194"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solidFill>
                      <a:srgbClr val="22C00F"/>
                    </a:solidFill>
                  </a:tcPr>
                </a:tc>
                <a:extLst>
                  <a:ext uri="{0D108BD9-81ED-4DB2-BD59-A6C34878D82A}">
                    <a16:rowId xmlns:a16="http://schemas.microsoft.com/office/drawing/2014/main" val="10012"/>
                  </a:ext>
                </a:extLst>
              </a:tr>
              <a:tr h="456173">
                <a:tc>
                  <a:txBody>
                    <a:bodyPr/>
                    <a:lstStyle/>
                    <a:p>
                      <a:pPr marL="489952" indent="-401052" algn="l" defTabSz="825500">
                        <a:buSzPct val="100000"/>
                        <a:buAutoNum type="alphaUcPeriod"/>
                        <a:defRPr sz="2400" b="1">
                          <a:effectLst/>
                          <a:latin typeface="+mn-lt"/>
                          <a:ea typeface="+mn-ea"/>
                          <a:cs typeface="+mn-cs"/>
                          <a:sym typeface="Helvetica Neue"/>
                        </a:defRPr>
                      </a:pPr>
                      <a:r>
                        <a:rPr sz="2300" b="1" dirty="0">
                          <a:latin typeface="Trebuchet MS" panose="020B0603020202020204" pitchFamily="34" charset="0"/>
                        </a:rPr>
                        <a:t>REVENUE </a:t>
                      </a:r>
                      <a:r>
                        <a:rPr lang="en-US" sz="2300" b="1" dirty="0">
                          <a:latin typeface="Trebuchet MS" panose="020B0603020202020204" pitchFamily="34" charset="0"/>
                        </a:rPr>
                        <a:t>AND</a:t>
                      </a:r>
                      <a:r>
                        <a:rPr lang="en-US" sz="2300" b="1" baseline="0" dirty="0">
                          <a:latin typeface="Trebuchet MS" panose="020B0603020202020204" pitchFamily="34" charset="0"/>
                        </a:rPr>
                        <a:t> GRANTS</a:t>
                      </a:r>
                      <a:endParaRPr sz="2300" b="1" dirty="0">
                        <a:latin typeface="Trebuchet MS" panose="020B0603020202020204" pitchFamily="34" charset="0"/>
                      </a:endParaRPr>
                    </a:p>
                  </a:txBody>
                  <a:tcPr marL="9290" marR="9290" marT="9290" marB="9290" anchor="ctr" horzOverflow="overflow">
                    <a:lnL w="12700">
                      <a:miter lim="400000"/>
                    </a:lnL>
                    <a:lnR w="38100">
                      <a:solidFill>
                        <a:srgbClr val="A7A7A7"/>
                      </a:solidFill>
                      <a:custDash>
                        <a:ds d="200000" sp="200000"/>
                      </a:custDash>
                      <a:miter lim="400000"/>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solidFill>
                      <a:srgbClr val="22C00F"/>
                    </a:solidFill>
                  </a:tcPr>
                </a:tc>
                <a:tc>
                  <a:txBody>
                    <a:bodyPr/>
                    <a:lstStyle/>
                    <a:p>
                      <a:pPr lvl="8" algn="ctr">
                        <a:defRPr sz="1800">
                          <a:effectLst/>
                        </a:defRPr>
                      </a:pPr>
                      <a:r>
                        <a:rPr lang="en-US" sz="2300" b="1" dirty="0">
                          <a:latin typeface="Trebuchet MS" panose="020B0603020202020204" pitchFamily="34" charset="0"/>
                        </a:rPr>
                        <a:t>971,028</a:t>
                      </a:r>
                      <a:endParaRPr sz="2300" b="1" dirty="0">
                        <a:latin typeface="Trebuchet MS" panose="020B0603020202020204" pitchFamily="34" charset="0"/>
                      </a:endParaRPr>
                    </a:p>
                  </a:txBody>
                  <a:tcPr marL="7194" marR="7194" marT="7194" marB="7194"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B w="38100" cap="flat" cmpd="sng" algn="ctr">
                      <a:solidFill>
                        <a:srgbClr val="A7A7A7"/>
                      </a:solidFill>
                      <a:custDash>
                        <a:ds d="200000" sp="200000"/>
                      </a:custDash>
                      <a:miter lim="400000"/>
                      <a:headEnd type="none" w="med" len="med"/>
                      <a:tailEnd type="none" w="med" len="med"/>
                    </a:lnB>
                  </a:tcPr>
                </a:tc>
                <a:tc>
                  <a:txBody>
                    <a:bodyPr/>
                    <a:lstStyle/>
                    <a:p>
                      <a:pPr lvl="8" algn="ctr">
                        <a:defRPr sz="1800">
                          <a:effectLst/>
                        </a:defRPr>
                      </a:pPr>
                      <a:r>
                        <a:rPr lang="en-US" sz="2300" b="1" dirty="0">
                          <a:latin typeface="Trebuchet MS" panose="020B0603020202020204" pitchFamily="34" charset="0"/>
                        </a:rPr>
                        <a:t>242,757</a:t>
                      </a:r>
                      <a:endParaRPr sz="2300" b="1" dirty="0">
                        <a:latin typeface="Trebuchet MS" panose="020B0603020202020204" pitchFamily="34" charset="0"/>
                      </a:endParaRPr>
                    </a:p>
                  </a:txBody>
                  <a:tcPr marL="7194" marR="7194" marT="7194" marB="7194"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tcPr>
                </a:tc>
                <a:tc>
                  <a:txBody>
                    <a:bodyPr/>
                    <a:lstStyle/>
                    <a:p>
                      <a:pPr algn="ctr" fontAlgn="b"/>
                      <a:r>
                        <a:rPr lang="en-GB" sz="2300" b="1" i="0" u="none" strike="noStrike" dirty="0">
                          <a:solidFill>
                            <a:srgbClr val="000000"/>
                          </a:solidFill>
                          <a:effectLst/>
                          <a:latin typeface="Trebuchet MS" panose="020B0603020202020204" pitchFamily="34" charset="0"/>
                        </a:rPr>
                        <a:t>184,295</a:t>
                      </a:r>
                    </a:p>
                  </a:txBody>
                  <a:tcPr marL="7194" marR="7194" marT="7194"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tcPr>
                </a:tc>
                <a:tc>
                  <a:txBody>
                    <a:bodyPr/>
                    <a:lstStyle/>
                    <a:p>
                      <a:pPr algn="ctr" fontAlgn="b"/>
                      <a:r>
                        <a:rPr lang="en-GB" sz="2300" b="1" i="0" u="none" strike="noStrike" dirty="0">
                          <a:solidFill>
                            <a:srgbClr val="000000"/>
                          </a:solidFill>
                          <a:effectLst/>
                          <a:latin typeface="Trebuchet MS" panose="020B0603020202020204" pitchFamily="34" charset="0"/>
                        </a:rPr>
                        <a:t>76</a:t>
                      </a:r>
                    </a:p>
                  </a:txBody>
                  <a:tcPr marL="7194" marR="7194" marT="7194"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solidFill>
                      <a:srgbClr val="FFC000"/>
                    </a:solidFill>
                  </a:tcPr>
                </a:tc>
                <a:extLst>
                  <a:ext uri="{0D108BD9-81ED-4DB2-BD59-A6C34878D82A}">
                    <a16:rowId xmlns:a16="http://schemas.microsoft.com/office/drawing/2014/main" val="10002"/>
                  </a:ext>
                </a:extLst>
              </a:tr>
              <a:tr h="456173">
                <a:tc>
                  <a:txBody>
                    <a:bodyPr/>
                    <a:lstStyle/>
                    <a:p>
                      <a:pPr marL="546100" indent="-457200" algn="l" defTabSz="825500">
                        <a:buSzPct val="100000"/>
                        <a:buFont typeface="+mj-lt"/>
                        <a:buAutoNum type="alphaUcPeriod" startAt="2"/>
                        <a:defRPr sz="2400" b="1">
                          <a:effectLst/>
                          <a:latin typeface="+mn-lt"/>
                          <a:ea typeface="+mn-ea"/>
                          <a:cs typeface="+mn-cs"/>
                          <a:sym typeface="Helvetica Neue"/>
                        </a:defRPr>
                      </a:pPr>
                      <a:r>
                        <a:rPr sz="2300" b="1" dirty="0">
                          <a:latin typeface="Trebuchet MS" panose="020B0603020202020204" pitchFamily="34" charset="0"/>
                        </a:rPr>
                        <a:t>Federal Transfers</a:t>
                      </a:r>
                    </a:p>
                  </a:txBody>
                  <a:tcPr marL="9290" marR="9290" marT="9290" marB="9290" anchor="ctr" horzOverflow="overflow">
                    <a:lnL w="12700">
                      <a:miter lim="400000"/>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solidFill>
                      <a:srgbClr val="D9D9D9"/>
                    </a:solidFill>
                  </a:tcPr>
                </a:tc>
                <a:tc>
                  <a:txBody>
                    <a:bodyPr/>
                    <a:lstStyle/>
                    <a:p>
                      <a:pPr lvl="8" algn="ctr">
                        <a:defRPr sz="1800">
                          <a:effectLst/>
                        </a:defRPr>
                      </a:pPr>
                      <a:r>
                        <a:rPr lang="en-US" sz="2300" b="1" dirty="0">
                          <a:latin typeface="Trebuchet MS" panose="020B0603020202020204" pitchFamily="34" charset="0"/>
                        </a:rPr>
                        <a:t>175,400</a:t>
                      </a:r>
                      <a:endParaRPr sz="2300" b="1" dirty="0">
                        <a:latin typeface="Trebuchet MS" panose="020B0603020202020204" pitchFamily="34" charset="0"/>
                      </a:endParaRPr>
                    </a:p>
                  </a:txBody>
                  <a:tcPr marL="7194" marR="7194" marT="7194" marB="7194"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lvl="8" algn="ctr">
                        <a:defRPr sz="1800">
                          <a:effectLst/>
                        </a:defRPr>
                      </a:pPr>
                      <a:r>
                        <a:rPr lang="en-US" sz="2300" b="1" dirty="0">
                          <a:latin typeface="Trebuchet MS" panose="020B0603020202020204" pitchFamily="34" charset="0"/>
                        </a:rPr>
                        <a:t>43,850</a:t>
                      </a:r>
                      <a:endParaRPr sz="2300" b="1" dirty="0">
                        <a:latin typeface="Trebuchet MS" panose="020B0603020202020204" pitchFamily="34" charset="0"/>
                      </a:endParaRPr>
                    </a:p>
                  </a:txBody>
                  <a:tcPr marL="7194" marR="7194" marT="7194" marB="7194"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tcPr>
                </a:tc>
                <a:tc>
                  <a:txBody>
                    <a:bodyPr/>
                    <a:lstStyle/>
                    <a:p>
                      <a:pPr algn="ctr" fontAlgn="b"/>
                      <a:r>
                        <a:rPr lang="en-GB" sz="2300" b="1" i="0" u="none" strike="noStrike" dirty="0">
                          <a:solidFill>
                            <a:srgbClr val="000000"/>
                          </a:solidFill>
                          <a:effectLst/>
                          <a:latin typeface="Trebuchet MS" panose="020B0603020202020204" pitchFamily="34" charset="0"/>
                        </a:rPr>
                        <a:t>44,452</a:t>
                      </a:r>
                    </a:p>
                  </a:txBody>
                  <a:tcPr marL="7194" marR="7194" marT="7194" marB="0" anchor="ctr">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tcPr>
                </a:tc>
                <a:tc>
                  <a:txBody>
                    <a:bodyPr/>
                    <a:lstStyle/>
                    <a:p>
                      <a:pPr algn="ctr" fontAlgn="b"/>
                      <a:r>
                        <a:rPr lang="en-GB" sz="2300" b="1" i="0" u="none" strike="noStrike" dirty="0">
                          <a:solidFill>
                            <a:srgbClr val="000000"/>
                          </a:solidFill>
                          <a:effectLst/>
                          <a:latin typeface="Trebuchet MS" panose="020B0603020202020204" pitchFamily="34" charset="0"/>
                        </a:rPr>
                        <a:t>101</a:t>
                      </a:r>
                    </a:p>
                  </a:txBody>
                  <a:tcPr marL="7194" marR="7194" marT="7194"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solidFill>
                      <a:srgbClr val="22C00F"/>
                    </a:solidFill>
                  </a:tcPr>
                </a:tc>
                <a:extLst>
                  <a:ext uri="{0D108BD9-81ED-4DB2-BD59-A6C34878D82A}">
                    <a16:rowId xmlns:a16="http://schemas.microsoft.com/office/drawing/2014/main" val="10013"/>
                  </a:ext>
                </a:extLst>
              </a:tr>
              <a:tr h="456173">
                <a:tc>
                  <a:txBody>
                    <a:bodyPr/>
                    <a:lstStyle/>
                    <a:p>
                      <a:pPr marL="909051" indent="-401051" algn="l" defTabSz="825500">
                        <a:buSzPct val="100000"/>
                        <a:buAutoNum type="romanLcPeriod"/>
                        <a:defRPr sz="2400" b="1">
                          <a:effectLst/>
                          <a:latin typeface="+mn-lt"/>
                          <a:ea typeface="+mn-ea"/>
                          <a:cs typeface="+mn-cs"/>
                          <a:sym typeface="Helvetica Neue"/>
                        </a:defRPr>
                      </a:pPr>
                      <a:r>
                        <a:rPr sz="2300" b="1" dirty="0">
                          <a:latin typeface="Trebuchet MS" panose="020B0603020202020204" pitchFamily="34" charset="0"/>
                        </a:rPr>
                        <a:t>Statutory Allocation</a:t>
                      </a:r>
                    </a:p>
                  </a:txBody>
                  <a:tcPr marL="9290" marR="9290" marT="9290" marB="9290" anchor="ctr" horzOverflow="overflow">
                    <a:lnL w="12700">
                      <a:miter lim="400000"/>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solidFill>
                      <a:srgbClr val="D9D9D9"/>
                    </a:solidFill>
                  </a:tcPr>
                </a:tc>
                <a:tc>
                  <a:txBody>
                    <a:bodyPr/>
                    <a:lstStyle/>
                    <a:p>
                      <a:pPr lvl="8" algn="ctr">
                        <a:defRPr sz="1800">
                          <a:effectLst/>
                        </a:defRPr>
                      </a:pPr>
                      <a:r>
                        <a:rPr lang="en-US" sz="2300" b="1" dirty="0">
                          <a:latin typeface="Trebuchet MS" panose="020B0603020202020204" pitchFamily="34" charset="0"/>
                        </a:rPr>
                        <a:t>55,000</a:t>
                      </a:r>
                      <a:endParaRPr sz="2300" b="1" dirty="0">
                        <a:latin typeface="Trebuchet MS" panose="020B0603020202020204" pitchFamily="34" charset="0"/>
                      </a:endParaRPr>
                    </a:p>
                  </a:txBody>
                  <a:tcPr marL="7194" marR="7194" marT="7194" marB="7194"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lvl="8" algn="ctr">
                        <a:defRPr sz="1800">
                          <a:effectLst/>
                        </a:defRPr>
                      </a:pPr>
                      <a:r>
                        <a:rPr lang="en-US" sz="2300" b="1" dirty="0">
                          <a:latin typeface="Trebuchet MS" panose="020B0603020202020204" pitchFamily="34" charset="0"/>
                        </a:rPr>
                        <a:t>13,750</a:t>
                      </a:r>
                      <a:endParaRPr sz="2300" b="1" dirty="0">
                        <a:latin typeface="Trebuchet MS" panose="020B0603020202020204" pitchFamily="34" charset="0"/>
                      </a:endParaRPr>
                    </a:p>
                  </a:txBody>
                  <a:tcPr marL="7194" marR="7194" marT="7194" marB="7194"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tcPr>
                </a:tc>
                <a:tc>
                  <a:txBody>
                    <a:bodyPr/>
                    <a:lstStyle/>
                    <a:p>
                      <a:pPr algn="ctr" fontAlgn="b"/>
                      <a:r>
                        <a:rPr lang="en-GB" sz="2300" b="1" i="0" u="none" strike="noStrike" dirty="0">
                          <a:solidFill>
                            <a:srgbClr val="000000"/>
                          </a:solidFill>
                          <a:effectLst/>
                          <a:latin typeface="Trebuchet MS" panose="020B0603020202020204" pitchFamily="34" charset="0"/>
                        </a:rPr>
                        <a:t>10,276</a:t>
                      </a:r>
                    </a:p>
                  </a:txBody>
                  <a:tcPr marL="7194" marR="7194" marT="7194" marB="0" anchor="ctr">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tcPr>
                </a:tc>
                <a:tc>
                  <a:txBody>
                    <a:bodyPr/>
                    <a:lstStyle/>
                    <a:p>
                      <a:pPr algn="ctr" fontAlgn="b"/>
                      <a:r>
                        <a:rPr lang="en-GB" sz="2300" b="1" i="0" u="none" strike="noStrike" dirty="0">
                          <a:solidFill>
                            <a:srgbClr val="000000"/>
                          </a:solidFill>
                          <a:effectLst/>
                          <a:latin typeface="Trebuchet MS" panose="020B0603020202020204" pitchFamily="34" charset="0"/>
                        </a:rPr>
                        <a:t>75</a:t>
                      </a:r>
                    </a:p>
                  </a:txBody>
                  <a:tcPr marL="7194" marR="7194" marT="7194"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solidFill>
                      <a:srgbClr val="FFC000"/>
                    </a:solidFill>
                  </a:tcPr>
                </a:tc>
                <a:extLst>
                  <a:ext uri="{0D108BD9-81ED-4DB2-BD59-A6C34878D82A}">
                    <a16:rowId xmlns:a16="http://schemas.microsoft.com/office/drawing/2014/main" val="10015"/>
                  </a:ext>
                </a:extLst>
              </a:tr>
              <a:tr h="456173">
                <a:tc>
                  <a:txBody>
                    <a:bodyPr/>
                    <a:lstStyle/>
                    <a:p>
                      <a:pPr marL="1022350" indent="-514350" algn="l" defTabSz="825500">
                        <a:buSzPct val="100000"/>
                        <a:buFont typeface="+mj-lt"/>
                        <a:buAutoNum type="romanLcPeriod" startAt="2"/>
                        <a:defRPr sz="2400" b="1">
                          <a:effectLst/>
                          <a:latin typeface="+mn-lt"/>
                          <a:ea typeface="+mn-ea"/>
                          <a:cs typeface="+mn-cs"/>
                          <a:sym typeface="Helvetica Neue"/>
                        </a:defRPr>
                      </a:pPr>
                      <a:r>
                        <a:rPr sz="2300" b="1" dirty="0">
                          <a:latin typeface="Trebuchet MS" panose="020B0603020202020204" pitchFamily="34" charset="0"/>
                        </a:rPr>
                        <a:t>13% Derivation</a:t>
                      </a:r>
                    </a:p>
                  </a:txBody>
                  <a:tcPr marL="9290" marR="9290" marT="9290" marB="9290" anchor="ctr" horzOverflow="overflow">
                    <a:lnL w="12700">
                      <a:miter lim="400000"/>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solidFill>
                      <a:srgbClr val="D9D9D9"/>
                    </a:solidFill>
                  </a:tcPr>
                </a:tc>
                <a:tc>
                  <a:txBody>
                    <a:bodyPr/>
                    <a:lstStyle/>
                    <a:p>
                      <a:pPr lvl="8" algn="ctr">
                        <a:defRPr sz="1800">
                          <a:effectLst/>
                        </a:defRPr>
                      </a:pPr>
                      <a:r>
                        <a:rPr lang="en-US" sz="2300" b="1" dirty="0">
                          <a:latin typeface="Trebuchet MS" panose="020B0603020202020204" pitchFamily="34" charset="0"/>
                        </a:rPr>
                        <a:t>100</a:t>
                      </a:r>
                      <a:endParaRPr sz="2300" b="1" dirty="0">
                        <a:latin typeface="Trebuchet MS" panose="020B0603020202020204" pitchFamily="34" charset="0"/>
                      </a:endParaRPr>
                    </a:p>
                  </a:txBody>
                  <a:tcPr marL="7194" marR="7194" marT="7194" marB="7194"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lvl="8" algn="ctr">
                        <a:defRPr sz="1800">
                          <a:effectLst/>
                        </a:defRPr>
                      </a:pPr>
                      <a:r>
                        <a:rPr lang="en-US" sz="2300" b="1" dirty="0">
                          <a:latin typeface="Trebuchet MS" panose="020B0603020202020204" pitchFamily="34" charset="0"/>
                        </a:rPr>
                        <a:t>25</a:t>
                      </a:r>
                      <a:endParaRPr sz="2300" b="1" dirty="0">
                        <a:latin typeface="Trebuchet MS" panose="020B0603020202020204" pitchFamily="34" charset="0"/>
                      </a:endParaRPr>
                    </a:p>
                  </a:txBody>
                  <a:tcPr marL="7194" marR="7194" marT="7194" marB="7194"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tcPr>
                </a:tc>
                <a:tc>
                  <a:txBody>
                    <a:bodyPr/>
                    <a:lstStyle/>
                    <a:p>
                      <a:pPr algn="ctr" fontAlgn="b"/>
                      <a:r>
                        <a:rPr lang="en-GB" sz="2300" b="1" i="0" u="none" strike="noStrike" dirty="0">
                          <a:solidFill>
                            <a:srgbClr val="000000"/>
                          </a:solidFill>
                          <a:effectLst/>
                          <a:latin typeface="Trebuchet MS" panose="020B0603020202020204" pitchFamily="34" charset="0"/>
                        </a:rPr>
                        <a:t>-</a:t>
                      </a:r>
                    </a:p>
                  </a:txBody>
                  <a:tcPr marL="7194" marR="7194" marT="7194" marB="0" anchor="ctr">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tcPr>
                </a:tc>
                <a:tc>
                  <a:txBody>
                    <a:bodyPr/>
                    <a:lstStyle/>
                    <a:p>
                      <a:pPr algn="ctr" fontAlgn="b"/>
                      <a:r>
                        <a:rPr lang="en-GB" sz="2300" b="1" i="0" u="none" strike="noStrike" dirty="0">
                          <a:solidFill>
                            <a:srgbClr val="000000"/>
                          </a:solidFill>
                          <a:effectLst/>
                          <a:latin typeface="Trebuchet MS" panose="020B0603020202020204" pitchFamily="34" charset="0"/>
                        </a:rPr>
                        <a:t>0</a:t>
                      </a:r>
                    </a:p>
                  </a:txBody>
                  <a:tcPr marL="7194" marR="7194" marT="7194"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solidFill>
                      <a:srgbClr val="FF0000"/>
                    </a:solidFill>
                  </a:tcPr>
                </a:tc>
                <a:extLst>
                  <a:ext uri="{0D108BD9-81ED-4DB2-BD59-A6C34878D82A}">
                    <a16:rowId xmlns:a16="http://schemas.microsoft.com/office/drawing/2014/main" val="10016"/>
                  </a:ext>
                </a:extLst>
              </a:tr>
              <a:tr h="456173">
                <a:tc>
                  <a:txBody>
                    <a:bodyPr/>
                    <a:lstStyle/>
                    <a:p>
                      <a:pPr marL="909051" indent="-401051" algn="l" defTabSz="825500">
                        <a:buSzPct val="100000"/>
                        <a:buAutoNum type="romanLcPeriod" startAt="3"/>
                        <a:defRPr sz="2400" b="1">
                          <a:effectLst/>
                          <a:latin typeface="+mn-lt"/>
                          <a:ea typeface="+mn-ea"/>
                          <a:cs typeface="+mn-cs"/>
                          <a:sym typeface="Helvetica Neue"/>
                        </a:defRPr>
                      </a:pPr>
                      <a:r>
                        <a:rPr lang="en-US" sz="2300" b="1" dirty="0">
                          <a:latin typeface="Trebuchet MS" panose="020B0603020202020204" pitchFamily="34" charset="0"/>
                        </a:rPr>
                        <a:t>Other FAAC Transfer</a:t>
                      </a:r>
                      <a:endParaRPr sz="2300" b="1" dirty="0">
                        <a:latin typeface="Trebuchet MS" panose="020B0603020202020204" pitchFamily="34" charset="0"/>
                      </a:endParaRPr>
                    </a:p>
                  </a:txBody>
                  <a:tcPr marL="9290" marR="9290" marT="9290" marB="9290" anchor="ctr" horzOverflow="overflow">
                    <a:lnL w="12700">
                      <a:miter lim="400000"/>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solidFill>
                      <a:srgbClr val="D9D9D9"/>
                    </a:solidFill>
                  </a:tcPr>
                </a:tc>
                <a:tc>
                  <a:txBody>
                    <a:bodyPr/>
                    <a:lstStyle/>
                    <a:p>
                      <a:pPr lvl="8" algn="ctr">
                        <a:defRPr sz="1800">
                          <a:effectLst/>
                        </a:defRPr>
                      </a:pPr>
                      <a:r>
                        <a:rPr lang="en-US" sz="2300" b="1" dirty="0">
                          <a:latin typeface="Trebuchet MS" panose="020B0603020202020204" pitchFamily="34" charset="0"/>
                        </a:rPr>
                        <a:t>300</a:t>
                      </a:r>
                      <a:endParaRPr sz="2300" b="1" dirty="0">
                        <a:latin typeface="Trebuchet MS" panose="020B0603020202020204" pitchFamily="34" charset="0"/>
                      </a:endParaRPr>
                    </a:p>
                  </a:txBody>
                  <a:tcPr marL="7194" marR="7194" marT="7194" marB="7194"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lvl="8" algn="ctr">
                        <a:defRPr sz="1800">
                          <a:effectLst/>
                        </a:defRPr>
                      </a:pPr>
                      <a:r>
                        <a:rPr lang="en-US" sz="2300" b="1" dirty="0">
                          <a:latin typeface="Trebuchet MS" panose="020B0603020202020204" pitchFamily="34" charset="0"/>
                        </a:rPr>
                        <a:t>75</a:t>
                      </a:r>
                      <a:endParaRPr sz="2300" b="1" dirty="0">
                        <a:latin typeface="Trebuchet MS" panose="020B0603020202020204" pitchFamily="34" charset="0"/>
                      </a:endParaRPr>
                    </a:p>
                  </a:txBody>
                  <a:tcPr marL="7194" marR="7194" marT="7194" marB="7194"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algn="ctr" fontAlgn="b"/>
                      <a:r>
                        <a:rPr lang="en-GB" sz="2300" b="1" i="0" u="none" strike="noStrike" dirty="0">
                          <a:solidFill>
                            <a:srgbClr val="000000"/>
                          </a:solidFill>
                          <a:effectLst/>
                          <a:latin typeface="Trebuchet MS" panose="020B0603020202020204" pitchFamily="34" charset="0"/>
                        </a:rPr>
                        <a:t>164</a:t>
                      </a:r>
                    </a:p>
                  </a:txBody>
                  <a:tcPr marL="7194" marR="7194" marT="7194" marB="0" anchor="ctr">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algn="ctr" fontAlgn="b"/>
                      <a:r>
                        <a:rPr lang="en-GB" sz="2300" b="1" i="0" u="none" strike="noStrike" dirty="0">
                          <a:solidFill>
                            <a:srgbClr val="000000"/>
                          </a:solidFill>
                          <a:effectLst/>
                          <a:latin typeface="Trebuchet MS" panose="020B0603020202020204" pitchFamily="34" charset="0"/>
                        </a:rPr>
                        <a:t>219</a:t>
                      </a:r>
                    </a:p>
                  </a:txBody>
                  <a:tcPr marL="7194" marR="7194" marT="7194"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solidFill>
                      <a:srgbClr val="22C00F"/>
                    </a:solidFill>
                  </a:tcPr>
                </a:tc>
                <a:extLst>
                  <a:ext uri="{0D108BD9-81ED-4DB2-BD59-A6C34878D82A}">
                    <a16:rowId xmlns:a16="http://schemas.microsoft.com/office/drawing/2014/main" val="10017"/>
                  </a:ext>
                </a:extLst>
              </a:tr>
              <a:tr h="456173">
                <a:tc>
                  <a:txBody>
                    <a:bodyPr/>
                    <a:lstStyle/>
                    <a:p>
                      <a:pPr marL="1022350" indent="-514350" algn="l" defTabSz="825500">
                        <a:buSzPct val="100000"/>
                        <a:buFont typeface="+mj-lt"/>
                        <a:buAutoNum type="romanLcPeriod" startAt="4"/>
                        <a:defRPr sz="2400" b="1">
                          <a:effectLst/>
                          <a:latin typeface="+mn-lt"/>
                          <a:ea typeface="+mn-ea"/>
                          <a:cs typeface="+mn-cs"/>
                          <a:sym typeface="Helvetica Neue"/>
                        </a:defRPr>
                      </a:pPr>
                      <a:r>
                        <a:rPr sz="2300" b="1" dirty="0">
                          <a:latin typeface="Trebuchet MS" panose="020B0603020202020204" pitchFamily="34" charset="0"/>
                        </a:rPr>
                        <a:t>Value Added Tax</a:t>
                      </a:r>
                    </a:p>
                  </a:txBody>
                  <a:tcPr marL="9290" marR="9290" marT="9290" marB="9290" anchor="ctr" horzOverflow="overflow">
                    <a:lnL w="12700">
                      <a:miter lim="400000"/>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solidFill>
                      <a:srgbClr val="D9D9D9"/>
                    </a:solidFill>
                  </a:tcPr>
                </a:tc>
                <a:tc>
                  <a:txBody>
                    <a:bodyPr/>
                    <a:lstStyle/>
                    <a:p>
                      <a:pPr lvl="8" algn="ctr">
                        <a:defRPr sz="1800">
                          <a:effectLst/>
                        </a:defRPr>
                      </a:pPr>
                      <a:r>
                        <a:rPr lang="en-US" sz="2300" b="1" dirty="0">
                          <a:latin typeface="Trebuchet MS" panose="020B0603020202020204" pitchFamily="34" charset="0"/>
                        </a:rPr>
                        <a:t>120,000</a:t>
                      </a:r>
                      <a:endParaRPr sz="2300" b="1" dirty="0">
                        <a:latin typeface="Trebuchet MS" panose="020B0603020202020204" pitchFamily="34" charset="0"/>
                      </a:endParaRPr>
                    </a:p>
                  </a:txBody>
                  <a:tcPr marL="7194" marR="7194" marT="7194" marB="7194"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lvl="8" algn="ctr">
                        <a:defRPr sz="1800">
                          <a:effectLst/>
                        </a:defRPr>
                      </a:pPr>
                      <a:r>
                        <a:rPr lang="en-US" sz="2300" b="1" dirty="0">
                          <a:latin typeface="Trebuchet MS" panose="020B0603020202020204" pitchFamily="34" charset="0"/>
                        </a:rPr>
                        <a:t>30,000</a:t>
                      </a:r>
                      <a:endParaRPr sz="2300" b="1" dirty="0">
                        <a:latin typeface="Trebuchet MS" panose="020B0603020202020204" pitchFamily="34" charset="0"/>
                      </a:endParaRPr>
                    </a:p>
                  </a:txBody>
                  <a:tcPr marL="7194" marR="7194" marT="7194" marB="7194"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algn="ctr" fontAlgn="b"/>
                      <a:r>
                        <a:rPr lang="en-GB" sz="2300" b="1" i="0" u="none" strike="noStrike" dirty="0">
                          <a:solidFill>
                            <a:srgbClr val="000000"/>
                          </a:solidFill>
                          <a:effectLst/>
                          <a:latin typeface="Trebuchet MS" panose="020B0603020202020204" pitchFamily="34" charset="0"/>
                        </a:rPr>
                        <a:t>34,011</a:t>
                      </a:r>
                    </a:p>
                  </a:txBody>
                  <a:tcPr marL="7194" marR="7194" marT="7194" marB="0" anchor="ctr">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algn="ctr" fontAlgn="b"/>
                      <a:r>
                        <a:rPr lang="en-GB" sz="2300" b="1" i="0" u="none" strike="noStrike" dirty="0">
                          <a:solidFill>
                            <a:srgbClr val="000000"/>
                          </a:solidFill>
                          <a:effectLst/>
                          <a:latin typeface="Trebuchet MS" panose="020B0603020202020204" pitchFamily="34" charset="0"/>
                        </a:rPr>
                        <a:t>113</a:t>
                      </a:r>
                    </a:p>
                  </a:txBody>
                  <a:tcPr marL="7194" marR="7194" marT="7194"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solidFill>
                      <a:srgbClr val="22C00F"/>
                    </a:solidFill>
                  </a:tcPr>
                </a:tc>
                <a:extLst>
                  <a:ext uri="{0D108BD9-81ED-4DB2-BD59-A6C34878D82A}">
                    <a16:rowId xmlns:a16="http://schemas.microsoft.com/office/drawing/2014/main" val="10018"/>
                  </a:ext>
                </a:extLst>
              </a:tr>
              <a:tr h="456173">
                <a:tc>
                  <a:txBody>
                    <a:bodyPr/>
                    <a:lstStyle/>
                    <a:p>
                      <a:pPr marL="546100" indent="-457200" algn="l" defTabSz="825500">
                        <a:buSzPct val="100000"/>
                        <a:buFont typeface="+mj-lt"/>
                        <a:buAutoNum type="alphaUcPeriod" startAt="3"/>
                        <a:defRPr sz="2400" b="1">
                          <a:effectLst/>
                          <a:latin typeface="+mn-lt"/>
                          <a:ea typeface="+mn-ea"/>
                          <a:cs typeface="+mn-cs"/>
                          <a:sym typeface="Helvetica Neue"/>
                        </a:defRPr>
                      </a:pPr>
                      <a:r>
                        <a:rPr sz="2300" b="1" dirty="0">
                          <a:latin typeface="Trebuchet MS" panose="020B0603020202020204" pitchFamily="34" charset="0"/>
                        </a:rPr>
                        <a:t>TOTAL I</a:t>
                      </a:r>
                      <a:r>
                        <a:rPr lang="en-US" sz="2300" b="1" dirty="0">
                          <a:latin typeface="Trebuchet MS" panose="020B0603020202020204" pitchFamily="34" charset="0"/>
                        </a:rPr>
                        <a:t>NTERNALLY </a:t>
                      </a:r>
                      <a:r>
                        <a:rPr sz="2300" b="1" dirty="0">
                          <a:latin typeface="Trebuchet MS" panose="020B0603020202020204" pitchFamily="34" charset="0"/>
                        </a:rPr>
                        <a:t>G</a:t>
                      </a:r>
                      <a:r>
                        <a:rPr lang="en-US" sz="2300" b="1" dirty="0">
                          <a:latin typeface="Trebuchet MS" panose="020B0603020202020204" pitchFamily="34" charset="0"/>
                        </a:rPr>
                        <a:t>ENERATED </a:t>
                      </a:r>
                      <a:r>
                        <a:rPr sz="2300" b="1" dirty="0">
                          <a:latin typeface="Trebuchet MS" panose="020B0603020202020204" pitchFamily="34" charset="0"/>
                        </a:rPr>
                        <a:t>R</a:t>
                      </a:r>
                      <a:r>
                        <a:rPr lang="en-US" sz="2300" b="1" dirty="0">
                          <a:latin typeface="Trebuchet MS" panose="020B0603020202020204" pitchFamily="34" charset="0"/>
                        </a:rPr>
                        <a:t>EVENUE </a:t>
                      </a:r>
                      <a:r>
                        <a:rPr sz="2300" b="1" dirty="0">
                          <a:latin typeface="Trebuchet MS" panose="020B0603020202020204" pitchFamily="34" charset="0"/>
                        </a:rPr>
                        <a:t>(D</a:t>
                      </a:r>
                      <a:r>
                        <a:rPr lang="en-US" sz="2300" b="1" dirty="0">
                          <a:latin typeface="Trebuchet MS" panose="020B0603020202020204" pitchFamily="34" charset="0"/>
                        </a:rPr>
                        <a:t>[</a:t>
                      </a:r>
                      <a:r>
                        <a:rPr lang="en-US" sz="2300" b="1" dirty="0" err="1">
                          <a:latin typeface="Trebuchet MS" panose="020B0603020202020204" pitchFamily="34" charset="0"/>
                        </a:rPr>
                        <a:t>i+v</a:t>
                      </a:r>
                      <a:r>
                        <a:rPr lang="en-US" sz="2300" b="1" dirty="0">
                          <a:latin typeface="Trebuchet MS" panose="020B0603020202020204" pitchFamily="34" charset="0"/>
                        </a:rPr>
                        <a:t>]</a:t>
                      </a:r>
                      <a:r>
                        <a:rPr sz="2300" b="1" dirty="0">
                          <a:latin typeface="Trebuchet MS" panose="020B0603020202020204" pitchFamily="34" charset="0"/>
                        </a:rPr>
                        <a:t>)</a:t>
                      </a:r>
                    </a:p>
                  </a:txBody>
                  <a:tcPr marL="9290" marR="9290" marT="9290" marB="9290" anchor="ctr" horzOverflow="overflow">
                    <a:lnL w="12700">
                      <a:miter lim="400000"/>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solidFill>
                      <a:srgbClr val="D9D9D9"/>
                    </a:solidFill>
                  </a:tcPr>
                </a:tc>
                <a:tc>
                  <a:txBody>
                    <a:bodyPr/>
                    <a:lstStyle/>
                    <a:p>
                      <a:pPr lvl="8" algn="ctr">
                        <a:defRPr sz="1800">
                          <a:effectLst/>
                        </a:defRPr>
                      </a:pPr>
                      <a:r>
                        <a:rPr lang="en-US" sz="2300" b="1" dirty="0">
                          <a:latin typeface="Trebuchet MS" panose="020B0603020202020204" pitchFamily="34" charset="0"/>
                        </a:rPr>
                        <a:t>787,128</a:t>
                      </a:r>
                      <a:endParaRPr sz="2300" b="1" dirty="0">
                        <a:latin typeface="Trebuchet MS" panose="020B0603020202020204" pitchFamily="34" charset="0"/>
                      </a:endParaRPr>
                    </a:p>
                  </a:txBody>
                  <a:tcPr marL="7194" marR="7194" marT="7194" marB="7194"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lvl="8" algn="ctr">
                        <a:defRPr sz="1800">
                          <a:effectLst/>
                        </a:defRPr>
                      </a:pPr>
                      <a:r>
                        <a:rPr lang="en-US" sz="2300" b="1" dirty="0">
                          <a:latin typeface="Trebuchet MS" panose="020B0603020202020204" pitchFamily="34" charset="0"/>
                        </a:rPr>
                        <a:t>196,782</a:t>
                      </a:r>
                      <a:endParaRPr sz="2300" b="1" dirty="0">
                        <a:latin typeface="Trebuchet MS" panose="020B0603020202020204" pitchFamily="34" charset="0"/>
                      </a:endParaRPr>
                    </a:p>
                  </a:txBody>
                  <a:tcPr marL="7194" marR="7194" marT="7194" marB="7194"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tcPr>
                </a:tc>
                <a:tc>
                  <a:txBody>
                    <a:bodyPr/>
                    <a:lstStyle/>
                    <a:p>
                      <a:pPr algn="ctr" fontAlgn="b"/>
                      <a:r>
                        <a:rPr lang="en-GB" sz="2300" b="1" i="0" u="none" strike="noStrike" dirty="0">
                          <a:solidFill>
                            <a:srgbClr val="000000"/>
                          </a:solidFill>
                          <a:effectLst/>
                          <a:latin typeface="Trebuchet MS" panose="020B0603020202020204" pitchFamily="34" charset="0"/>
                        </a:rPr>
                        <a:t>131,343</a:t>
                      </a:r>
                    </a:p>
                  </a:txBody>
                  <a:tcPr marL="7194" marR="7194" marT="7194" marB="0" anchor="ctr">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tcPr>
                </a:tc>
                <a:tc>
                  <a:txBody>
                    <a:bodyPr/>
                    <a:lstStyle/>
                    <a:p>
                      <a:pPr algn="ctr" fontAlgn="b"/>
                      <a:r>
                        <a:rPr lang="en-GB" sz="2300" b="1" i="0" u="none" strike="noStrike" dirty="0">
                          <a:solidFill>
                            <a:srgbClr val="000000"/>
                          </a:solidFill>
                          <a:effectLst/>
                          <a:latin typeface="Trebuchet MS" panose="020B0603020202020204" pitchFamily="34" charset="0"/>
                        </a:rPr>
                        <a:t>67</a:t>
                      </a:r>
                    </a:p>
                  </a:txBody>
                  <a:tcPr marL="7194" marR="7194" marT="7194"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solidFill>
                      <a:srgbClr val="FFC000"/>
                    </a:solidFill>
                  </a:tcPr>
                </a:tc>
                <a:extLst>
                  <a:ext uri="{0D108BD9-81ED-4DB2-BD59-A6C34878D82A}">
                    <a16:rowId xmlns:a16="http://schemas.microsoft.com/office/drawing/2014/main" val="10003"/>
                  </a:ext>
                </a:extLst>
              </a:tr>
              <a:tr h="456173">
                <a:tc>
                  <a:txBody>
                    <a:bodyPr/>
                    <a:lstStyle/>
                    <a:p>
                      <a:pPr marL="546100" indent="-457200" algn="l" defTabSz="825500">
                        <a:buSzPct val="100000"/>
                        <a:buFont typeface="+mj-lt"/>
                        <a:buAutoNum type="alphaUcPeriod" startAt="4"/>
                        <a:defRPr sz="2400" b="1">
                          <a:effectLst/>
                          <a:latin typeface="+mn-lt"/>
                          <a:ea typeface="+mn-ea"/>
                          <a:cs typeface="+mn-cs"/>
                          <a:sym typeface="Helvetica Neue"/>
                        </a:defRPr>
                      </a:pPr>
                      <a:r>
                        <a:rPr sz="2300" b="1" dirty="0">
                          <a:latin typeface="Trebuchet MS" panose="020B0603020202020204" pitchFamily="34" charset="0"/>
                        </a:rPr>
                        <a:t>INTERNALLY GENERATED REVENUE</a:t>
                      </a:r>
                    </a:p>
                  </a:txBody>
                  <a:tcPr marL="9290" marR="9290" marT="9290" marB="9290" anchor="ctr" horzOverflow="overflow">
                    <a:lnL w="12700">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solidFill>
                      <a:srgbClr val="22C00F"/>
                    </a:solidFill>
                  </a:tcPr>
                </a:tc>
                <a:tc>
                  <a:txBody>
                    <a:bodyPr/>
                    <a:lstStyle/>
                    <a:p>
                      <a:pPr lvl="8" algn="ctr">
                        <a:defRPr sz="1800">
                          <a:effectLst/>
                        </a:defRPr>
                      </a:pPr>
                      <a:r>
                        <a:rPr lang="en-US" sz="2300" b="1" dirty="0">
                          <a:latin typeface="Trebuchet MS" panose="020B0603020202020204" pitchFamily="34" charset="0"/>
                        </a:rPr>
                        <a:t>723,128</a:t>
                      </a:r>
                      <a:endParaRPr sz="2300" b="1" dirty="0">
                        <a:latin typeface="Trebuchet MS" panose="020B0603020202020204" pitchFamily="34" charset="0"/>
                      </a:endParaRPr>
                    </a:p>
                  </a:txBody>
                  <a:tcPr marL="7194" marR="7194" marT="7194" marB="7194"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lvl="8" algn="ctr">
                        <a:defRPr sz="1800">
                          <a:effectLst/>
                        </a:defRPr>
                      </a:pPr>
                      <a:r>
                        <a:rPr lang="en-US" sz="2300" b="1" dirty="0">
                          <a:latin typeface="Trebuchet MS" panose="020B0603020202020204" pitchFamily="34" charset="0"/>
                        </a:rPr>
                        <a:t>180,954</a:t>
                      </a:r>
                      <a:endParaRPr sz="2300" b="1" dirty="0">
                        <a:latin typeface="Trebuchet MS" panose="020B0603020202020204" pitchFamily="34" charset="0"/>
                      </a:endParaRPr>
                    </a:p>
                  </a:txBody>
                  <a:tcPr marL="7194" marR="7194" marT="7194" marB="7194"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300" b="1" i="0" u="none" strike="noStrike" dirty="0">
                          <a:solidFill>
                            <a:srgbClr val="000000"/>
                          </a:solidFill>
                          <a:effectLst/>
                          <a:latin typeface="Trebuchet MS" panose="020B0603020202020204" pitchFamily="34" charset="0"/>
                        </a:rPr>
                        <a:t>128,200</a:t>
                      </a:r>
                    </a:p>
                  </a:txBody>
                  <a:tcPr marL="7194" marR="7194" marT="7194"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300" b="1" i="0" u="none" strike="noStrike" dirty="0">
                          <a:solidFill>
                            <a:srgbClr val="000000"/>
                          </a:solidFill>
                          <a:effectLst/>
                          <a:latin typeface="Trebuchet MS" panose="020B0603020202020204" pitchFamily="34" charset="0"/>
                        </a:rPr>
                        <a:t>71</a:t>
                      </a:r>
                    </a:p>
                  </a:txBody>
                  <a:tcPr marL="7194" marR="7194" marT="7194"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solidFill>
                      <a:srgbClr val="FFC000"/>
                    </a:solidFill>
                  </a:tcPr>
                </a:tc>
                <a:extLst>
                  <a:ext uri="{0D108BD9-81ED-4DB2-BD59-A6C34878D82A}">
                    <a16:rowId xmlns:a16="http://schemas.microsoft.com/office/drawing/2014/main" val="10004"/>
                  </a:ext>
                </a:extLst>
              </a:tr>
              <a:tr h="456173">
                <a:tc>
                  <a:txBody>
                    <a:bodyPr/>
                    <a:lstStyle/>
                    <a:p>
                      <a:pPr marL="909051" indent="-401051" algn="l" defTabSz="825500">
                        <a:buSzPct val="100000"/>
                        <a:buAutoNum type="romanLcPeriod"/>
                        <a:defRPr sz="2400" b="1">
                          <a:effectLst/>
                          <a:latin typeface="+mn-lt"/>
                          <a:ea typeface="+mn-ea"/>
                          <a:cs typeface="+mn-cs"/>
                          <a:sym typeface="Helvetica Neue"/>
                        </a:defRPr>
                      </a:pPr>
                      <a:r>
                        <a:rPr sz="2300" b="1" dirty="0">
                          <a:latin typeface="Trebuchet MS" panose="020B0603020202020204" pitchFamily="34" charset="0"/>
                        </a:rPr>
                        <a:t>Lagos Internal Revenue Services</a:t>
                      </a:r>
                    </a:p>
                  </a:txBody>
                  <a:tcPr marL="9290" marR="9290" marT="9290" marB="9290" anchor="ctr" horzOverflow="overflow">
                    <a:lnL w="12700">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solidFill>
                      <a:srgbClr val="22C00F"/>
                    </a:solidFill>
                  </a:tcPr>
                </a:tc>
                <a:tc>
                  <a:txBody>
                    <a:bodyPr/>
                    <a:lstStyle/>
                    <a:p>
                      <a:pPr lvl="8" algn="ctr">
                        <a:defRPr sz="1800">
                          <a:effectLst/>
                        </a:defRPr>
                      </a:pPr>
                      <a:r>
                        <a:rPr lang="en-US" sz="2300" b="1" dirty="0">
                          <a:latin typeface="Trebuchet MS" panose="020B0603020202020204" pitchFamily="34" charset="0"/>
                        </a:rPr>
                        <a:t>512,000</a:t>
                      </a:r>
                      <a:endParaRPr sz="2300" b="1" dirty="0">
                        <a:latin typeface="Trebuchet MS" panose="020B0603020202020204" pitchFamily="34" charset="0"/>
                      </a:endParaRPr>
                    </a:p>
                  </a:txBody>
                  <a:tcPr marL="7194" marR="7194" marT="7194" marB="7194"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lvl="8" algn="ctr">
                        <a:defRPr sz="1800">
                          <a:effectLst/>
                        </a:defRPr>
                      </a:pPr>
                      <a:r>
                        <a:rPr sz="2300" b="1" dirty="0">
                          <a:latin typeface="Trebuchet MS" panose="020B0603020202020204" pitchFamily="34" charset="0"/>
                        </a:rPr>
                        <a:t> </a:t>
                      </a:r>
                      <a:r>
                        <a:rPr lang="en-US" sz="2300" b="1" dirty="0">
                          <a:latin typeface="Trebuchet MS" panose="020B0603020202020204" pitchFamily="34" charset="0"/>
                        </a:rPr>
                        <a:t>128,000</a:t>
                      </a:r>
                      <a:endParaRPr sz="2300" b="1" dirty="0">
                        <a:latin typeface="Trebuchet MS" panose="020B0603020202020204" pitchFamily="34" charset="0"/>
                      </a:endParaRPr>
                    </a:p>
                  </a:txBody>
                  <a:tcPr marL="7194" marR="7194" marT="7194" marB="7194"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300" b="1" i="0" u="none" strike="noStrike" dirty="0">
                          <a:solidFill>
                            <a:srgbClr val="000000"/>
                          </a:solidFill>
                          <a:effectLst/>
                          <a:latin typeface="Trebuchet MS" panose="020B0603020202020204" pitchFamily="34" charset="0"/>
                        </a:rPr>
                        <a:t>106,768</a:t>
                      </a:r>
                    </a:p>
                  </a:txBody>
                  <a:tcPr marL="7194" marR="7194" marT="7194"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300" b="1" i="0" u="none" strike="noStrike" dirty="0">
                          <a:solidFill>
                            <a:srgbClr val="000000"/>
                          </a:solidFill>
                          <a:effectLst/>
                          <a:latin typeface="Trebuchet MS" panose="020B0603020202020204" pitchFamily="34" charset="0"/>
                        </a:rPr>
                        <a:t>83</a:t>
                      </a:r>
                    </a:p>
                  </a:txBody>
                  <a:tcPr marL="7194" marR="7194" marT="7194"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solidFill>
                      <a:srgbClr val="22C00F"/>
                    </a:solidFill>
                  </a:tcPr>
                </a:tc>
                <a:extLst>
                  <a:ext uri="{0D108BD9-81ED-4DB2-BD59-A6C34878D82A}">
                    <a16:rowId xmlns:a16="http://schemas.microsoft.com/office/drawing/2014/main" val="10005"/>
                  </a:ext>
                </a:extLst>
              </a:tr>
              <a:tr h="825027">
                <a:tc>
                  <a:txBody>
                    <a:bodyPr/>
                    <a:lstStyle/>
                    <a:p>
                      <a:pPr marL="909051" indent="-401051" algn="l" defTabSz="825500">
                        <a:buSzPct val="100000"/>
                        <a:buAutoNum type="romanLcPeriod" startAt="2"/>
                        <a:defRPr sz="2400" b="1">
                          <a:effectLst/>
                          <a:latin typeface="+mn-lt"/>
                          <a:ea typeface="+mn-ea"/>
                          <a:cs typeface="+mn-cs"/>
                          <a:sym typeface="Helvetica Neue"/>
                        </a:defRPr>
                      </a:pPr>
                      <a:r>
                        <a:rPr sz="2300" b="1" dirty="0">
                          <a:latin typeface="Trebuchet MS" panose="020B0603020202020204" pitchFamily="34" charset="0"/>
                        </a:rPr>
                        <a:t>Internally Generated Revenue (Others)</a:t>
                      </a:r>
                    </a:p>
                  </a:txBody>
                  <a:tcPr marL="9290" marR="9290" marT="9290" marB="9290" anchor="ctr" horzOverflow="overflow">
                    <a:lnL w="12700">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solidFill>
                      <a:schemeClr val="bg1"/>
                    </a:solidFill>
                  </a:tcPr>
                </a:tc>
                <a:tc>
                  <a:txBody>
                    <a:bodyPr/>
                    <a:lstStyle/>
                    <a:p>
                      <a:pPr lvl="8" algn="ctr">
                        <a:defRPr sz="1800">
                          <a:effectLst/>
                        </a:defRPr>
                      </a:pPr>
                      <a:r>
                        <a:rPr lang="en-US" sz="2300" b="1" dirty="0">
                          <a:latin typeface="Trebuchet MS" panose="020B0603020202020204" pitchFamily="34" charset="0"/>
                        </a:rPr>
                        <a:t>171,078</a:t>
                      </a:r>
                      <a:endParaRPr sz="2300" b="1" dirty="0">
                        <a:latin typeface="Trebuchet MS" panose="020B0603020202020204" pitchFamily="34" charset="0"/>
                      </a:endParaRPr>
                    </a:p>
                  </a:txBody>
                  <a:tcPr marL="7194" marR="7194" marT="7194" marB="7194"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lvl="8" algn="ctr">
                        <a:defRPr sz="1800">
                          <a:effectLst/>
                        </a:defRPr>
                      </a:pPr>
                      <a:r>
                        <a:rPr lang="en-US" sz="2300" b="1" dirty="0">
                          <a:latin typeface="Trebuchet MS" panose="020B0603020202020204" pitchFamily="34" charset="0"/>
                        </a:rPr>
                        <a:t>42,769</a:t>
                      </a:r>
                      <a:endParaRPr sz="2300" b="1" dirty="0">
                        <a:latin typeface="Trebuchet MS" panose="020B0603020202020204" pitchFamily="34" charset="0"/>
                      </a:endParaRPr>
                    </a:p>
                  </a:txBody>
                  <a:tcPr marL="7194" marR="7194" marT="7194" marB="7194"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300" b="1" i="0" u="none" strike="noStrike" dirty="0">
                          <a:solidFill>
                            <a:srgbClr val="000000"/>
                          </a:solidFill>
                          <a:effectLst/>
                          <a:latin typeface="Trebuchet MS" panose="020B0603020202020204" pitchFamily="34" charset="0"/>
                        </a:rPr>
                        <a:t>15,511</a:t>
                      </a:r>
                    </a:p>
                  </a:txBody>
                  <a:tcPr marL="7194" marR="7194" marT="7194"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300" b="1" i="0" u="none" strike="noStrike" dirty="0">
                          <a:solidFill>
                            <a:srgbClr val="000000"/>
                          </a:solidFill>
                          <a:effectLst/>
                          <a:latin typeface="Trebuchet MS" panose="020B0603020202020204" pitchFamily="34" charset="0"/>
                        </a:rPr>
                        <a:t>36</a:t>
                      </a:r>
                    </a:p>
                  </a:txBody>
                  <a:tcPr marL="7194" marR="7194" marT="7194"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solidFill>
                      <a:srgbClr val="FF0000"/>
                    </a:solidFill>
                  </a:tcPr>
                </a:tc>
                <a:extLst>
                  <a:ext uri="{0D108BD9-81ED-4DB2-BD59-A6C34878D82A}">
                    <a16:rowId xmlns:a16="http://schemas.microsoft.com/office/drawing/2014/main" val="10006"/>
                  </a:ext>
                </a:extLst>
              </a:tr>
              <a:tr h="456173">
                <a:tc>
                  <a:txBody>
                    <a:bodyPr/>
                    <a:lstStyle/>
                    <a:p>
                      <a:pPr marL="909051" indent="-401051" algn="l" defTabSz="825500">
                        <a:buSzPct val="100000"/>
                        <a:buAutoNum type="romanLcPeriod" startAt="3"/>
                        <a:defRPr sz="2400" b="1">
                          <a:effectLst/>
                          <a:latin typeface="+mn-lt"/>
                          <a:ea typeface="+mn-ea"/>
                          <a:cs typeface="+mn-cs"/>
                          <a:sym typeface="Helvetica Neue"/>
                        </a:defRPr>
                      </a:pPr>
                      <a:r>
                        <a:rPr sz="2300" b="1" dirty="0">
                          <a:latin typeface="Trebuchet MS" panose="020B0603020202020204" pitchFamily="34" charset="0"/>
                        </a:rPr>
                        <a:t>Dedicated Revenue</a:t>
                      </a:r>
                    </a:p>
                  </a:txBody>
                  <a:tcPr marL="9290" marR="9290" marT="9290" marB="9290" anchor="ctr" horzOverflow="overflow">
                    <a:lnL w="12700">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solidFill>
                      <a:srgbClr val="FF0000"/>
                    </a:solidFill>
                  </a:tcPr>
                </a:tc>
                <a:tc>
                  <a:txBody>
                    <a:bodyPr/>
                    <a:lstStyle/>
                    <a:p>
                      <a:pPr lvl="8" algn="ctr">
                        <a:defRPr sz="1800">
                          <a:effectLst/>
                        </a:defRPr>
                      </a:pPr>
                      <a:r>
                        <a:rPr lang="en-US" sz="2300" b="1" dirty="0">
                          <a:latin typeface="Trebuchet MS" panose="020B0603020202020204" pitchFamily="34" charset="0"/>
                        </a:rPr>
                        <a:t>36,739</a:t>
                      </a:r>
                      <a:endParaRPr sz="2300" b="1" dirty="0">
                        <a:latin typeface="Trebuchet MS" panose="020B0603020202020204" pitchFamily="34" charset="0"/>
                      </a:endParaRPr>
                    </a:p>
                  </a:txBody>
                  <a:tcPr marL="7194" marR="7194" marT="7194" marB="7194"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lvl="8" algn="ctr">
                        <a:defRPr sz="1800">
                          <a:effectLst/>
                        </a:defRPr>
                      </a:pPr>
                      <a:r>
                        <a:rPr lang="en-US" sz="2300" b="1" dirty="0">
                          <a:latin typeface="Trebuchet MS" panose="020B0603020202020204" pitchFamily="34" charset="0"/>
                        </a:rPr>
                        <a:t>9,185</a:t>
                      </a:r>
                      <a:endParaRPr sz="2300" b="1" dirty="0">
                        <a:latin typeface="Trebuchet MS" panose="020B0603020202020204" pitchFamily="34" charset="0"/>
                      </a:endParaRPr>
                    </a:p>
                  </a:txBody>
                  <a:tcPr marL="7194" marR="7194" marT="7194" marB="7194"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300" b="1" i="0" u="none" strike="noStrike" dirty="0">
                          <a:solidFill>
                            <a:srgbClr val="000000"/>
                          </a:solidFill>
                          <a:effectLst/>
                          <a:latin typeface="Trebuchet MS" panose="020B0603020202020204" pitchFamily="34" charset="0"/>
                        </a:rPr>
                        <a:t>5,920</a:t>
                      </a:r>
                    </a:p>
                  </a:txBody>
                  <a:tcPr marL="7194" marR="7194" marT="7194"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300" b="1" i="0" u="none" strike="noStrike" dirty="0">
                          <a:solidFill>
                            <a:srgbClr val="000000"/>
                          </a:solidFill>
                          <a:effectLst/>
                          <a:latin typeface="Trebuchet MS" panose="020B0603020202020204" pitchFamily="34" charset="0"/>
                        </a:rPr>
                        <a:t>64</a:t>
                      </a:r>
                    </a:p>
                  </a:txBody>
                  <a:tcPr marL="7194" marR="7194" marT="7194"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solidFill>
                      <a:srgbClr val="FFC000"/>
                    </a:solidFill>
                  </a:tcPr>
                </a:tc>
                <a:extLst>
                  <a:ext uri="{0D108BD9-81ED-4DB2-BD59-A6C34878D82A}">
                    <a16:rowId xmlns:a16="http://schemas.microsoft.com/office/drawing/2014/main" val="10007"/>
                  </a:ext>
                </a:extLst>
              </a:tr>
              <a:tr h="456173">
                <a:tc>
                  <a:txBody>
                    <a:bodyPr/>
                    <a:lstStyle/>
                    <a:p>
                      <a:pPr marL="909051" indent="-401051" algn="l" defTabSz="825500">
                        <a:buSzPct val="100000"/>
                        <a:buAutoNum type="romanLcPeriod" startAt="4"/>
                        <a:defRPr sz="2400" b="1">
                          <a:effectLst/>
                          <a:latin typeface="+mn-lt"/>
                          <a:ea typeface="+mn-ea"/>
                          <a:cs typeface="+mn-cs"/>
                          <a:sym typeface="Helvetica Neue"/>
                        </a:defRPr>
                      </a:pPr>
                      <a:r>
                        <a:rPr sz="2300" b="1" dirty="0">
                          <a:latin typeface="Trebuchet MS" panose="020B0603020202020204" pitchFamily="34" charset="0"/>
                        </a:rPr>
                        <a:t>Investment Income</a:t>
                      </a:r>
                    </a:p>
                  </a:txBody>
                  <a:tcPr marL="9290" marR="9290" marT="9290" marB="9290" anchor="ctr" horzOverflow="overflow">
                    <a:lnL w="12700">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solidFill>
                      <a:srgbClr val="FF0000"/>
                    </a:solidFill>
                  </a:tcPr>
                </a:tc>
                <a:tc>
                  <a:txBody>
                    <a:bodyPr/>
                    <a:lstStyle/>
                    <a:p>
                      <a:pPr lvl="8" algn="ctr">
                        <a:defRPr sz="1800">
                          <a:effectLst/>
                        </a:defRPr>
                      </a:pPr>
                      <a:r>
                        <a:rPr lang="en-US" sz="2300" b="1" dirty="0">
                          <a:latin typeface="Trebuchet MS" panose="020B0603020202020204" pitchFamily="34" charset="0"/>
                        </a:rPr>
                        <a:t>4,000</a:t>
                      </a:r>
                      <a:endParaRPr sz="2300" b="1" dirty="0">
                        <a:latin typeface="Trebuchet MS" panose="020B0603020202020204" pitchFamily="34" charset="0"/>
                      </a:endParaRPr>
                    </a:p>
                  </a:txBody>
                  <a:tcPr marL="7194" marR="7194" marT="7194" marB="7194"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lvl="8" algn="ctr">
                        <a:defRPr sz="1800">
                          <a:effectLst/>
                        </a:defRPr>
                      </a:pPr>
                      <a:r>
                        <a:rPr lang="en-US" sz="2300" b="1" dirty="0">
                          <a:latin typeface="Trebuchet MS" panose="020B0603020202020204" pitchFamily="34" charset="0"/>
                        </a:rPr>
                        <a:t>1,000</a:t>
                      </a:r>
                      <a:endParaRPr sz="2300" b="1" dirty="0">
                        <a:latin typeface="Trebuchet MS" panose="020B0603020202020204" pitchFamily="34" charset="0"/>
                      </a:endParaRPr>
                    </a:p>
                  </a:txBody>
                  <a:tcPr marL="7194" marR="7194" marT="7194" marB="7194"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300" b="1" i="0" u="none" strike="noStrike" dirty="0">
                          <a:solidFill>
                            <a:srgbClr val="000000"/>
                          </a:solidFill>
                          <a:effectLst/>
                          <a:latin typeface="Trebuchet MS" panose="020B0603020202020204" pitchFamily="34" charset="0"/>
                        </a:rPr>
                        <a:t>-</a:t>
                      </a:r>
                    </a:p>
                  </a:txBody>
                  <a:tcPr marL="7194" marR="7194" marT="7194"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300" b="1" i="0" u="none" strike="noStrike" dirty="0">
                          <a:solidFill>
                            <a:srgbClr val="000000"/>
                          </a:solidFill>
                          <a:effectLst/>
                          <a:latin typeface="Trebuchet MS" panose="020B0603020202020204" pitchFamily="34" charset="0"/>
                        </a:rPr>
                        <a:t>0</a:t>
                      </a:r>
                    </a:p>
                  </a:txBody>
                  <a:tcPr marL="7194" marR="7194" marT="7194"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solidFill>
                      <a:srgbClr val="FF0000"/>
                    </a:solidFill>
                  </a:tcPr>
                </a:tc>
                <a:extLst>
                  <a:ext uri="{0D108BD9-81ED-4DB2-BD59-A6C34878D82A}">
                    <a16:rowId xmlns:a16="http://schemas.microsoft.com/office/drawing/2014/main" val="10008"/>
                  </a:ext>
                </a:extLst>
              </a:tr>
              <a:tr h="456173">
                <a:tc>
                  <a:txBody>
                    <a:bodyPr/>
                    <a:lstStyle/>
                    <a:p>
                      <a:pPr marL="508000" indent="0" algn="l" defTabSz="825500">
                        <a:buSzPct val="100000"/>
                        <a:buNone/>
                        <a:defRPr sz="2400" b="1">
                          <a:effectLst/>
                          <a:latin typeface="+mn-lt"/>
                          <a:ea typeface="+mn-ea"/>
                          <a:cs typeface="+mn-cs"/>
                          <a:sym typeface="Helvetica Neue"/>
                        </a:defRPr>
                      </a:pPr>
                      <a:r>
                        <a:rPr lang="en-GB" sz="2300" b="1" dirty="0">
                          <a:latin typeface="Trebuchet MS" panose="020B0603020202020204" pitchFamily="34" charset="0"/>
                        </a:rPr>
                        <a:t>v.</a:t>
                      </a:r>
                      <a:r>
                        <a:rPr sz="2300" b="1" dirty="0">
                          <a:latin typeface="Trebuchet MS" panose="020B0603020202020204" pitchFamily="34" charset="0"/>
                        </a:rPr>
                        <a:t> Extra Ordinary Revenue</a:t>
                      </a:r>
                    </a:p>
                  </a:txBody>
                  <a:tcPr marL="9290" marR="9290" marT="9290" marB="9290" anchor="ctr" horzOverflow="overflow">
                    <a:lnL w="12700">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lvl="8" algn="ctr">
                        <a:defRPr sz="1800">
                          <a:effectLst/>
                        </a:defRPr>
                      </a:pPr>
                      <a:r>
                        <a:rPr sz="2300" b="1" dirty="0">
                          <a:latin typeface="Trebuchet MS" panose="020B0603020202020204" pitchFamily="34" charset="0"/>
                        </a:rPr>
                        <a:t>-   </a:t>
                      </a:r>
                    </a:p>
                  </a:txBody>
                  <a:tcPr marL="7194" marR="7194" marT="7194" marB="7194"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lvl="8" algn="ctr">
                        <a:defRPr sz="1800">
                          <a:effectLst/>
                        </a:defRPr>
                      </a:pPr>
                      <a:r>
                        <a:rPr sz="2300" b="1" dirty="0">
                          <a:latin typeface="Trebuchet MS" panose="020B0603020202020204" pitchFamily="34" charset="0"/>
                        </a:rPr>
                        <a:t>-   </a:t>
                      </a:r>
                    </a:p>
                  </a:txBody>
                  <a:tcPr marL="7194" marR="7194" marT="7194" marB="7194"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300" b="1" i="0" u="none" strike="noStrike" dirty="0">
                          <a:solidFill>
                            <a:srgbClr val="000000"/>
                          </a:solidFill>
                          <a:effectLst/>
                          <a:latin typeface="Trebuchet MS" panose="020B0603020202020204" pitchFamily="34" charset="0"/>
                        </a:rPr>
                        <a:t>-</a:t>
                      </a:r>
                    </a:p>
                  </a:txBody>
                  <a:tcPr marL="7194" marR="7194" marT="7194"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300" b="1" i="0" u="none" strike="noStrike" dirty="0">
                          <a:solidFill>
                            <a:srgbClr val="000000"/>
                          </a:solidFill>
                          <a:effectLst/>
                          <a:latin typeface="Trebuchet MS" panose="020B0603020202020204" pitchFamily="34" charset="0"/>
                        </a:rPr>
                        <a:t> -</a:t>
                      </a:r>
                    </a:p>
                  </a:txBody>
                  <a:tcPr marL="7194" marR="7194" marT="7194"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solidFill>
                      <a:srgbClr val="DDDDDD"/>
                    </a:solidFill>
                  </a:tcPr>
                </a:tc>
                <a:extLst>
                  <a:ext uri="{0D108BD9-81ED-4DB2-BD59-A6C34878D82A}">
                    <a16:rowId xmlns:a16="http://schemas.microsoft.com/office/drawing/2014/main" val="10009"/>
                  </a:ext>
                </a:extLst>
              </a:tr>
              <a:tr h="456173">
                <a:tc>
                  <a:txBody>
                    <a:bodyPr/>
                    <a:lstStyle/>
                    <a:p>
                      <a:pPr marL="546100" indent="-457200" algn="l" defTabSz="825500">
                        <a:buSzPct val="100000"/>
                        <a:buFont typeface="+mj-lt"/>
                        <a:buAutoNum type="alphaUcPeriod" startAt="5"/>
                        <a:defRPr sz="2400" b="1">
                          <a:effectLst/>
                          <a:latin typeface="+mn-lt"/>
                          <a:ea typeface="+mn-ea"/>
                          <a:cs typeface="+mn-cs"/>
                          <a:sym typeface="Helvetica Neue"/>
                        </a:defRPr>
                      </a:pPr>
                      <a:r>
                        <a:rPr sz="2300" b="1" dirty="0">
                          <a:latin typeface="Trebuchet MS" panose="020B0603020202020204" pitchFamily="34" charset="0"/>
                        </a:rPr>
                        <a:t>CAPITAL RECEIPTS</a:t>
                      </a:r>
                    </a:p>
                  </a:txBody>
                  <a:tcPr marL="9290" marR="9290" marT="9290" marB="9290" anchor="ctr" horzOverflow="overflow">
                    <a:lnL w="12700">
                      <a:miter lim="400000"/>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solidFill>
                      <a:srgbClr val="FFC000"/>
                    </a:solidFill>
                  </a:tcPr>
                </a:tc>
                <a:tc>
                  <a:txBody>
                    <a:bodyPr/>
                    <a:lstStyle/>
                    <a:p>
                      <a:pPr lvl="8" algn="ctr">
                        <a:defRPr sz="1800">
                          <a:effectLst/>
                        </a:defRPr>
                      </a:pPr>
                      <a:r>
                        <a:rPr lang="en-US" sz="2300" b="1" dirty="0">
                          <a:latin typeface="Trebuchet MS" panose="020B0603020202020204" pitchFamily="34" charset="0"/>
                        </a:rPr>
                        <a:t>63,311</a:t>
                      </a:r>
                      <a:endParaRPr sz="2300" b="1" dirty="0">
                        <a:latin typeface="Trebuchet MS" panose="020B0603020202020204" pitchFamily="34" charset="0"/>
                      </a:endParaRPr>
                    </a:p>
                  </a:txBody>
                  <a:tcPr marL="7194" marR="7194" marT="7194" marB="7194"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lvl="8" algn="ctr">
                        <a:defRPr sz="1800">
                          <a:effectLst/>
                        </a:defRPr>
                      </a:pPr>
                      <a:r>
                        <a:rPr lang="en-US" sz="2300" b="1" dirty="0">
                          <a:latin typeface="Trebuchet MS" panose="020B0603020202020204" pitchFamily="34" charset="0"/>
                        </a:rPr>
                        <a:t>15,828</a:t>
                      </a:r>
                      <a:endParaRPr sz="2300" b="1" dirty="0">
                        <a:latin typeface="Trebuchet MS" panose="020B0603020202020204" pitchFamily="34" charset="0"/>
                      </a:endParaRPr>
                    </a:p>
                  </a:txBody>
                  <a:tcPr marL="7194" marR="7194" marT="7194" marB="7194"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tcPr>
                </a:tc>
                <a:tc>
                  <a:txBody>
                    <a:bodyPr/>
                    <a:lstStyle/>
                    <a:p>
                      <a:pPr algn="ctr" fontAlgn="b"/>
                      <a:r>
                        <a:rPr lang="en-GB" sz="2300" b="1" i="0" u="none" strike="noStrike" dirty="0">
                          <a:solidFill>
                            <a:srgbClr val="000000"/>
                          </a:solidFill>
                          <a:effectLst/>
                          <a:latin typeface="Trebuchet MS" panose="020B0603020202020204" pitchFamily="34" charset="0"/>
                        </a:rPr>
                        <a:t>3,144</a:t>
                      </a:r>
                    </a:p>
                  </a:txBody>
                  <a:tcPr marL="7194" marR="7194" marT="7194" marB="0" anchor="ctr">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tcPr>
                </a:tc>
                <a:tc>
                  <a:txBody>
                    <a:bodyPr/>
                    <a:lstStyle/>
                    <a:p>
                      <a:pPr algn="ctr" fontAlgn="b"/>
                      <a:r>
                        <a:rPr lang="en-GB" sz="2300" b="1" i="0" u="none" strike="noStrike" dirty="0">
                          <a:solidFill>
                            <a:srgbClr val="000000"/>
                          </a:solidFill>
                          <a:effectLst/>
                          <a:latin typeface="Trebuchet MS" panose="020B0603020202020204" pitchFamily="34" charset="0"/>
                        </a:rPr>
                        <a:t>30</a:t>
                      </a:r>
                    </a:p>
                  </a:txBody>
                  <a:tcPr marL="7194" marR="7194" marT="7194" marB="0" anchor="ctr">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solidFill>
                      <a:srgbClr val="FF0000"/>
                    </a:solidFill>
                  </a:tcPr>
                </a:tc>
                <a:extLst>
                  <a:ext uri="{0D108BD9-81ED-4DB2-BD59-A6C34878D82A}">
                    <a16:rowId xmlns:a16="http://schemas.microsoft.com/office/drawing/2014/main" val="10010"/>
                  </a:ext>
                </a:extLst>
              </a:tr>
              <a:tr h="456173">
                <a:tc>
                  <a:txBody>
                    <a:bodyPr/>
                    <a:lstStyle/>
                    <a:p>
                      <a:pPr marL="909051" indent="-401051" algn="l" defTabSz="825500">
                        <a:buSzPct val="100000"/>
                        <a:buAutoNum type="romanLcPeriod"/>
                        <a:defRPr sz="2400" b="1">
                          <a:effectLst/>
                          <a:latin typeface="+mn-lt"/>
                          <a:ea typeface="+mn-ea"/>
                          <a:cs typeface="+mn-cs"/>
                          <a:sym typeface="Helvetica Neue"/>
                        </a:defRPr>
                      </a:pPr>
                      <a:r>
                        <a:rPr sz="2300" b="1" dirty="0">
                          <a:latin typeface="Trebuchet MS" panose="020B0603020202020204" pitchFamily="34" charset="0"/>
                        </a:rPr>
                        <a:t>Grants</a:t>
                      </a:r>
                    </a:p>
                  </a:txBody>
                  <a:tcPr marL="9290" marR="9290" marT="9290" marB="9290" anchor="ctr" horzOverflow="overflow">
                    <a:lnL w="12700">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solidFill>
                      <a:srgbClr val="FFFFFF"/>
                    </a:solidFill>
                  </a:tcPr>
                </a:tc>
                <a:tc>
                  <a:txBody>
                    <a:bodyPr/>
                    <a:lstStyle/>
                    <a:p>
                      <a:pPr lvl="8" algn="ctr">
                        <a:defRPr sz="1800">
                          <a:effectLst/>
                        </a:defRPr>
                      </a:pPr>
                      <a:r>
                        <a:rPr lang="en-US" sz="2300" b="1" dirty="0">
                          <a:latin typeface="Trebuchet MS" panose="020B0603020202020204" pitchFamily="34" charset="0"/>
                        </a:rPr>
                        <a:t>43,147</a:t>
                      </a:r>
                      <a:endParaRPr sz="2300" b="1" dirty="0">
                        <a:latin typeface="Trebuchet MS" panose="020B0603020202020204" pitchFamily="34" charset="0"/>
                      </a:endParaRPr>
                    </a:p>
                  </a:txBody>
                  <a:tcPr marL="7194" marR="7194" marT="7194" marB="7194"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lvl="8" algn="ctr">
                        <a:defRPr sz="1800">
                          <a:effectLst/>
                        </a:defRPr>
                      </a:pPr>
                      <a:r>
                        <a:rPr lang="en-US" sz="2300" b="1" dirty="0">
                          <a:latin typeface="Trebuchet MS" panose="020B0603020202020204" pitchFamily="34" charset="0"/>
                        </a:rPr>
                        <a:t>10,787</a:t>
                      </a:r>
                      <a:endParaRPr sz="2300" b="1" dirty="0">
                        <a:latin typeface="Trebuchet MS" panose="020B0603020202020204" pitchFamily="34" charset="0"/>
                      </a:endParaRPr>
                    </a:p>
                  </a:txBody>
                  <a:tcPr marL="7194" marR="7194" marT="7194" marB="7194"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300" b="1" i="0" u="none" strike="noStrike" dirty="0">
                          <a:solidFill>
                            <a:srgbClr val="000000"/>
                          </a:solidFill>
                          <a:effectLst/>
                          <a:latin typeface="Trebuchet MS" panose="020B0603020202020204" pitchFamily="34" charset="0"/>
                        </a:rPr>
                        <a:t>-</a:t>
                      </a:r>
                    </a:p>
                  </a:txBody>
                  <a:tcPr marL="7194" marR="7194" marT="7194"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300" b="1" i="0" u="none" strike="noStrike" dirty="0">
                          <a:solidFill>
                            <a:srgbClr val="000000"/>
                          </a:solidFill>
                          <a:effectLst/>
                          <a:latin typeface="Trebuchet MS" panose="020B0603020202020204" pitchFamily="34" charset="0"/>
                        </a:rPr>
                        <a:t>-</a:t>
                      </a:r>
                    </a:p>
                  </a:txBody>
                  <a:tcPr marL="7194" marR="7194" marT="7194"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solidFill>
                      <a:srgbClr val="FF0000"/>
                    </a:solidFill>
                  </a:tcPr>
                </a:tc>
                <a:extLst>
                  <a:ext uri="{0D108BD9-81ED-4DB2-BD59-A6C34878D82A}">
                    <a16:rowId xmlns:a16="http://schemas.microsoft.com/office/drawing/2014/main" val="10011"/>
                  </a:ext>
                </a:extLst>
              </a:tr>
              <a:tr h="692616">
                <a:tc>
                  <a:txBody>
                    <a:bodyPr/>
                    <a:lstStyle/>
                    <a:p>
                      <a:pPr marL="1022350" indent="-514350" algn="l" defTabSz="825500">
                        <a:buSzPct val="100000"/>
                        <a:buFont typeface="+mj-lt"/>
                        <a:buAutoNum type="romanLcPeriod" startAt="2"/>
                        <a:defRPr sz="2400" b="1">
                          <a:effectLst/>
                          <a:latin typeface="+mn-lt"/>
                          <a:ea typeface="+mn-ea"/>
                          <a:cs typeface="+mn-cs"/>
                          <a:sym typeface="Helvetica Neue"/>
                        </a:defRPr>
                      </a:pPr>
                      <a:r>
                        <a:rPr sz="2300" b="1" dirty="0">
                          <a:latin typeface="Trebuchet MS" panose="020B0603020202020204" pitchFamily="34" charset="0"/>
                        </a:rPr>
                        <a:t>Other Capital Receipts</a:t>
                      </a:r>
                    </a:p>
                  </a:txBody>
                  <a:tcPr marL="9290" marR="9290" marT="9290" marB="9290" anchor="ctr" horzOverflow="overflow">
                    <a:lnL w="12700">
                      <a:miter lim="400000"/>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solidFill>
                      <a:srgbClr val="FFFFFF"/>
                    </a:solidFill>
                  </a:tcPr>
                </a:tc>
                <a:tc>
                  <a:txBody>
                    <a:bodyPr/>
                    <a:lstStyle/>
                    <a:p>
                      <a:pPr lvl="8" algn="ctr">
                        <a:defRPr sz="1800">
                          <a:effectLst/>
                        </a:defRPr>
                      </a:pPr>
                      <a:r>
                        <a:rPr lang="en-US" sz="2300" b="1" dirty="0">
                          <a:latin typeface="Trebuchet MS" panose="020B0603020202020204" pitchFamily="34" charset="0"/>
                        </a:rPr>
                        <a:t>20,164</a:t>
                      </a:r>
                      <a:endParaRPr sz="2300" b="1" dirty="0">
                        <a:latin typeface="Trebuchet MS" panose="020B0603020202020204" pitchFamily="34" charset="0"/>
                      </a:endParaRPr>
                    </a:p>
                  </a:txBody>
                  <a:tcPr marL="7194" marR="7194" marT="7194" marB="7194"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lvl="8" algn="ctr">
                        <a:defRPr sz="1800">
                          <a:effectLst/>
                        </a:defRPr>
                      </a:pPr>
                      <a:r>
                        <a:rPr lang="en-US" sz="2300" b="1" dirty="0">
                          <a:latin typeface="Trebuchet MS" panose="020B0603020202020204" pitchFamily="34" charset="0"/>
                        </a:rPr>
                        <a:t>5,041</a:t>
                      </a:r>
                      <a:endParaRPr sz="2300" b="1" dirty="0">
                        <a:latin typeface="Trebuchet MS" panose="020B0603020202020204" pitchFamily="34" charset="0"/>
                      </a:endParaRPr>
                    </a:p>
                  </a:txBody>
                  <a:tcPr marL="7194" marR="7194" marT="7194" marB="7194"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tcPr>
                </a:tc>
                <a:tc>
                  <a:txBody>
                    <a:bodyPr/>
                    <a:lstStyle/>
                    <a:p>
                      <a:pPr algn="ctr" fontAlgn="b"/>
                      <a:r>
                        <a:rPr lang="en-GB" sz="2300" b="1" i="0" u="none" strike="noStrike" dirty="0">
                          <a:solidFill>
                            <a:srgbClr val="000000"/>
                          </a:solidFill>
                          <a:effectLst/>
                          <a:latin typeface="Trebuchet MS" panose="020B0603020202020204" pitchFamily="34" charset="0"/>
                        </a:rPr>
                        <a:t>3,144</a:t>
                      </a:r>
                    </a:p>
                  </a:txBody>
                  <a:tcPr marL="7194" marR="7194" marT="7194" marB="0" anchor="ctr">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tcPr>
                </a:tc>
                <a:tc>
                  <a:txBody>
                    <a:bodyPr/>
                    <a:lstStyle/>
                    <a:p>
                      <a:pPr algn="ctr" fontAlgn="b"/>
                      <a:r>
                        <a:rPr lang="en-GB" sz="2300" b="1" i="0" u="none" strike="noStrike" dirty="0">
                          <a:solidFill>
                            <a:srgbClr val="000000"/>
                          </a:solidFill>
                          <a:effectLst/>
                          <a:latin typeface="Trebuchet MS" panose="020B0603020202020204" pitchFamily="34" charset="0"/>
                        </a:rPr>
                        <a:t>62</a:t>
                      </a:r>
                    </a:p>
                  </a:txBody>
                  <a:tcPr marL="7194" marR="7194" marT="7194" marB="0" anchor="ctr">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solidFill>
                      <a:srgbClr val="FFC000"/>
                    </a:solidFill>
                  </a:tcPr>
                </a:tc>
                <a:extLst>
                  <a:ext uri="{0D108BD9-81ED-4DB2-BD59-A6C34878D82A}">
                    <a16:rowId xmlns:a16="http://schemas.microsoft.com/office/drawing/2014/main" val="10014"/>
                  </a:ext>
                </a:extLst>
              </a:tr>
            </a:tbl>
          </a:graphicData>
        </a:graphic>
      </p:graphicFrame>
      <p:sp>
        <p:nvSpPr>
          <p:cNvPr id="10" name="Text Box 3"/>
          <p:cNvSpPr txBox="1"/>
          <p:nvPr/>
        </p:nvSpPr>
        <p:spPr>
          <a:xfrm>
            <a:off x="4013937" y="856183"/>
            <a:ext cx="16356125" cy="6858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8100" tIns="38100" rIns="38100" bIns="38100" anchor="ctr">
            <a:spAutoFit/>
          </a:bodyPr>
          <a:lstStyle/>
          <a:p>
            <a:r>
              <a:rPr dirty="0"/>
              <a:t>Budget Performance Summary (Revenue)</a:t>
            </a:r>
          </a:p>
        </p:txBody>
      </p:sp>
    </p:spTree>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Box 3"/>
          <p:cNvSpPr txBox="1"/>
          <p:nvPr/>
        </p:nvSpPr>
        <p:spPr>
          <a:xfrm>
            <a:off x="4013937" y="837446"/>
            <a:ext cx="16356125" cy="72327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8100" tIns="38100" rIns="38100" bIns="38100" anchor="ctr">
            <a:spAutoFit/>
          </a:bodyPr>
          <a:lstStyle/>
          <a:p>
            <a:r>
              <a:rPr dirty="0"/>
              <a:t>Budget Performance Summary (Recurrent </a:t>
            </a:r>
            <a:r>
              <a:rPr lang="en-US" sz="3600" dirty="0"/>
              <a:t>EXPENDITURE</a:t>
            </a:r>
            <a:r>
              <a:rPr sz="4000" dirty="0"/>
              <a:t>)</a:t>
            </a:r>
          </a:p>
        </p:txBody>
      </p:sp>
      <p:graphicFrame>
        <p:nvGraphicFramePr>
          <p:cNvPr id="9" name="Table">
            <a:extLst>
              <a:ext uri="{FF2B5EF4-FFF2-40B4-BE49-F238E27FC236}">
                <a16:creationId xmlns:a16="http://schemas.microsoft.com/office/drawing/2014/main" id="{2231AC14-2631-40BC-9BC4-40D70A7B5DA0}"/>
              </a:ext>
            </a:extLst>
          </p:cNvPr>
          <p:cNvGraphicFramePr/>
          <p:nvPr>
            <p:extLst>
              <p:ext uri="{D42A27DB-BD31-4B8C-83A1-F6EECF244321}">
                <p14:modId xmlns:p14="http://schemas.microsoft.com/office/powerpoint/2010/main" val="2387111080"/>
              </p:ext>
            </p:extLst>
          </p:nvPr>
        </p:nvGraphicFramePr>
        <p:xfrm>
          <a:off x="2338095" y="2130748"/>
          <a:ext cx="18031967" cy="10259566"/>
        </p:xfrm>
        <a:graphic>
          <a:graphicData uri="http://schemas.openxmlformats.org/drawingml/2006/table">
            <a:tbl>
              <a:tblPr>
                <a:tableStyleId>{8F44A2F1-9E1F-4B54-A3A2-5F16C0AD49E2}</a:tableStyleId>
              </a:tblPr>
              <a:tblGrid>
                <a:gridCol w="8918872">
                  <a:extLst>
                    <a:ext uri="{9D8B030D-6E8A-4147-A177-3AD203B41FA5}">
                      <a16:colId xmlns:a16="http://schemas.microsoft.com/office/drawing/2014/main" val="20000"/>
                    </a:ext>
                  </a:extLst>
                </a:gridCol>
                <a:gridCol w="2361917">
                  <a:extLst>
                    <a:ext uri="{9D8B030D-6E8A-4147-A177-3AD203B41FA5}">
                      <a16:colId xmlns:a16="http://schemas.microsoft.com/office/drawing/2014/main" val="522868045"/>
                    </a:ext>
                  </a:extLst>
                </a:gridCol>
                <a:gridCol w="2563585">
                  <a:extLst>
                    <a:ext uri="{9D8B030D-6E8A-4147-A177-3AD203B41FA5}">
                      <a16:colId xmlns:a16="http://schemas.microsoft.com/office/drawing/2014/main" val="20002"/>
                    </a:ext>
                  </a:extLst>
                </a:gridCol>
                <a:gridCol w="2556555">
                  <a:extLst>
                    <a:ext uri="{9D8B030D-6E8A-4147-A177-3AD203B41FA5}">
                      <a16:colId xmlns:a16="http://schemas.microsoft.com/office/drawing/2014/main" val="20003"/>
                    </a:ext>
                  </a:extLst>
                </a:gridCol>
                <a:gridCol w="1631038">
                  <a:extLst>
                    <a:ext uri="{9D8B030D-6E8A-4147-A177-3AD203B41FA5}">
                      <a16:colId xmlns:a16="http://schemas.microsoft.com/office/drawing/2014/main" val="20004"/>
                    </a:ext>
                  </a:extLst>
                </a:gridCol>
              </a:tblGrid>
              <a:tr h="712438">
                <a:tc rowSpan="2">
                  <a:txBody>
                    <a:bodyPr/>
                    <a:lstStyle/>
                    <a:p>
                      <a:pPr defTabSz="825500">
                        <a:lnSpc>
                          <a:spcPct val="90000"/>
                        </a:lnSpc>
                        <a:defRPr sz="2400" b="1" cap="small">
                          <a:solidFill>
                            <a:srgbClr val="FFFFFF"/>
                          </a:solidFill>
                          <a:effectLst/>
                        </a:defRPr>
                      </a:pPr>
                      <a:r>
                        <a:rPr sz="2300" dirty="0">
                          <a:effectLst>
                            <a:outerShdw blurRad="38100" dist="38100" dir="2700000" algn="tl">
                              <a:srgbClr val="000000">
                                <a:alpha val="43137"/>
                              </a:srgbClr>
                            </a:outerShdw>
                          </a:effectLst>
                          <a:latin typeface="Trebuchet MS" panose="020B0603020202020204" pitchFamily="34" charset="0"/>
                        </a:rPr>
                        <a:t>Fiscal Items</a:t>
                      </a:r>
                    </a:p>
                  </a:txBody>
                  <a:tcPr marL="9443" marR="9443" marT="9443" marB="9443" anchor="ctr" horzOverflow="overflow">
                    <a:lnL w="12700">
                      <a:miter lim="400000"/>
                    </a:lnL>
                    <a:lnR w="38100" cap="flat" cmpd="sng" algn="ctr">
                      <a:solidFill>
                        <a:srgbClr val="FFFFFF"/>
                      </a:solidFill>
                      <a:custDash>
                        <a:ds d="200000" sp="200000"/>
                      </a:custDash>
                      <a:miter lim="400000"/>
                      <a:headEnd type="none" w="med" len="med"/>
                      <a:tailEnd type="none" w="med" len="med"/>
                    </a:lnR>
                    <a:lnT w="12700">
                      <a:miter lim="400000"/>
                    </a:lnT>
                    <a:lnB w="38100">
                      <a:solidFill>
                        <a:srgbClr val="A7A7A7"/>
                      </a:solidFill>
                      <a:custDash>
                        <a:ds d="200000" sp="200000"/>
                      </a:custDash>
                      <a:miter lim="400000"/>
                    </a:lnB>
                    <a:solidFill>
                      <a:schemeClr val="accent3"/>
                    </a:solidFill>
                  </a:tcPr>
                </a:tc>
                <a:tc rowSpan="2">
                  <a:txBody>
                    <a:bodyPr/>
                    <a:lstStyle/>
                    <a:p>
                      <a:pPr defTabSz="825500">
                        <a:lnSpc>
                          <a:spcPct val="90000"/>
                        </a:lnSpc>
                        <a:defRPr sz="2400" b="1" cap="small">
                          <a:solidFill>
                            <a:srgbClr val="FFFFFF"/>
                          </a:solidFill>
                          <a:effectLst/>
                        </a:defRPr>
                      </a:pPr>
                      <a:r>
                        <a:rPr sz="2300" dirty="0">
                          <a:effectLst>
                            <a:outerShdw blurRad="38100" dist="38100" dir="2700000" algn="tl">
                              <a:srgbClr val="000000">
                                <a:alpha val="43137"/>
                              </a:srgbClr>
                            </a:outerShdw>
                          </a:effectLst>
                        </a:rPr>
                        <a:t>202</a:t>
                      </a:r>
                      <a:r>
                        <a:rPr lang="en-US" sz="2300" dirty="0">
                          <a:effectLst>
                            <a:outerShdw blurRad="38100" dist="38100" dir="2700000" algn="tl">
                              <a:srgbClr val="000000">
                                <a:alpha val="43137"/>
                              </a:srgbClr>
                            </a:outerShdw>
                          </a:effectLst>
                        </a:rPr>
                        <a:t>1</a:t>
                      </a:r>
                      <a:r>
                        <a:rPr sz="2300" dirty="0">
                          <a:effectLst>
                            <a:outerShdw blurRad="38100" dist="38100" dir="2700000" algn="tl">
                              <a:srgbClr val="000000">
                                <a:alpha val="43137"/>
                              </a:srgbClr>
                            </a:outerShdw>
                          </a:effectLst>
                        </a:rPr>
                        <a:t>  Budget</a:t>
                      </a:r>
                      <a:endParaRPr sz="2300" dirty="0">
                        <a:effectLst>
                          <a:outerShdw blurRad="38100" dist="38100" dir="2700000" algn="tl">
                            <a:srgbClr val="000000">
                              <a:alpha val="43137"/>
                            </a:srgbClr>
                          </a:outerShdw>
                        </a:effectLst>
                        <a:latin typeface="+mn-lt"/>
                        <a:ea typeface="+mn-ea"/>
                        <a:cs typeface="+mn-cs"/>
                        <a:sym typeface="Helvetica Neue"/>
                      </a:endParaRPr>
                    </a:p>
                    <a:p>
                      <a:pPr defTabSz="825500">
                        <a:lnSpc>
                          <a:spcPct val="90000"/>
                        </a:lnSpc>
                        <a:defRPr sz="2400" b="1" cap="small">
                          <a:solidFill>
                            <a:srgbClr val="FFFFFF"/>
                          </a:solidFill>
                          <a:effectLst/>
                        </a:defRPr>
                      </a:pPr>
                      <a:r>
                        <a:rPr sz="2300" dirty="0">
                          <a:effectLst>
                            <a:outerShdw blurRad="38100" dist="38100" dir="2700000" algn="tl">
                              <a:srgbClr val="000000">
                                <a:alpha val="43137"/>
                              </a:srgbClr>
                            </a:outerShdw>
                          </a:effectLst>
                        </a:rPr>
                        <a:t>(₦’Mn)</a:t>
                      </a:r>
                    </a:p>
                  </a:txBody>
                  <a:tcPr marL="8775" marR="8775" marT="8775" marB="8775" anchor="ctr" horzOverflow="overflow">
                    <a:lnL w="38100" cap="flat" cmpd="sng" algn="ctr">
                      <a:solidFill>
                        <a:srgbClr val="FFFFFF"/>
                      </a:solidFill>
                      <a:custDash>
                        <a:ds d="200000" sp="200000"/>
                      </a:custDash>
                      <a:miter lim="400000"/>
                      <a:headEnd type="none" w="med" len="med"/>
                      <a:tailEnd type="none" w="med" len="med"/>
                    </a:lnL>
                    <a:lnR w="38100" cap="flat" cmpd="sng" algn="ctr">
                      <a:solidFill>
                        <a:srgbClr val="FFFFFF"/>
                      </a:solidFill>
                      <a:custDash>
                        <a:ds d="200000" sp="200000"/>
                      </a:custDash>
                      <a:miter lim="400000"/>
                      <a:headEnd type="none" w="med" len="med"/>
                      <a:tailEnd type="none" w="med" len="med"/>
                    </a:lnR>
                    <a:lnT w="12700">
                      <a:miter lim="400000"/>
                    </a:lnT>
                    <a:solidFill>
                      <a:schemeClr val="accent3"/>
                    </a:solidFill>
                  </a:tcPr>
                </a:tc>
                <a:tc gridSpan="3">
                  <a:txBody>
                    <a:bodyPr/>
                    <a:lstStyle/>
                    <a:p>
                      <a:pPr defTabSz="825500">
                        <a:lnSpc>
                          <a:spcPct val="90000"/>
                        </a:lnSpc>
                        <a:defRPr sz="1800">
                          <a:effectLst/>
                        </a:defRPr>
                      </a:pPr>
                      <a:r>
                        <a:rPr lang="en-GB" sz="2300" b="1" cap="small" dirty="0">
                          <a:solidFill>
                            <a:srgbClr val="FFFFFF"/>
                          </a:solidFill>
                          <a:effectLst>
                            <a:outerShdw blurRad="38100" dist="38100" dir="2700000" algn="tl">
                              <a:srgbClr val="000000">
                                <a:alpha val="43137"/>
                              </a:srgbClr>
                            </a:outerShdw>
                          </a:effectLst>
                        </a:rPr>
                        <a:t>Q1</a:t>
                      </a:r>
                      <a:endParaRPr sz="2300" b="1" cap="small" dirty="0">
                        <a:solidFill>
                          <a:srgbClr val="FFFFFF"/>
                        </a:solidFill>
                        <a:effectLst>
                          <a:outerShdw blurRad="38100" dist="38100" dir="2700000" algn="tl">
                            <a:srgbClr val="000000">
                              <a:alpha val="43137"/>
                            </a:srgbClr>
                          </a:outerShdw>
                        </a:effectLst>
                      </a:endParaRPr>
                    </a:p>
                  </a:txBody>
                  <a:tcPr marL="0" marR="0" marT="0" marB="0" anchor="ctr" horzOverflow="overflow">
                    <a:lnL w="38100" cap="flat" cmpd="sng" algn="ctr">
                      <a:solidFill>
                        <a:srgbClr val="FFFFFF"/>
                      </a:solidFill>
                      <a:custDash>
                        <a:ds d="200000" sp="200000"/>
                      </a:custDash>
                      <a:miter lim="400000"/>
                      <a:headEnd type="none" w="med" len="med"/>
                      <a:tailEnd type="none" w="med" len="med"/>
                    </a:lnL>
                    <a:lnR w="38100">
                      <a:solidFill>
                        <a:srgbClr val="FFFFFF"/>
                      </a:solidFill>
                      <a:custDash>
                        <a:ds d="200000" sp="200000"/>
                      </a:custDash>
                      <a:miter lim="400000"/>
                    </a:lnR>
                    <a:lnT w="12700">
                      <a:miter lim="400000"/>
                    </a:lnT>
                    <a:lnB w="38100">
                      <a:solidFill>
                        <a:srgbClr val="FFFFFF"/>
                      </a:solidFill>
                      <a:custDash>
                        <a:ds d="200000" sp="200000"/>
                      </a:custDash>
                      <a:miter lim="400000"/>
                    </a:lnB>
                    <a:solidFill>
                      <a:schemeClr val="accent3"/>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631366">
                <a:tc vMerge="1">
                  <a:txBody>
                    <a:bodyPr/>
                    <a:lstStyle/>
                    <a:p>
                      <a:endParaRPr lang="en-US"/>
                    </a:p>
                  </a:txBody>
                  <a:tcPr/>
                </a:tc>
                <a:tc vMerge="1">
                  <a:txBody>
                    <a:bodyPr/>
                    <a:lstStyle/>
                    <a:p>
                      <a:endParaRPr lang="en-US" dirty="0"/>
                    </a:p>
                  </a:txBody>
                  <a:tcPr/>
                </a:tc>
                <a:tc>
                  <a:txBody>
                    <a:bodyPr/>
                    <a:lstStyle/>
                    <a:p>
                      <a:pPr defTabSz="825500">
                        <a:lnSpc>
                          <a:spcPct val="90000"/>
                        </a:lnSpc>
                        <a:defRPr sz="2400" b="1" cap="small">
                          <a:solidFill>
                            <a:srgbClr val="FFFFFF"/>
                          </a:solidFill>
                          <a:effectLst/>
                        </a:defRPr>
                      </a:pPr>
                      <a:r>
                        <a:rPr sz="2300" dirty="0">
                          <a:effectLst>
                            <a:outerShdw blurRad="38100" dist="38100" dir="2700000" algn="tl">
                              <a:srgbClr val="000000">
                                <a:alpha val="43137"/>
                              </a:srgbClr>
                            </a:outerShdw>
                          </a:effectLst>
                        </a:rPr>
                        <a:t>Budget</a:t>
                      </a:r>
                    </a:p>
                    <a:p>
                      <a:pPr defTabSz="825500">
                        <a:lnSpc>
                          <a:spcPct val="90000"/>
                        </a:lnSpc>
                        <a:defRPr sz="2400" b="1" cap="small">
                          <a:solidFill>
                            <a:srgbClr val="FFFFFF"/>
                          </a:solidFill>
                          <a:effectLst/>
                        </a:defRPr>
                      </a:pPr>
                      <a:r>
                        <a:rPr sz="2300" dirty="0">
                          <a:effectLst>
                            <a:outerShdw blurRad="38100" dist="38100" dir="2700000" algn="tl">
                              <a:srgbClr val="000000">
                                <a:alpha val="43137"/>
                              </a:srgbClr>
                            </a:outerShdw>
                          </a:effectLst>
                        </a:rPr>
                        <a:t>Jan – </a:t>
                      </a:r>
                      <a:r>
                        <a:rPr lang="en-GB" sz="2300" dirty="0">
                          <a:effectLst>
                            <a:outerShdw blurRad="38100" dist="38100" dir="2700000" algn="tl">
                              <a:srgbClr val="000000">
                                <a:alpha val="43137"/>
                              </a:srgbClr>
                            </a:outerShdw>
                          </a:effectLst>
                        </a:rPr>
                        <a:t>Mar</a:t>
                      </a:r>
                    </a:p>
                    <a:p>
                      <a:pPr defTabSz="825500">
                        <a:lnSpc>
                          <a:spcPct val="90000"/>
                        </a:lnSpc>
                        <a:defRPr sz="2400" b="1" cap="small">
                          <a:solidFill>
                            <a:srgbClr val="FFFFFF"/>
                          </a:solidFill>
                          <a:effectLst/>
                        </a:defRPr>
                      </a:pPr>
                      <a:r>
                        <a:rPr sz="2300" dirty="0">
                          <a:effectLst>
                            <a:outerShdw blurRad="38100" dist="38100" dir="2700000" algn="tl">
                              <a:srgbClr val="000000">
                                <a:alpha val="43137"/>
                              </a:srgbClr>
                            </a:outerShdw>
                          </a:effectLst>
                        </a:rPr>
                        <a:t>(₦’Mn)</a:t>
                      </a:r>
                    </a:p>
                  </a:txBody>
                  <a:tcPr marL="0" marR="0" marT="0" marB="0" anchor="ctr" horzOverflow="overflow">
                    <a:lnR w="38100">
                      <a:solidFill>
                        <a:srgbClr val="FFFFFF"/>
                      </a:solidFill>
                      <a:custDash>
                        <a:ds d="200000" sp="200000"/>
                      </a:custDash>
                      <a:miter lim="400000"/>
                    </a:lnR>
                    <a:lnT w="38100">
                      <a:solidFill>
                        <a:srgbClr val="FFFFFF"/>
                      </a:solidFill>
                      <a:custDash>
                        <a:ds d="200000" sp="200000"/>
                      </a:custDash>
                      <a:miter lim="400000"/>
                    </a:lnT>
                    <a:lnB w="38100" cap="flat" cmpd="sng" algn="ctr">
                      <a:solidFill>
                        <a:srgbClr val="A7A7A7"/>
                      </a:solidFill>
                      <a:custDash>
                        <a:ds d="200000" sp="200000"/>
                      </a:custDash>
                      <a:miter lim="400000"/>
                      <a:headEnd type="none" w="med" len="med"/>
                      <a:tailEnd type="none" w="med" len="med"/>
                    </a:lnB>
                    <a:solidFill>
                      <a:schemeClr val="accent3"/>
                    </a:solidFill>
                  </a:tcPr>
                </a:tc>
                <a:tc>
                  <a:txBody>
                    <a:bodyPr/>
                    <a:lstStyle/>
                    <a:p>
                      <a:pPr defTabSz="825500">
                        <a:lnSpc>
                          <a:spcPct val="90000"/>
                        </a:lnSpc>
                        <a:defRPr sz="2400" b="1" cap="small">
                          <a:solidFill>
                            <a:srgbClr val="FFFFFF"/>
                          </a:solidFill>
                          <a:effectLst/>
                        </a:defRPr>
                      </a:pPr>
                      <a:r>
                        <a:rPr lang="en-GB" sz="2300" dirty="0">
                          <a:effectLst>
                            <a:outerShdw blurRad="38100" dist="38100" dir="2700000" algn="tl">
                              <a:srgbClr val="000000">
                                <a:alpha val="43137"/>
                              </a:srgbClr>
                            </a:outerShdw>
                          </a:effectLst>
                        </a:rPr>
                        <a:t>Actual</a:t>
                      </a:r>
                      <a:endParaRPr sz="2300" dirty="0">
                        <a:effectLst>
                          <a:outerShdw blurRad="38100" dist="38100" dir="2700000" algn="tl">
                            <a:srgbClr val="000000">
                              <a:alpha val="43137"/>
                            </a:srgbClr>
                          </a:outerShdw>
                        </a:effectLst>
                      </a:endParaRPr>
                    </a:p>
                    <a:p>
                      <a:pPr defTabSz="825500">
                        <a:lnSpc>
                          <a:spcPct val="90000"/>
                        </a:lnSpc>
                        <a:defRPr sz="2400" b="1" cap="small">
                          <a:solidFill>
                            <a:srgbClr val="FFFFFF"/>
                          </a:solidFill>
                          <a:effectLst/>
                        </a:defRPr>
                      </a:pPr>
                      <a:r>
                        <a:rPr sz="2300" dirty="0">
                          <a:effectLst>
                            <a:outerShdw blurRad="38100" dist="38100" dir="2700000" algn="tl">
                              <a:srgbClr val="000000">
                                <a:alpha val="43137"/>
                              </a:srgbClr>
                            </a:outerShdw>
                          </a:effectLst>
                        </a:rPr>
                        <a:t>Jan - </a:t>
                      </a:r>
                      <a:r>
                        <a:rPr lang="en-GB" sz="2300" dirty="0">
                          <a:effectLst>
                            <a:outerShdw blurRad="38100" dist="38100" dir="2700000" algn="tl">
                              <a:srgbClr val="000000">
                                <a:alpha val="43137"/>
                              </a:srgbClr>
                            </a:outerShdw>
                          </a:effectLst>
                        </a:rPr>
                        <a:t>MAR</a:t>
                      </a:r>
                      <a:endParaRPr sz="2300" dirty="0">
                        <a:effectLst>
                          <a:outerShdw blurRad="38100" dist="38100" dir="2700000" algn="tl">
                            <a:srgbClr val="000000">
                              <a:alpha val="43137"/>
                            </a:srgbClr>
                          </a:outerShdw>
                        </a:effectLst>
                      </a:endParaRPr>
                    </a:p>
                    <a:p>
                      <a:pPr defTabSz="825500">
                        <a:lnSpc>
                          <a:spcPct val="90000"/>
                        </a:lnSpc>
                        <a:defRPr sz="2400" b="1" cap="small">
                          <a:solidFill>
                            <a:srgbClr val="FFFFFF"/>
                          </a:solidFill>
                          <a:effectLst/>
                        </a:defRPr>
                      </a:pPr>
                      <a:r>
                        <a:rPr sz="2300" dirty="0">
                          <a:effectLst>
                            <a:outerShdw blurRad="38100" dist="38100" dir="2700000" algn="tl">
                              <a:srgbClr val="000000">
                                <a:alpha val="43137"/>
                              </a:srgbClr>
                            </a:outerShdw>
                          </a:effectLst>
                        </a:rPr>
                        <a:t>(₦’Mn)</a:t>
                      </a:r>
                    </a:p>
                  </a:txBody>
                  <a:tcPr marL="8775" marR="8775" marT="8775" marB="8775" anchor="ctr" horzOverflow="overflow">
                    <a:lnL w="38100">
                      <a:solidFill>
                        <a:srgbClr val="FFFFFF"/>
                      </a:solidFill>
                      <a:custDash>
                        <a:ds d="200000" sp="200000"/>
                      </a:custDash>
                      <a:miter lim="400000"/>
                    </a:lnL>
                    <a:lnR w="38100">
                      <a:solidFill>
                        <a:srgbClr val="FFFFFF"/>
                      </a:solidFill>
                      <a:custDash>
                        <a:ds d="200000" sp="200000"/>
                      </a:custDash>
                      <a:miter lim="400000"/>
                    </a:lnR>
                    <a:lnT w="38100">
                      <a:solidFill>
                        <a:srgbClr val="FFFFFF"/>
                      </a:solidFill>
                      <a:custDash>
                        <a:ds d="200000" sp="200000"/>
                      </a:custDash>
                      <a:miter lim="400000"/>
                    </a:lnT>
                    <a:lnB w="38100" cap="flat" cmpd="sng" algn="ctr">
                      <a:solidFill>
                        <a:srgbClr val="A7A7A7"/>
                      </a:solidFill>
                      <a:custDash>
                        <a:ds d="200000" sp="200000"/>
                      </a:custDash>
                      <a:miter lim="400000"/>
                      <a:headEnd type="none" w="med" len="med"/>
                      <a:tailEnd type="none" w="med" len="med"/>
                    </a:lnB>
                    <a:solidFill>
                      <a:schemeClr val="accent3"/>
                    </a:solidFill>
                  </a:tcPr>
                </a:tc>
                <a:tc>
                  <a:txBody>
                    <a:bodyPr/>
                    <a:lstStyle/>
                    <a:p>
                      <a:pPr defTabSz="825500">
                        <a:lnSpc>
                          <a:spcPct val="90000"/>
                        </a:lnSpc>
                        <a:defRPr sz="2400" b="1" cap="small">
                          <a:solidFill>
                            <a:srgbClr val="FFFFFF"/>
                          </a:solidFill>
                          <a:effectLst/>
                        </a:defRPr>
                      </a:pPr>
                      <a:r>
                        <a:rPr sz="2300" dirty="0">
                          <a:effectLst>
                            <a:outerShdw blurRad="38100" dist="38100" dir="2700000" algn="tl">
                              <a:srgbClr val="000000">
                                <a:alpha val="43137"/>
                              </a:srgbClr>
                            </a:outerShdw>
                          </a:effectLst>
                        </a:rPr>
                        <a:t>Perf.</a:t>
                      </a:r>
                    </a:p>
                    <a:p>
                      <a:pPr defTabSz="825500">
                        <a:lnSpc>
                          <a:spcPct val="90000"/>
                        </a:lnSpc>
                        <a:defRPr sz="2400" b="1" cap="small">
                          <a:solidFill>
                            <a:srgbClr val="FFFFFF"/>
                          </a:solidFill>
                          <a:effectLst/>
                        </a:defRPr>
                      </a:pPr>
                      <a:r>
                        <a:rPr sz="2300" dirty="0">
                          <a:effectLst>
                            <a:outerShdw blurRad="38100" dist="38100" dir="2700000" algn="tl">
                              <a:srgbClr val="000000">
                                <a:alpha val="43137"/>
                              </a:srgbClr>
                            </a:outerShdw>
                          </a:effectLst>
                        </a:rPr>
                        <a:t>(%)</a:t>
                      </a:r>
                    </a:p>
                  </a:txBody>
                  <a:tcPr marL="8775" marR="8775" marT="8775" marB="8775" anchor="ctr" horzOverflow="overflow">
                    <a:lnL w="38100">
                      <a:solidFill>
                        <a:srgbClr val="FFFFFF"/>
                      </a:solidFill>
                      <a:custDash>
                        <a:ds d="200000" sp="200000"/>
                      </a:custDash>
                      <a:miter lim="400000"/>
                    </a:lnL>
                    <a:lnR w="38100">
                      <a:solidFill>
                        <a:srgbClr val="FFFFFF"/>
                      </a:solidFill>
                      <a:custDash>
                        <a:ds d="200000" sp="200000"/>
                      </a:custDash>
                      <a:miter lim="400000"/>
                    </a:lnR>
                    <a:lnT w="38100">
                      <a:solidFill>
                        <a:srgbClr val="FFFFFF"/>
                      </a:solidFill>
                      <a:custDash>
                        <a:ds d="200000" sp="200000"/>
                      </a:custDash>
                      <a:miter lim="400000"/>
                    </a:lnT>
                    <a:lnB w="38100" cap="flat" cmpd="sng" algn="ctr">
                      <a:solidFill>
                        <a:srgbClr val="A7A7A7"/>
                      </a:solidFill>
                      <a:custDash>
                        <a:ds d="200000" sp="200000"/>
                      </a:custDash>
                      <a:miter lim="400000"/>
                      <a:headEnd type="none" w="med" len="med"/>
                      <a:tailEnd type="none" w="med" len="med"/>
                    </a:lnB>
                    <a:solidFill>
                      <a:schemeClr val="accent3"/>
                    </a:solidFill>
                  </a:tcPr>
                </a:tc>
                <a:extLst>
                  <a:ext uri="{0D108BD9-81ED-4DB2-BD59-A6C34878D82A}">
                    <a16:rowId xmlns:a16="http://schemas.microsoft.com/office/drawing/2014/main" val="10001"/>
                  </a:ext>
                </a:extLst>
              </a:tr>
              <a:tr h="851604">
                <a:tc>
                  <a:txBody>
                    <a:bodyPr/>
                    <a:lstStyle/>
                    <a:p>
                      <a:pPr marL="489952" indent="-401052" algn="l" defTabSz="825500">
                        <a:buSzPct val="100000"/>
                        <a:buAutoNum type="alphaUcPeriod" startAt="6"/>
                        <a:defRPr sz="2400" b="1">
                          <a:effectLst/>
                          <a:latin typeface="+mn-lt"/>
                          <a:ea typeface="+mn-ea"/>
                          <a:cs typeface="+mn-cs"/>
                          <a:sym typeface="Helvetica Neue"/>
                        </a:defRPr>
                      </a:pPr>
                      <a:r>
                        <a:rPr sz="2300" b="1" dirty="0">
                          <a:latin typeface="Trebuchet MS" panose="020B0603020202020204" pitchFamily="34" charset="0"/>
                        </a:rPr>
                        <a:t>RECURRENT EXPENDITURE</a:t>
                      </a:r>
                    </a:p>
                  </a:txBody>
                  <a:tcPr marL="9443" marR="9443" marT="9443" marB="9443" anchor="ctr" horzOverflow="overflow">
                    <a:lnL w="12700">
                      <a:miter lim="400000"/>
                    </a:lnL>
                    <a:lnR w="38100">
                      <a:solidFill>
                        <a:srgbClr val="A7A7A7"/>
                      </a:solidFill>
                      <a:custDash>
                        <a:ds d="200000" sp="200000"/>
                      </a:custDash>
                      <a:miter lim="400000"/>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solidFill>
                      <a:srgbClr val="22C00F"/>
                    </a:solidFill>
                  </a:tcPr>
                </a:tc>
                <a:tc>
                  <a:txBody>
                    <a:bodyPr/>
                    <a:lstStyle/>
                    <a:p>
                      <a:pPr algn="ctr">
                        <a:defRPr sz="1800">
                          <a:effectLst/>
                        </a:defRPr>
                      </a:pPr>
                      <a:r>
                        <a:rPr lang="en-US" sz="2300" b="1" dirty="0">
                          <a:latin typeface="Trebuchet MS" panose="020B0603020202020204" pitchFamily="34" charset="0"/>
                        </a:rPr>
                        <a:t>460,587</a:t>
                      </a:r>
                      <a:endParaRPr sz="2300" b="1" dirty="0">
                        <a:latin typeface="Trebuchet MS" panose="020B0603020202020204" pitchFamily="34" charset="0"/>
                      </a:endParaRPr>
                    </a:p>
                  </a:txBody>
                  <a:tcPr marL="7313" marR="7313" marT="7313" marB="7313"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B w="38100" cap="flat" cmpd="sng" algn="ctr">
                      <a:solidFill>
                        <a:srgbClr val="A7A7A7"/>
                      </a:solidFill>
                      <a:custDash>
                        <a:ds d="200000" sp="200000"/>
                      </a:custDash>
                      <a:miter lim="400000"/>
                      <a:headEnd type="none" w="med" len="med"/>
                      <a:tailEnd type="none" w="med" len="med"/>
                    </a:lnB>
                  </a:tcPr>
                </a:tc>
                <a:tc>
                  <a:txBody>
                    <a:bodyPr/>
                    <a:lstStyle/>
                    <a:p>
                      <a:pPr algn="ctr">
                        <a:defRPr sz="1800">
                          <a:effectLst/>
                        </a:defRPr>
                      </a:pPr>
                      <a:r>
                        <a:rPr lang="en-US" sz="2300" b="1" dirty="0">
                          <a:latin typeface="Trebuchet MS" panose="020B0603020202020204" pitchFamily="34" charset="0"/>
                        </a:rPr>
                        <a:t>115,147</a:t>
                      </a:r>
                      <a:endParaRPr sz="2300" b="1" dirty="0">
                        <a:latin typeface="Trebuchet MS" panose="020B0603020202020204" pitchFamily="34" charset="0"/>
                      </a:endParaRPr>
                    </a:p>
                  </a:txBody>
                  <a:tcPr marL="7313" marR="7313" marT="7313" marB="7313"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algn="ctr" fontAlgn="b"/>
                      <a:r>
                        <a:rPr lang="en-GB" sz="2300" b="1" i="0" u="none" strike="noStrike" dirty="0">
                          <a:solidFill>
                            <a:srgbClr val="000000"/>
                          </a:solidFill>
                          <a:effectLst/>
                          <a:latin typeface="Trebuchet MS" panose="020B0603020202020204" pitchFamily="34" charset="0"/>
                        </a:rPr>
                        <a:t>89,979</a:t>
                      </a:r>
                    </a:p>
                  </a:txBody>
                  <a:tcPr marL="7313" marR="7313" marT="7313" marB="0" anchor="ctr">
                    <a:lnL w="38100">
                      <a:solidFill>
                        <a:srgbClr val="A7A7A7"/>
                      </a:solidFill>
                      <a:custDash>
                        <a:ds d="200000" sp="200000"/>
                      </a:custDash>
                      <a:miter lim="400000"/>
                    </a:lnL>
                    <a:lnR w="38100">
                      <a:solidFill>
                        <a:srgbClr val="A7A7A7"/>
                      </a:solidFill>
                      <a:custDash>
                        <a:ds d="200000" sp="200000"/>
                      </a:custDash>
                      <a:miter lim="400000"/>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algn="ctr" fontAlgn="b"/>
                      <a:r>
                        <a:rPr lang="en-GB" sz="2300" b="1" i="0" u="none" strike="noStrike" dirty="0">
                          <a:solidFill>
                            <a:srgbClr val="000000"/>
                          </a:solidFill>
                          <a:effectLst/>
                          <a:latin typeface="Trebuchet MS" panose="020B0603020202020204" pitchFamily="34" charset="0"/>
                        </a:rPr>
                        <a:t>78</a:t>
                      </a:r>
                    </a:p>
                  </a:txBody>
                  <a:tcPr marL="7313" marR="7313" marT="7313"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solidFill>
                      <a:srgbClr val="FFC000"/>
                    </a:solidFill>
                  </a:tcPr>
                </a:tc>
                <a:extLst>
                  <a:ext uri="{0D108BD9-81ED-4DB2-BD59-A6C34878D82A}">
                    <a16:rowId xmlns:a16="http://schemas.microsoft.com/office/drawing/2014/main" val="10002"/>
                  </a:ext>
                </a:extLst>
              </a:tr>
              <a:tr h="767561">
                <a:tc>
                  <a:txBody>
                    <a:bodyPr/>
                    <a:lstStyle/>
                    <a:p>
                      <a:pPr marL="546100" indent="-457200" algn="l" defTabSz="825500">
                        <a:buSzPct val="100000"/>
                        <a:buFont typeface="+mj-lt"/>
                        <a:buAutoNum type="alphaUcPeriod" startAt="7"/>
                        <a:defRPr sz="2400" b="1">
                          <a:effectLst/>
                          <a:latin typeface="+mn-lt"/>
                          <a:ea typeface="+mn-ea"/>
                          <a:cs typeface="+mn-cs"/>
                          <a:sym typeface="Helvetica Neue"/>
                        </a:defRPr>
                      </a:pPr>
                      <a:r>
                        <a:rPr sz="2300" b="1" dirty="0">
                          <a:latin typeface="Trebuchet MS" panose="020B0603020202020204" pitchFamily="34" charset="0"/>
                        </a:rPr>
                        <a:t>Total Personnel Costs</a:t>
                      </a:r>
                    </a:p>
                  </a:txBody>
                  <a:tcPr marL="9443" marR="9443" marT="9443" marB="9443" anchor="ctr" horzOverflow="overflow">
                    <a:lnL w="12700">
                      <a:miter lim="400000"/>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solidFill>
                      <a:srgbClr val="22C00F"/>
                    </a:solidFill>
                  </a:tcPr>
                </a:tc>
                <a:tc>
                  <a:txBody>
                    <a:bodyPr/>
                    <a:lstStyle/>
                    <a:p>
                      <a:pPr algn="ctr">
                        <a:defRPr sz="1800">
                          <a:effectLst/>
                        </a:defRPr>
                      </a:pPr>
                      <a:r>
                        <a:rPr lang="en-US" sz="2300" b="1" dirty="0">
                          <a:latin typeface="Trebuchet MS" panose="020B0603020202020204" pitchFamily="34" charset="0"/>
                        </a:rPr>
                        <a:t>170,526</a:t>
                      </a:r>
                      <a:endParaRPr sz="2300" b="1" dirty="0">
                        <a:latin typeface="Trebuchet MS" panose="020B0603020202020204" pitchFamily="34" charset="0"/>
                      </a:endParaRPr>
                    </a:p>
                  </a:txBody>
                  <a:tcPr marL="7313" marR="7313" marT="7313" marB="7313"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algn="ctr">
                        <a:defRPr sz="1800">
                          <a:effectLst/>
                        </a:defRPr>
                      </a:pPr>
                      <a:r>
                        <a:rPr lang="en-US" sz="2300" b="1" dirty="0">
                          <a:latin typeface="Trebuchet MS" panose="020B0603020202020204" pitchFamily="34" charset="0"/>
                        </a:rPr>
                        <a:t>42,632</a:t>
                      </a:r>
                      <a:endParaRPr sz="2300" b="1" dirty="0">
                        <a:latin typeface="Trebuchet MS" panose="020B0603020202020204" pitchFamily="34" charset="0"/>
                      </a:endParaRPr>
                    </a:p>
                  </a:txBody>
                  <a:tcPr marL="7313" marR="7313" marT="7313" marB="7313"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tcPr>
                </a:tc>
                <a:tc>
                  <a:txBody>
                    <a:bodyPr/>
                    <a:lstStyle/>
                    <a:p>
                      <a:pPr algn="ctr" fontAlgn="b"/>
                      <a:r>
                        <a:rPr lang="en-GB" sz="2300" b="1" i="0" u="none" strike="noStrike" dirty="0">
                          <a:solidFill>
                            <a:srgbClr val="000000"/>
                          </a:solidFill>
                          <a:effectLst/>
                          <a:latin typeface="Trebuchet MS" panose="020B0603020202020204" pitchFamily="34" charset="0"/>
                        </a:rPr>
                        <a:t>37,432</a:t>
                      </a:r>
                    </a:p>
                  </a:txBody>
                  <a:tcPr marL="7313" marR="7313" marT="7313" marB="0" anchor="ctr">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tcPr>
                </a:tc>
                <a:tc>
                  <a:txBody>
                    <a:bodyPr/>
                    <a:lstStyle/>
                    <a:p>
                      <a:pPr algn="ctr" fontAlgn="b"/>
                      <a:r>
                        <a:rPr lang="en-GB" sz="2300" b="1" i="0" u="none" strike="noStrike" dirty="0">
                          <a:solidFill>
                            <a:srgbClr val="000000"/>
                          </a:solidFill>
                          <a:effectLst/>
                          <a:latin typeface="Trebuchet MS" panose="020B0603020202020204" pitchFamily="34" charset="0"/>
                        </a:rPr>
                        <a:t>88</a:t>
                      </a:r>
                    </a:p>
                  </a:txBody>
                  <a:tcPr marL="7313" marR="7313" marT="7313"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solidFill>
                      <a:srgbClr val="22C00F"/>
                    </a:solidFill>
                  </a:tcPr>
                </a:tc>
                <a:extLst>
                  <a:ext uri="{0D108BD9-81ED-4DB2-BD59-A6C34878D82A}">
                    <a16:rowId xmlns:a16="http://schemas.microsoft.com/office/drawing/2014/main" val="10007"/>
                  </a:ext>
                </a:extLst>
              </a:tr>
              <a:tr h="767561">
                <a:tc>
                  <a:txBody>
                    <a:bodyPr/>
                    <a:lstStyle/>
                    <a:p>
                      <a:pPr marL="546100" indent="-457200" algn="l" defTabSz="825500">
                        <a:buSzPct val="100000"/>
                        <a:buFont typeface="+mj-lt"/>
                        <a:buAutoNum type="alphaUcPeriod" startAt="8"/>
                        <a:defRPr sz="2400" b="1">
                          <a:effectLst/>
                          <a:latin typeface="+mn-lt"/>
                          <a:ea typeface="+mn-ea"/>
                          <a:cs typeface="+mn-cs"/>
                          <a:sym typeface="Helvetica Neue"/>
                        </a:defRPr>
                      </a:pPr>
                      <a:r>
                        <a:rPr sz="2300" b="1" dirty="0">
                          <a:latin typeface="Trebuchet MS" panose="020B0603020202020204" pitchFamily="34" charset="0"/>
                        </a:rPr>
                        <a:t>DEBT</a:t>
                      </a:r>
                      <a:r>
                        <a:rPr lang="en-US" sz="2300" b="1" dirty="0">
                          <a:latin typeface="Trebuchet MS" panose="020B0603020202020204" pitchFamily="34" charset="0"/>
                        </a:rPr>
                        <a:t> CHARGES</a:t>
                      </a:r>
                      <a:endParaRPr sz="2300" b="1" dirty="0">
                        <a:latin typeface="Trebuchet MS" panose="020B0603020202020204" pitchFamily="34" charset="0"/>
                      </a:endParaRPr>
                    </a:p>
                  </a:txBody>
                  <a:tcPr marL="9443" marR="9443" marT="9443" marB="9443" anchor="ctr" horzOverflow="overflow">
                    <a:lnL w="12700">
                      <a:miter lim="400000"/>
                    </a:lnL>
                    <a:lnR w="38100">
                      <a:solidFill>
                        <a:srgbClr val="A7A7A7"/>
                      </a:solidFill>
                      <a:custDash>
                        <a:ds d="200000" sp="200000"/>
                      </a:custDash>
                      <a:miter lim="400000"/>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solidFill>
                      <a:srgbClr val="22C00F"/>
                    </a:solidFill>
                  </a:tcPr>
                </a:tc>
                <a:tc>
                  <a:txBody>
                    <a:bodyPr/>
                    <a:lstStyle/>
                    <a:p>
                      <a:pPr algn="ctr">
                        <a:defRPr sz="1800">
                          <a:effectLst/>
                        </a:defRPr>
                      </a:pPr>
                      <a:r>
                        <a:rPr lang="en-US" sz="2300" b="1" dirty="0">
                          <a:latin typeface="Trebuchet MS" panose="020B0603020202020204" pitchFamily="34" charset="0"/>
                        </a:rPr>
                        <a:t>27,473</a:t>
                      </a:r>
                      <a:endParaRPr sz="2300" b="1" dirty="0">
                        <a:latin typeface="Trebuchet MS" panose="020B0603020202020204" pitchFamily="34" charset="0"/>
                      </a:endParaRPr>
                    </a:p>
                  </a:txBody>
                  <a:tcPr marL="7313" marR="7313" marT="7313" marB="7313"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algn="ctr">
                        <a:defRPr sz="1800">
                          <a:effectLst/>
                        </a:defRPr>
                      </a:pPr>
                      <a:r>
                        <a:rPr lang="en-US" sz="2300" b="1" dirty="0">
                          <a:latin typeface="Trebuchet MS" panose="020B0603020202020204" pitchFamily="34" charset="0"/>
                        </a:rPr>
                        <a:t>6,868</a:t>
                      </a:r>
                      <a:endParaRPr sz="2300" b="1" dirty="0">
                        <a:latin typeface="Trebuchet MS" panose="020B0603020202020204" pitchFamily="34" charset="0"/>
                      </a:endParaRPr>
                    </a:p>
                  </a:txBody>
                  <a:tcPr marL="7313" marR="7313" marT="7313" marB="7313"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tcPr>
                </a:tc>
                <a:tc>
                  <a:txBody>
                    <a:bodyPr/>
                    <a:lstStyle/>
                    <a:p>
                      <a:pPr algn="ctr" fontAlgn="b"/>
                      <a:r>
                        <a:rPr lang="en-GB" sz="2300" b="1" i="0" u="none" strike="noStrike" dirty="0">
                          <a:solidFill>
                            <a:srgbClr val="000000"/>
                          </a:solidFill>
                          <a:effectLst/>
                          <a:latin typeface="Trebuchet MS" panose="020B0603020202020204" pitchFamily="34" charset="0"/>
                        </a:rPr>
                        <a:t>2,091</a:t>
                      </a:r>
                    </a:p>
                  </a:txBody>
                  <a:tcPr marL="7313" marR="7313" marT="7313" marB="0" anchor="ctr">
                    <a:lnL w="38100">
                      <a:solidFill>
                        <a:srgbClr val="A7A7A7"/>
                      </a:solidFill>
                      <a:custDash>
                        <a:ds d="200000" sp="200000"/>
                      </a:custDash>
                      <a:miter lim="400000"/>
                    </a:lnL>
                    <a:lnR w="38100">
                      <a:solidFill>
                        <a:srgbClr val="A7A7A7"/>
                      </a:solidFill>
                      <a:custDash>
                        <a:ds d="200000" sp="200000"/>
                      </a:custDash>
                      <a:miter lim="400000"/>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tcPr>
                </a:tc>
                <a:tc>
                  <a:txBody>
                    <a:bodyPr/>
                    <a:lstStyle/>
                    <a:p>
                      <a:pPr algn="ctr" fontAlgn="b"/>
                      <a:r>
                        <a:rPr lang="en-GB" sz="2300" b="1" i="0" u="none" strike="noStrike" dirty="0">
                          <a:solidFill>
                            <a:srgbClr val="000000"/>
                          </a:solidFill>
                          <a:effectLst/>
                          <a:latin typeface="Trebuchet MS" panose="020B0603020202020204" pitchFamily="34" charset="0"/>
                        </a:rPr>
                        <a:t>30</a:t>
                      </a:r>
                    </a:p>
                  </a:txBody>
                  <a:tcPr marL="7313" marR="7313" marT="7313"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solidFill>
                      <a:srgbClr val="FF0000"/>
                    </a:solidFill>
                  </a:tcPr>
                </a:tc>
                <a:extLst>
                  <a:ext uri="{0D108BD9-81ED-4DB2-BD59-A6C34878D82A}">
                    <a16:rowId xmlns:a16="http://schemas.microsoft.com/office/drawing/2014/main" val="10003"/>
                  </a:ext>
                </a:extLst>
              </a:tr>
              <a:tr h="767561">
                <a:tc>
                  <a:txBody>
                    <a:bodyPr/>
                    <a:lstStyle/>
                    <a:p>
                      <a:pPr marL="909051" indent="-401051" algn="l" defTabSz="825500">
                        <a:buSzPct val="100000"/>
                        <a:buAutoNum type="romanLcPeriod"/>
                        <a:defRPr sz="2400" b="1">
                          <a:effectLst/>
                          <a:latin typeface="+mn-lt"/>
                          <a:ea typeface="+mn-ea"/>
                          <a:cs typeface="+mn-cs"/>
                          <a:sym typeface="Helvetica Neue"/>
                        </a:defRPr>
                      </a:pPr>
                      <a:r>
                        <a:rPr sz="2300" b="1" dirty="0">
                          <a:latin typeface="Trebuchet MS" panose="020B0603020202020204" pitchFamily="34" charset="0"/>
                        </a:rPr>
                        <a:t>Debt Charges (External)</a:t>
                      </a:r>
                    </a:p>
                  </a:txBody>
                  <a:tcPr marL="9443" marR="9443" marT="9443" marB="9443" anchor="ctr" horzOverflow="overflow">
                    <a:lnL w="12700">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ctr">
                        <a:defRPr sz="1800">
                          <a:effectLst/>
                        </a:defRPr>
                      </a:pPr>
                      <a:r>
                        <a:rPr lang="en-US" sz="2300" b="1" dirty="0">
                          <a:latin typeface="Trebuchet MS" panose="020B0603020202020204" pitchFamily="34" charset="0"/>
                        </a:rPr>
                        <a:t>5,652</a:t>
                      </a:r>
                      <a:endParaRPr sz="2300" b="1" dirty="0">
                        <a:latin typeface="Trebuchet MS" panose="020B0603020202020204" pitchFamily="34" charset="0"/>
                      </a:endParaRPr>
                    </a:p>
                  </a:txBody>
                  <a:tcPr marL="7313" marR="7313" marT="7313" marB="7313"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algn="ctr">
                        <a:defRPr sz="1800">
                          <a:effectLst/>
                        </a:defRPr>
                      </a:pPr>
                      <a:r>
                        <a:rPr lang="en-US" sz="2300" b="1" dirty="0">
                          <a:latin typeface="Trebuchet MS" panose="020B0603020202020204" pitchFamily="34" charset="0"/>
                        </a:rPr>
                        <a:t>1,413</a:t>
                      </a:r>
                      <a:endParaRPr sz="2300" b="1" dirty="0">
                        <a:latin typeface="Trebuchet MS" panose="020B0603020202020204" pitchFamily="34" charset="0"/>
                      </a:endParaRPr>
                    </a:p>
                  </a:txBody>
                  <a:tcPr marL="7313" marR="7313" marT="7313" marB="7313"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300" b="1" i="0" u="none" strike="noStrike" dirty="0">
                          <a:solidFill>
                            <a:srgbClr val="000000"/>
                          </a:solidFill>
                          <a:effectLst/>
                          <a:latin typeface="Trebuchet MS" panose="020B0603020202020204" pitchFamily="34" charset="0"/>
                        </a:rPr>
                        <a:t>2,004</a:t>
                      </a:r>
                    </a:p>
                  </a:txBody>
                  <a:tcPr marL="7313" marR="7313" marT="7313"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300" b="1" i="0" u="none" strike="noStrike" dirty="0">
                          <a:solidFill>
                            <a:srgbClr val="000000"/>
                          </a:solidFill>
                          <a:effectLst/>
                          <a:latin typeface="Trebuchet MS" panose="020B0603020202020204" pitchFamily="34" charset="0"/>
                        </a:rPr>
                        <a:t>142</a:t>
                      </a:r>
                    </a:p>
                  </a:txBody>
                  <a:tcPr marL="7313" marR="7313" marT="7313"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solidFill>
                      <a:srgbClr val="22C00F"/>
                    </a:solidFill>
                  </a:tcPr>
                </a:tc>
                <a:extLst>
                  <a:ext uri="{0D108BD9-81ED-4DB2-BD59-A6C34878D82A}">
                    <a16:rowId xmlns:a16="http://schemas.microsoft.com/office/drawing/2014/main" val="10004"/>
                  </a:ext>
                </a:extLst>
              </a:tr>
              <a:tr h="767561">
                <a:tc>
                  <a:txBody>
                    <a:bodyPr/>
                    <a:lstStyle/>
                    <a:p>
                      <a:pPr marL="909051" indent="-401051" algn="l" defTabSz="825500">
                        <a:buSzPct val="100000"/>
                        <a:buAutoNum type="romanLcPeriod" startAt="2"/>
                        <a:defRPr sz="2400" b="1">
                          <a:effectLst/>
                          <a:latin typeface="+mn-lt"/>
                          <a:ea typeface="+mn-ea"/>
                          <a:cs typeface="+mn-cs"/>
                          <a:sym typeface="Helvetica Neue"/>
                        </a:defRPr>
                      </a:pPr>
                      <a:r>
                        <a:rPr sz="2300" b="1" dirty="0">
                          <a:latin typeface="Trebuchet MS" panose="020B0603020202020204" pitchFamily="34" charset="0"/>
                        </a:rPr>
                        <a:t>Debt Charges (Internal)</a:t>
                      </a:r>
                    </a:p>
                  </a:txBody>
                  <a:tcPr marL="9443" marR="9443" marT="9443" marB="9443" anchor="ctr" horzOverflow="overflow">
                    <a:lnL w="12700">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ctr">
                        <a:defRPr sz="1800">
                          <a:effectLst/>
                        </a:defRPr>
                      </a:pPr>
                      <a:r>
                        <a:rPr lang="en-US" sz="2300" b="1" dirty="0">
                          <a:latin typeface="Trebuchet MS" panose="020B0603020202020204" pitchFamily="34" charset="0"/>
                        </a:rPr>
                        <a:t>20,321</a:t>
                      </a:r>
                      <a:endParaRPr sz="2300" b="1" dirty="0">
                        <a:latin typeface="Trebuchet MS" panose="020B0603020202020204" pitchFamily="34" charset="0"/>
                      </a:endParaRPr>
                    </a:p>
                  </a:txBody>
                  <a:tcPr marL="7313" marR="7313" marT="7313" marB="7313"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algn="ctr">
                        <a:defRPr sz="1800">
                          <a:effectLst/>
                        </a:defRPr>
                      </a:pPr>
                      <a:r>
                        <a:rPr lang="en-US" sz="2300" b="1" dirty="0">
                          <a:latin typeface="Trebuchet MS" panose="020B0603020202020204" pitchFamily="34" charset="0"/>
                        </a:rPr>
                        <a:t>5,080</a:t>
                      </a:r>
                      <a:endParaRPr sz="2300" b="1" dirty="0">
                        <a:latin typeface="Trebuchet MS" panose="020B0603020202020204" pitchFamily="34" charset="0"/>
                      </a:endParaRPr>
                    </a:p>
                  </a:txBody>
                  <a:tcPr marL="7313" marR="7313" marT="7313" marB="7313"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300" b="1" i="0" u="none" strike="noStrike" dirty="0">
                          <a:solidFill>
                            <a:srgbClr val="000000"/>
                          </a:solidFill>
                          <a:effectLst/>
                          <a:latin typeface="Trebuchet MS" panose="020B0603020202020204" pitchFamily="34" charset="0"/>
                        </a:rPr>
                        <a:t>87</a:t>
                      </a:r>
                    </a:p>
                  </a:txBody>
                  <a:tcPr marL="7313" marR="7313" marT="7313"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300" b="1" i="0" u="none" strike="noStrike" dirty="0">
                          <a:solidFill>
                            <a:srgbClr val="000000"/>
                          </a:solidFill>
                          <a:effectLst/>
                          <a:latin typeface="Trebuchet MS" panose="020B0603020202020204" pitchFamily="34" charset="0"/>
                        </a:rPr>
                        <a:t>2</a:t>
                      </a:r>
                    </a:p>
                  </a:txBody>
                  <a:tcPr marL="7313" marR="7313" marT="7313"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solidFill>
                      <a:srgbClr val="FF0000"/>
                    </a:solidFill>
                  </a:tcPr>
                </a:tc>
                <a:extLst>
                  <a:ext uri="{0D108BD9-81ED-4DB2-BD59-A6C34878D82A}">
                    <a16:rowId xmlns:a16="http://schemas.microsoft.com/office/drawing/2014/main" val="10005"/>
                  </a:ext>
                </a:extLst>
              </a:tr>
              <a:tr h="822191">
                <a:tc>
                  <a:txBody>
                    <a:bodyPr/>
                    <a:lstStyle/>
                    <a:p>
                      <a:pPr marL="909051" indent="-401051" algn="l" defTabSz="825500">
                        <a:buSzPct val="100000"/>
                        <a:buAutoNum type="romanLcPeriod" startAt="3"/>
                        <a:defRPr sz="2400" b="1">
                          <a:effectLst/>
                          <a:latin typeface="+mn-lt"/>
                          <a:ea typeface="+mn-ea"/>
                          <a:cs typeface="+mn-cs"/>
                          <a:sym typeface="Helvetica Neue"/>
                        </a:defRPr>
                      </a:pPr>
                      <a:r>
                        <a:rPr sz="2300" b="1" dirty="0">
                          <a:latin typeface="Trebuchet MS" panose="020B0603020202020204" pitchFamily="34" charset="0"/>
                        </a:rPr>
                        <a:t>Bond Charges</a:t>
                      </a:r>
                    </a:p>
                  </a:txBody>
                  <a:tcPr marL="9443" marR="9443" marT="9443" marB="9443" anchor="ctr" horzOverflow="overflow">
                    <a:lnL w="12700">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ctr">
                        <a:defRPr sz="1800">
                          <a:effectLst/>
                        </a:defRPr>
                      </a:pPr>
                      <a:r>
                        <a:rPr lang="en-US" sz="2300" b="1" dirty="0">
                          <a:latin typeface="Trebuchet MS" panose="020B0603020202020204" pitchFamily="34" charset="0"/>
                        </a:rPr>
                        <a:t>1,500</a:t>
                      </a:r>
                      <a:endParaRPr sz="2300" b="1" dirty="0">
                        <a:latin typeface="Trebuchet MS" panose="020B0603020202020204" pitchFamily="34" charset="0"/>
                      </a:endParaRPr>
                    </a:p>
                  </a:txBody>
                  <a:tcPr marL="7313" marR="7313" marT="7313" marB="7313"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algn="ctr">
                        <a:defRPr sz="1800">
                          <a:effectLst/>
                        </a:defRPr>
                      </a:pPr>
                      <a:r>
                        <a:rPr lang="en-US" sz="2300" b="1" dirty="0">
                          <a:latin typeface="Trebuchet MS" panose="020B0603020202020204" pitchFamily="34" charset="0"/>
                        </a:rPr>
                        <a:t>375</a:t>
                      </a:r>
                      <a:endParaRPr sz="2300" b="1" dirty="0">
                        <a:latin typeface="Trebuchet MS" panose="020B0603020202020204" pitchFamily="34" charset="0"/>
                      </a:endParaRPr>
                    </a:p>
                  </a:txBody>
                  <a:tcPr marL="7313" marR="7313" marT="7313" marB="7313"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300" b="1" i="0" u="none" strike="noStrike" dirty="0">
                          <a:solidFill>
                            <a:srgbClr val="000000"/>
                          </a:solidFill>
                          <a:effectLst/>
                          <a:latin typeface="Trebuchet MS" panose="020B0603020202020204" pitchFamily="34" charset="0"/>
                        </a:rPr>
                        <a:t>-</a:t>
                      </a:r>
                    </a:p>
                  </a:txBody>
                  <a:tcPr marL="7313" marR="7313" marT="7313"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300" b="1" i="0" u="none" strike="noStrike" dirty="0">
                          <a:solidFill>
                            <a:srgbClr val="000000"/>
                          </a:solidFill>
                          <a:effectLst/>
                          <a:latin typeface="Trebuchet MS" panose="020B0603020202020204" pitchFamily="34" charset="0"/>
                        </a:rPr>
                        <a:t>0</a:t>
                      </a:r>
                    </a:p>
                  </a:txBody>
                  <a:tcPr marL="7313" marR="7313" marT="7313"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solidFill>
                      <a:srgbClr val="FF0000"/>
                    </a:solidFill>
                  </a:tcPr>
                </a:tc>
                <a:extLst>
                  <a:ext uri="{0D108BD9-81ED-4DB2-BD59-A6C34878D82A}">
                    <a16:rowId xmlns:a16="http://schemas.microsoft.com/office/drawing/2014/main" val="10006"/>
                  </a:ext>
                </a:extLst>
              </a:tr>
              <a:tr h="767561">
                <a:tc>
                  <a:txBody>
                    <a:bodyPr/>
                    <a:lstStyle/>
                    <a:p>
                      <a:pPr marL="88900" indent="0" algn="l" defTabSz="825500">
                        <a:buSzPct val="100000"/>
                        <a:buNone/>
                        <a:defRPr sz="2400" b="1">
                          <a:effectLst/>
                          <a:latin typeface="+mn-lt"/>
                          <a:ea typeface="+mn-ea"/>
                          <a:cs typeface="+mn-cs"/>
                          <a:sym typeface="Helvetica Neue"/>
                        </a:defRPr>
                      </a:pPr>
                      <a:r>
                        <a:rPr lang="en-US" sz="2300" b="1" dirty="0">
                          <a:latin typeface="Trebuchet MS" panose="020B0603020202020204" pitchFamily="34" charset="0"/>
                        </a:rPr>
                        <a:t>I. </a:t>
                      </a:r>
                      <a:r>
                        <a:rPr sz="2300" b="1" dirty="0">
                          <a:latin typeface="Trebuchet MS" panose="020B0603020202020204" pitchFamily="34" charset="0"/>
                        </a:rPr>
                        <a:t>Total Overhead Costs</a:t>
                      </a:r>
                    </a:p>
                  </a:txBody>
                  <a:tcPr marL="9443" marR="9443" marT="9443" marB="9443" anchor="ctr" horzOverflow="overflow">
                    <a:lnL w="12700">
                      <a:miter lim="400000"/>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noFill/>
                  </a:tcPr>
                </a:tc>
                <a:tc>
                  <a:txBody>
                    <a:bodyPr/>
                    <a:lstStyle/>
                    <a:p>
                      <a:pPr algn="ctr" defTabSz="825500">
                        <a:lnSpc>
                          <a:spcPct val="10000"/>
                        </a:lnSpc>
                        <a:defRPr sz="1800">
                          <a:effectLst/>
                        </a:defRPr>
                      </a:pPr>
                      <a:r>
                        <a:rPr lang="en-US" sz="2300" b="1" dirty="0">
                          <a:latin typeface="Trebuchet MS" panose="020B0603020202020204" pitchFamily="34" charset="0"/>
                          <a:ea typeface="+mn-ea"/>
                          <a:cs typeface="+mn-cs"/>
                          <a:sym typeface="Helvetica Neue"/>
                        </a:rPr>
                        <a:t>262,587</a:t>
                      </a:r>
                      <a:endParaRPr sz="2300" b="1" dirty="0">
                        <a:latin typeface="Trebuchet MS" panose="020B0603020202020204" pitchFamily="34" charset="0"/>
                        <a:ea typeface="+mn-ea"/>
                        <a:cs typeface="+mn-cs"/>
                        <a:sym typeface="Helvetica Neue"/>
                      </a:endParaRPr>
                    </a:p>
                  </a:txBody>
                  <a:tcPr marL="9443" marR="9443" marT="138195" marB="9443"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algn="ctr">
                        <a:defRPr sz="1800">
                          <a:effectLst/>
                        </a:defRPr>
                      </a:pPr>
                      <a:r>
                        <a:rPr lang="en-US" sz="2300" b="1" dirty="0">
                          <a:latin typeface="Trebuchet MS" panose="020B0603020202020204" pitchFamily="34" charset="0"/>
                        </a:rPr>
                        <a:t>65,647</a:t>
                      </a:r>
                      <a:endParaRPr sz="2300" b="1" dirty="0">
                        <a:latin typeface="Trebuchet MS" panose="020B0603020202020204" pitchFamily="34" charset="0"/>
                      </a:endParaRPr>
                    </a:p>
                  </a:txBody>
                  <a:tcPr marL="7313" marR="7313" marT="7313" marB="7313"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tcPr>
                </a:tc>
                <a:tc>
                  <a:txBody>
                    <a:bodyPr/>
                    <a:lstStyle/>
                    <a:p>
                      <a:pPr algn="ctr" fontAlgn="b"/>
                      <a:r>
                        <a:rPr lang="en-GB" sz="2300" b="1" i="0" u="none" strike="noStrike" dirty="0">
                          <a:solidFill>
                            <a:srgbClr val="000000"/>
                          </a:solidFill>
                          <a:effectLst/>
                          <a:latin typeface="Trebuchet MS" panose="020B0603020202020204" pitchFamily="34" charset="0"/>
                        </a:rPr>
                        <a:t>50,456</a:t>
                      </a:r>
                    </a:p>
                  </a:txBody>
                  <a:tcPr marL="7313" marR="7313" marT="7313" marB="0" anchor="ctr">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tcPr>
                </a:tc>
                <a:tc>
                  <a:txBody>
                    <a:bodyPr/>
                    <a:lstStyle/>
                    <a:p>
                      <a:pPr algn="ctr" fontAlgn="b"/>
                      <a:r>
                        <a:rPr lang="en-GB" sz="2300" b="1" i="0" u="none" strike="noStrike" dirty="0">
                          <a:solidFill>
                            <a:srgbClr val="000000"/>
                          </a:solidFill>
                          <a:effectLst/>
                          <a:latin typeface="Trebuchet MS" panose="020B0603020202020204" pitchFamily="34" charset="0"/>
                        </a:rPr>
                        <a:t>77</a:t>
                      </a:r>
                    </a:p>
                  </a:txBody>
                  <a:tcPr marL="7313" marR="7313" marT="7313"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solidFill>
                      <a:srgbClr val="FFC000"/>
                    </a:solidFill>
                  </a:tcPr>
                </a:tc>
                <a:extLst>
                  <a:ext uri="{0D108BD9-81ED-4DB2-BD59-A6C34878D82A}">
                    <a16:rowId xmlns:a16="http://schemas.microsoft.com/office/drawing/2014/main" val="10009"/>
                  </a:ext>
                </a:extLst>
              </a:tr>
              <a:tr h="767561">
                <a:tc>
                  <a:txBody>
                    <a:bodyPr/>
                    <a:lstStyle/>
                    <a:p>
                      <a:pPr marL="909051" indent="-401051" algn="l" defTabSz="825500">
                        <a:buSzPct val="100000"/>
                        <a:buAutoNum type="romanLcPeriod"/>
                        <a:defRPr sz="2400" b="1">
                          <a:effectLst/>
                          <a:latin typeface="+mn-lt"/>
                          <a:ea typeface="+mn-ea"/>
                          <a:cs typeface="+mn-cs"/>
                          <a:sym typeface="Helvetica Neue"/>
                        </a:defRPr>
                      </a:pPr>
                      <a:r>
                        <a:rPr sz="2300" b="1" dirty="0">
                          <a:latin typeface="Trebuchet MS" panose="020B0603020202020204" pitchFamily="34" charset="0"/>
                        </a:rPr>
                        <a:t>Overhead Costs</a:t>
                      </a:r>
                    </a:p>
                  </a:txBody>
                  <a:tcPr marL="9443" marR="9443" marT="9443" marB="9443" anchor="ctr" horzOverflow="overflow">
                    <a:lnL w="12700">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ctr" defTabSz="825500">
                        <a:lnSpc>
                          <a:spcPct val="10000"/>
                        </a:lnSpc>
                        <a:defRPr sz="1800">
                          <a:effectLst/>
                        </a:defRPr>
                      </a:pPr>
                      <a:r>
                        <a:rPr lang="en-US" sz="2300" b="1" dirty="0">
                          <a:latin typeface="Trebuchet MS" panose="020B0603020202020204" pitchFamily="34" charset="0"/>
                          <a:ea typeface="+mn-ea"/>
                          <a:cs typeface="+mn-cs"/>
                          <a:sym typeface="Helvetica Neue"/>
                        </a:rPr>
                        <a:t>128,640</a:t>
                      </a:r>
                      <a:endParaRPr sz="2300" b="1" dirty="0">
                        <a:latin typeface="Trebuchet MS" panose="020B0603020202020204" pitchFamily="34" charset="0"/>
                        <a:ea typeface="+mn-ea"/>
                        <a:cs typeface="+mn-cs"/>
                        <a:sym typeface="Helvetica Neue"/>
                      </a:endParaRPr>
                    </a:p>
                  </a:txBody>
                  <a:tcPr marL="9443" marR="9443" marT="138195" marB="9443"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algn="ctr">
                        <a:defRPr sz="1800">
                          <a:effectLst/>
                        </a:defRPr>
                      </a:pPr>
                      <a:r>
                        <a:rPr lang="en-US" sz="2300" b="1" dirty="0">
                          <a:latin typeface="Trebuchet MS" panose="020B0603020202020204" pitchFamily="34" charset="0"/>
                        </a:rPr>
                        <a:t>32,160</a:t>
                      </a:r>
                      <a:endParaRPr sz="2300" b="1" dirty="0">
                        <a:latin typeface="Trebuchet MS" panose="020B0603020202020204" pitchFamily="34" charset="0"/>
                      </a:endParaRPr>
                    </a:p>
                  </a:txBody>
                  <a:tcPr marL="7313" marR="7313" marT="7313" marB="7313"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300" b="1" i="0" u="none" strike="noStrike" dirty="0">
                          <a:solidFill>
                            <a:srgbClr val="000000"/>
                          </a:solidFill>
                          <a:effectLst/>
                          <a:latin typeface="Trebuchet MS" panose="020B0603020202020204" pitchFamily="34" charset="0"/>
                        </a:rPr>
                        <a:t>30,522</a:t>
                      </a:r>
                    </a:p>
                  </a:txBody>
                  <a:tcPr marL="7313" marR="7313" marT="7313"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300" b="1" i="0" u="none" strike="noStrike" dirty="0">
                          <a:solidFill>
                            <a:srgbClr val="000000"/>
                          </a:solidFill>
                          <a:effectLst/>
                          <a:latin typeface="Trebuchet MS" panose="020B0603020202020204" pitchFamily="34" charset="0"/>
                        </a:rPr>
                        <a:t>95</a:t>
                      </a:r>
                    </a:p>
                  </a:txBody>
                  <a:tcPr marL="7313" marR="7313" marT="7313"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solidFill>
                      <a:srgbClr val="22C00F"/>
                    </a:solidFill>
                  </a:tcPr>
                </a:tc>
                <a:extLst>
                  <a:ext uri="{0D108BD9-81ED-4DB2-BD59-A6C34878D82A}">
                    <a16:rowId xmlns:a16="http://schemas.microsoft.com/office/drawing/2014/main" val="10010"/>
                  </a:ext>
                </a:extLst>
              </a:tr>
              <a:tr h="869040">
                <a:tc>
                  <a:txBody>
                    <a:bodyPr/>
                    <a:lstStyle/>
                    <a:p>
                      <a:pPr marL="909051" indent="-401051" algn="l" defTabSz="825500">
                        <a:buSzPct val="100000"/>
                        <a:buAutoNum type="romanLcPeriod" startAt="2"/>
                        <a:defRPr sz="2400" b="1">
                          <a:effectLst/>
                          <a:latin typeface="+mn-lt"/>
                          <a:ea typeface="+mn-ea"/>
                          <a:cs typeface="+mn-cs"/>
                          <a:sym typeface="Helvetica Neue"/>
                        </a:defRPr>
                      </a:pPr>
                      <a:r>
                        <a:rPr sz="2300" b="1" dirty="0">
                          <a:latin typeface="Trebuchet MS" panose="020B0603020202020204" pitchFamily="34" charset="0"/>
                        </a:rPr>
                        <a:t>Dedicated Expenditure</a:t>
                      </a:r>
                    </a:p>
                  </a:txBody>
                  <a:tcPr marL="9443" marR="9443" marT="9443" marB="9443" anchor="ctr" horzOverflow="overflow">
                    <a:lnL w="12700">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ctr" defTabSz="825500">
                        <a:lnSpc>
                          <a:spcPct val="10000"/>
                        </a:lnSpc>
                        <a:defRPr sz="1800">
                          <a:effectLst/>
                        </a:defRPr>
                      </a:pPr>
                      <a:r>
                        <a:rPr lang="en-US" sz="2300" b="1" dirty="0">
                          <a:latin typeface="Trebuchet MS" panose="020B0603020202020204" pitchFamily="34" charset="0"/>
                          <a:ea typeface="+mn-ea"/>
                          <a:cs typeface="+mn-cs"/>
                          <a:sym typeface="Helvetica Neue"/>
                        </a:rPr>
                        <a:t>36,739</a:t>
                      </a:r>
                      <a:endParaRPr sz="2300" b="1" dirty="0">
                        <a:latin typeface="Trebuchet MS" panose="020B0603020202020204" pitchFamily="34" charset="0"/>
                        <a:ea typeface="+mn-ea"/>
                        <a:cs typeface="+mn-cs"/>
                        <a:sym typeface="Helvetica Neue"/>
                      </a:endParaRPr>
                    </a:p>
                  </a:txBody>
                  <a:tcPr marL="9443" marR="9443" marT="138195" marB="9443"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algn="ctr">
                        <a:defRPr sz="1800">
                          <a:effectLst/>
                        </a:defRPr>
                      </a:pPr>
                      <a:r>
                        <a:rPr lang="en-US" sz="2300" b="1" dirty="0">
                          <a:latin typeface="Trebuchet MS" panose="020B0603020202020204" pitchFamily="34" charset="0"/>
                        </a:rPr>
                        <a:t>9,185</a:t>
                      </a:r>
                      <a:endParaRPr sz="2300" b="1" dirty="0">
                        <a:latin typeface="Trebuchet MS" panose="020B0603020202020204" pitchFamily="34" charset="0"/>
                      </a:endParaRPr>
                    </a:p>
                  </a:txBody>
                  <a:tcPr marL="7313" marR="7313" marT="7313" marB="7313"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300" b="1" i="0" u="none" strike="noStrike" dirty="0">
                          <a:solidFill>
                            <a:srgbClr val="000000"/>
                          </a:solidFill>
                          <a:effectLst/>
                          <a:latin typeface="Trebuchet MS" panose="020B0603020202020204" pitchFamily="34" charset="0"/>
                        </a:rPr>
                        <a:t>5,920</a:t>
                      </a:r>
                    </a:p>
                  </a:txBody>
                  <a:tcPr marL="7313" marR="7313" marT="7313"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300" b="1" i="0" u="none" strike="noStrike" dirty="0">
                          <a:solidFill>
                            <a:srgbClr val="000000"/>
                          </a:solidFill>
                          <a:effectLst/>
                          <a:latin typeface="Trebuchet MS" panose="020B0603020202020204" pitchFamily="34" charset="0"/>
                        </a:rPr>
                        <a:t>64</a:t>
                      </a:r>
                    </a:p>
                  </a:txBody>
                  <a:tcPr marL="7313" marR="7313" marT="7313"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solidFill>
                      <a:srgbClr val="FFC000"/>
                    </a:solidFill>
                  </a:tcPr>
                </a:tc>
                <a:extLst>
                  <a:ext uri="{0D108BD9-81ED-4DB2-BD59-A6C34878D82A}">
                    <a16:rowId xmlns:a16="http://schemas.microsoft.com/office/drawing/2014/main" val="10011"/>
                  </a:ext>
                </a:extLst>
              </a:tr>
              <a:tr h="767561">
                <a:tc>
                  <a:txBody>
                    <a:bodyPr/>
                    <a:lstStyle/>
                    <a:p>
                      <a:pPr marL="909051" indent="-401051" algn="l" defTabSz="825500">
                        <a:buSzPct val="100000"/>
                        <a:buAutoNum type="romanLcPeriod" startAt="3"/>
                        <a:defRPr sz="2400" b="1">
                          <a:effectLst/>
                          <a:latin typeface="+mn-lt"/>
                          <a:ea typeface="+mn-ea"/>
                          <a:cs typeface="+mn-cs"/>
                          <a:sym typeface="Helvetica Neue"/>
                        </a:defRPr>
                      </a:pPr>
                      <a:r>
                        <a:rPr sz="2300" b="1" dirty="0">
                          <a:latin typeface="Trebuchet MS" panose="020B0603020202020204" pitchFamily="34" charset="0"/>
                        </a:rPr>
                        <a:t>Subvention </a:t>
                      </a:r>
                    </a:p>
                  </a:txBody>
                  <a:tcPr marL="9443" marR="9443" marT="9443" marB="9443" anchor="ctr" horzOverflow="overflow">
                    <a:lnL w="12700">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ctr" defTabSz="825500">
                        <a:lnSpc>
                          <a:spcPct val="10000"/>
                        </a:lnSpc>
                        <a:defRPr sz="1800">
                          <a:effectLst/>
                        </a:defRPr>
                      </a:pPr>
                      <a:r>
                        <a:rPr lang="en-US" sz="2300" b="1" dirty="0">
                          <a:latin typeface="Trebuchet MS" panose="020B0603020202020204" pitchFamily="34" charset="0"/>
                          <a:ea typeface="+mn-ea"/>
                          <a:cs typeface="+mn-cs"/>
                          <a:sym typeface="Helvetica Neue"/>
                        </a:rPr>
                        <a:t>97,208</a:t>
                      </a:r>
                      <a:endParaRPr sz="2300" b="1" dirty="0">
                        <a:latin typeface="Trebuchet MS" panose="020B0603020202020204" pitchFamily="34" charset="0"/>
                        <a:ea typeface="+mn-ea"/>
                        <a:cs typeface="+mn-cs"/>
                        <a:sym typeface="Helvetica Neue"/>
                      </a:endParaRPr>
                    </a:p>
                  </a:txBody>
                  <a:tcPr marL="9443" marR="9443" marT="138195" marB="9443"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tcPr>
                </a:tc>
                <a:tc>
                  <a:txBody>
                    <a:bodyPr/>
                    <a:lstStyle/>
                    <a:p>
                      <a:pPr algn="ctr">
                        <a:defRPr sz="1800">
                          <a:effectLst/>
                        </a:defRPr>
                      </a:pPr>
                      <a:r>
                        <a:rPr lang="en-US" sz="2300" b="1" dirty="0">
                          <a:latin typeface="Trebuchet MS" panose="020B0603020202020204" pitchFamily="34" charset="0"/>
                        </a:rPr>
                        <a:t>24,302</a:t>
                      </a:r>
                      <a:endParaRPr sz="2300" b="1" dirty="0">
                        <a:latin typeface="Trebuchet MS" panose="020B0603020202020204" pitchFamily="34" charset="0"/>
                      </a:endParaRPr>
                    </a:p>
                  </a:txBody>
                  <a:tcPr marL="7313" marR="7313" marT="7313" marB="7313"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300" b="1" i="0" u="none" strike="noStrike" dirty="0">
                          <a:solidFill>
                            <a:srgbClr val="000000"/>
                          </a:solidFill>
                          <a:effectLst/>
                          <a:latin typeface="Trebuchet MS" panose="020B0603020202020204" pitchFamily="34" charset="0"/>
                        </a:rPr>
                        <a:t>14,014</a:t>
                      </a:r>
                    </a:p>
                  </a:txBody>
                  <a:tcPr marL="7313" marR="7313" marT="7313"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300" b="1" i="0" u="none" strike="noStrike" dirty="0">
                          <a:solidFill>
                            <a:srgbClr val="000000"/>
                          </a:solidFill>
                          <a:effectLst/>
                          <a:latin typeface="Trebuchet MS" panose="020B0603020202020204" pitchFamily="34" charset="0"/>
                        </a:rPr>
                        <a:t>58</a:t>
                      </a:r>
                    </a:p>
                  </a:txBody>
                  <a:tcPr marL="7313" marR="7313" marT="7313"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solidFill>
                      <a:srgbClr val="FFC000"/>
                    </a:solidFill>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1778624210"/>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4" name="Text Box 3"/>
          <p:cNvSpPr txBox="1"/>
          <p:nvPr/>
        </p:nvSpPr>
        <p:spPr>
          <a:xfrm>
            <a:off x="4013937" y="856183"/>
            <a:ext cx="16356125" cy="6858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8100" tIns="38100" rIns="38100" bIns="38100" anchor="ctr">
            <a:spAutoFit/>
          </a:bodyPr>
          <a:lstStyle/>
          <a:p>
            <a:r>
              <a:rPr dirty="0"/>
              <a:t>Budget Performance Summary (Capex and Financing)</a:t>
            </a:r>
          </a:p>
        </p:txBody>
      </p:sp>
      <p:graphicFrame>
        <p:nvGraphicFramePr>
          <p:cNvPr id="4" name="Table">
            <a:extLst>
              <a:ext uri="{FF2B5EF4-FFF2-40B4-BE49-F238E27FC236}">
                <a16:creationId xmlns:a16="http://schemas.microsoft.com/office/drawing/2014/main" id="{4ECC043C-8990-47DA-8BD2-C6D46136A0BE}"/>
              </a:ext>
            </a:extLst>
          </p:cNvPr>
          <p:cNvGraphicFramePr/>
          <p:nvPr>
            <p:extLst>
              <p:ext uri="{D42A27DB-BD31-4B8C-83A1-F6EECF244321}">
                <p14:modId xmlns:p14="http://schemas.microsoft.com/office/powerpoint/2010/main" val="590285053"/>
              </p:ext>
            </p:extLst>
          </p:nvPr>
        </p:nvGraphicFramePr>
        <p:xfrm>
          <a:off x="2174242" y="2187739"/>
          <a:ext cx="18031968" cy="10585584"/>
        </p:xfrm>
        <a:graphic>
          <a:graphicData uri="http://schemas.openxmlformats.org/drawingml/2006/table">
            <a:tbl>
              <a:tblPr>
                <a:tableStyleId>{8F44A2F1-9E1F-4B54-A3A2-5F16C0AD49E2}</a:tableStyleId>
              </a:tblPr>
              <a:tblGrid>
                <a:gridCol w="7750945">
                  <a:extLst>
                    <a:ext uri="{9D8B030D-6E8A-4147-A177-3AD203B41FA5}">
                      <a16:colId xmlns:a16="http://schemas.microsoft.com/office/drawing/2014/main" val="20000"/>
                    </a:ext>
                  </a:extLst>
                </a:gridCol>
                <a:gridCol w="2664617">
                  <a:extLst>
                    <a:ext uri="{9D8B030D-6E8A-4147-A177-3AD203B41FA5}">
                      <a16:colId xmlns:a16="http://schemas.microsoft.com/office/drawing/2014/main" val="416718443"/>
                    </a:ext>
                  </a:extLst>
                </a:gridCol>
                <a:gridCol w="2892133">
                  <a:extLst>
                    <a:ext uri="{9D8B030D-6E8A-4147-A177-3AD203B41FA5}">
                      <a16:colId xmlns:a16="http://schemas.microsoft.com/office/drawing/2014/main" val="20002"/>
                    </a:ext>
                  </a:extLst>
                </a:gridCol>
                <a:gridCol w="2884205">
                  <a:extLst>
                    <a:ext uri="{9D8B030D-6E8A-4147-A177-3AD203B41FA5}">
                      <a16:colId xmlns:a16="http://schemas.microsoft.com/office/drawing/2014/main" val="20003"/>
                    </a:ext>
                  </a:extLst>
                </a:gridCol>
                <a:gridCol w="1840068">
                  <a:extLst>
                    <a:ext uri="{9D8B030D-6E8A-4147-A177-3AD203B41FA5}">
                      <a16:colId xmlns:a16="http://schemas.microsoft.com/office/drawing/2014/main" val="20004"/>
                    </a:ext>
                  </a:extLst>
                </a:gridCol>
              </a:tblGrid>
              <a:tr h="327008">
                <a:tc rowSpan="2">
                  <a:txBody>
                    <a:bodyPr/>
                    <a:lstStyle/>
                    <a:p>
                      <a:pPr defTabSz="825500">
                        <a:lnSpc>
                          <a:spcPct val="90000"/>
                        </a:lnSpc>
                        <a:defRPr sz="2400" b="1" cap="small">
                          <a:solidFill>
                            <a:srgbClr val="FFFFFF"/>
                          </a:solidFill>
                          <a:effectLst/>
                        </a:defRPr>
                      </a:pPr>
                      <a:r>
                        <a:rPr dirty="0">
                          <a:effectLst>
                            <a:outerShdw blurRad="38100" dist="38100" dir="2700000" algn="tl">
                              <a:srgbClr val="000000">
                                <a:alpha val="43137"/>
                              </a:srgbClr>
                            </a:outerShdw>
                          </a:effectLst>
                          <a:latin typeface="Trebuchet MS" panose="020B0603020202020204" pitchFamily="34" charset="0"/>
                        </a:rPr>
                        <a:t>Fiscal Items</a:t>
                      </a:r>
                    </a:p>
                  </a:txBody>
                  <a:tcPr marL="9840" marR="9840" marT="9840" marB="9840" anchor="ctr" horzOverflow="overflow">
                    <a:lnL w="12700">
                      <a:miter lim="400000"/>
                    </a:lnL>
                    <a:lnR w="38100" cap="flat" cmpd="sng" algn="ctr">
                      <a:solidFill>
                        <a:srgbClr val="FFFFFF"/>
                      </a:solidFill>
                      <a:custDash>
                        <a:ds d="200000" sp="200000"/>
                      </a:custDash>
                      <a:miter lim="400000"/>
                      <a:headEnd type="none" w="med" len="med"/>
                      <a:tailEnd type="none" w="med" len="med"/>
                    </a:lnR>
                    <a:lnT w="12700">
                      <a:miter lim="400000"/>
                    </a:lnT>
                    <a:lnB w="38100">
                      <a:solidFill>
                        <a:srgbClr val="A7A7A7"/>
                      </a:solidFill>
                      <a:custDash>
                        <a:ds d="200000" sp="200000"/>
                      </a:custDash>
                      <a:miter lim="400000"/>
                    </a:lnB>
                    <a:solidFill>
                      <a:schemeClr val="accent3"/>
                    </a:solidFill>
                  </a:tcPr>
                </a:tc>
                <a:tc rowSpan="2">
                  <a:txBody>
                    <a:bodyPr/>
                    <a:lstStyle/>
                    <a:p>
                      <a:pPr defTabSz="825500">
                        <a:lnSpc>
                          <a:spcPct val="90000"/>
                        </a:lnSpc>
                        <a:defRPr sz="2400" b="1" cap="small">
                          <a:solidFill>
                            <a:srgbClr val="FFFFFF"/>
                          </a:solidFill>
                          <a:effectLst/>
                        </a:defRPr>
                      </a:pPr>
                      <a:r>
                        <a:rPr dirty="0">
                          <a:effectLst>
                            <a:outerShdw blurRad="38100" dist="38100" dir="2700000" algn="tl">
                              <a:srgbClr val="000000">
                                <a:alpha val="43137"/>
                              </a:srgbClr>
                            </a:outerShdw>
                          </a:effectLst>
                        </a:rPr>
                        <a:t>202</a:t>
                      </a:r>
                      <a:r>
                        <a:rPr lang="en-US" dirty="0">
                          <a:effectLst>
                            <a:outerShdw blurRad="38100" dist="38100" dir="2700000" algn="tl">
                              <a:srgbClr val="000000">
                                <a:alpha val="43137"/>
                              </a:srgbClr>
                            </a:outerShdw>
                          </a:effectLst>
                        </a:rPr>
                        <a:t>1</a:t>
                      </a:r>
                      <a:r>
                        <a:rPr dirty="0">
                          <a:effectLst>
                            <a:outerShdw blurRad="38100" dist="38100" dir="2700000" algn="tl">
                              <a:srgbClr val="000000">
                                <a:alpha val="43137"/>
                              </a:srgbClr>
                            </a:outerShdw>
                          </a:effectLst>
                        </a:rPr>
                        <a:t> Budget</a:t>
                      </a:r>
                      <a:endParaRPr dirty="0">
                        <a:effectLst>
                          <a:outerShdw blurRad="38100" dist="38100" dir="2700000" algn="tl">
                            <a:srgbClr val="000000">
                              <a:alpha val="43137"/>
                            </a:srgbClr>
                          </a:outerShdw>
                        </a:effectLst>
                        <a:latin typeface="+mn-lt"/>
                        <a:ea typeface="+mn-ea"/>
                        <a:cs typeface="+mn-cs"/>
                        <a:sym typeface="Helvetica Neue"/>
                      </a:endParaRPr>
                    </a:p>
                    <a:p>
                      <a:pPr defTabSz="825500">
                        <a:lnSpc>
                          <a:spcPct val="90000"/>
                        </a:lnSpc>
                        <a:defRPr sz="2400" b="1" cap="small">
                          <a:solidFill>
                            <a:srgbClr val="FFFFFF"/>
                          </a:solidFill>
                          <a:effectLst/>
                        </a:defRPr>
                      </a:pPr>
                      <a:r>
                        <a:rPr dirty="0">
                          <a:effectLst>
                            <a:outerShdw blurRad="38100" dist="38100" dir="2700000" algn="tl">
                              <a:srgbClr val="000000">
                                <a:alpha val="43137"/>
                              </a:srgbClr>
                            </a:outerShdw>
                          </a:effectLst>
                        </a:rPr>
                        <a:t>(₦’Mn)</a:t>
                      </a:r>
                    </a:p>
                  </a:txBody>
                  <a:tcPr marL="9144" marR="9144" marT="9144" marB="9144" anchor="ctr" horzOverflow="overflow">
                    <a:lnL w="38100" cap="flat" cmpd="sng" algn="ctr">
                      <a:solidFill>
                        <a:srgbClr val="FFFFFF"/>
                      </a:solidFill>
                      <a:custDash>
                        <a:ds d="200000" sp="200000"/>
                      </a:custDash>
                      <a:miter lim="400000"/>
                      <a:headEnd type="none" w="med" len="med"/>
                      <a:tailEnd type="none" w="med" len="med"/>
                    </a:lnL>
                    <a:lnR w="38100" cap="flat" cmpd="sng" algn="ctr">
                      <a:solidFill>
                        <a:srgbClr val="FFFFFF"/>
                      </a:solidFill>
                      <a:custDash>
                        <a:ds d="200000" sp="200000"/>
                      </a:custDash>
                      <a:miter lim="400000"/>
                      <a:headEnd type="none" w="med" len="med"/>
                      <a:tailEnd type="none" w="med" len="med"/>
                    </a:lnR>
                    <a:lnT w="12700">
                      <a:miter lim="400000"/>
                    </a:lnT>
                    <a:solidFill>
                      <a:schemeClr val="accent3"/>
                    </a:solidFill>
                  </a:tcPr>
                </a:tc>
                <a:tc gridSpan="3">
                  <a:txBody>
                    <a:bodyPr/>
                    <a:lstStyle/>
                    <a:p>
                      <a:pPr defTabSz="825500">
                        <a:lnSpc>
                          <a:spcPct val="90000"/>
                        </a:lnSpc>
                        <a:defRPr sz="1800">
                          <a:effectLst/>
                        </a:defRPr>
                      </a:pPr>
                      <a:r>
                        <a:rPr lang="en-GB" sz="2400" b="1" cap="small" dirty="0">
                          <a:solidFill>
                            <a:srgbClr val="FFFFFF"/>
                          </a:solidFill>
                          <a:effectLst>
                            <a:outerShdw blurRad="38100" dist="38100" dir="2700000" algn="tl">
                              <a:srgbClr val="000000">
                                <a:alpha val="43137"/>
                              </a:srgbClr>
                            </a:outerShdw>
                          </a:effectLst>
                        </a:rPr>
                        <a:t>Q1</a:t>
                      </a:r>
                      <a:endParaRPr sz="2400" b="1" cap="small" dirty="0">
                        <a:solidFill>
                          <a:srgbClr val="FFFFFF"/>
                        </a:solidFill>
                        <a:effectLst>
                          <a:outerShdw blurRad="38100" dist="38100" dir="2700000" algn="tl">
                            <a:srgbClr val="000000">
                              <a:alpha val="43137"/>
                            </a:srgbClr>
                          </a:outerShdw>
                        </a:effectLst>
                      </a:endParaRPr>
                    </a:p>
                  </a:txBody>
                  <a:tcPr marL="0" marR="0" marT="0" marB="0" anchor="ctr" horzOverflow="overflow">
                    <a:lnL w="38100" cap="flat" cmpd="sng" algn="ctr">
                      <a:solidFill>
                        <a:srgbClr val="FFFFFF"/>
                      </a:solidFill>
                      <a:custDash>
                        <a:ds d="200000" sp="200000"/>
                      </a:custDash>
                      <a:miter lim="400000"/>
                      <a:headEnd type="none" w="med" len="med"/>
                      <a:tailEnd type="none" w="med" len="med"/>
                    </a:lnL>
                    <a:lnR w="38100">
                      <a:solidFill>
                        <a:srgbClr val="FFFFFF"/>
                      </a:solidFill>
                      <a:custDash>
                        <a:ds d="200000" sp="200000"/>
                      </a:custDash>
                      <a:miter lim="400000"/>
                    </a:lnR>
                    <a:lnT w="12700">
                      <a:miter lim="400000"/>
                    </a:lnT>
                    <a:lnB w="38100">
                      <a:solidFill>
                        <a:srgbClr val="FFFFFF"/>
                      </a:solidFill>
                      <a:custDash>
                        <a:ds d="200000" sp="200000"/>
                      </a:custDash>
                      <a:miter lim="400000"/>
                    </a:lnB>
                    <a:solidFill>
                      <a:schemeClr val="accent3"/>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999190">
                <a:tc vMerge="1">
                  <a:txBody>
                    <a:bodyPr/>
                    <a:lstStyle/>
                    <a:p>
                      <a:endParaRPr lang="en-US"/>
                    </a:p>
                  </a:txBody>
                  <a:tcPr/>
                </a:tc>
                <a:tc vMerge="1">
                  <a:txBody>
                    <a:bodyPr/>
                    <a:lstStyle/>
                    <a:p>
                      <a:endParaRPr lang="en-US" dirty="0"/>
                    </a:p>
                  </a:txBody>
                  <a:tcPr/>
                </a:tc>
                <a:tc>
                  <a:txBody>
                    <a:bodyPr/>
                    <a:lstStyle/>
                    <a:p>
                      <a:pPr defTabSz="825500">
                        <a:lnSpc>
                          <a:spcPct val="90000"/>
                        </a:lnSpc>
                        <a:defRPr sz="2400" b="1" cap="small">
                          <a:solidFill>
                            <a:srgbClr val="FFFFFF"/>
                          </a:solidFill>
                          <a:effectLst/>
                        </a:defRPr>
                      </a:pPr>
                      <a:r>
                        <a:rPr dirty="0">
                          <a:effectLst>
                            <a:outerShdw blurRad="38100" dist="38100" dir="2700000" algn="tl">
                              <a:srgbClr val="000000">
                                <a:alpha val="43137"/>
                              </a:srgbClr>
                            </a:outerShdw>
                          </a:effectLst>
                        </a:rPr>
                        <a:t>Budget</a:t>
                      </a:r>
                    </a:p>
                    <a:p>
                      <a:pPr defTabSz="825500">
                        <a:lnSpc>
                          <a:spcPct val="90000"/>
                        </a:lnSpc>
                        <a:defRPr sz="2400" b="1" cap="small">
                          <a:solidFill>
                            <a:srgbClr val="FFFFFF"/>
                          </a:solidFill>
                          <a:effectLst/>
                        </a:defRPr>
                      </a:pPr>
                      <a:r>
                        <a:rPr dirty="0">
                          <a:effectLst>
                            <a:outerShdw blurRad="38100" dist="38100" dir="2700000" algn="tl">
                              <a:srgbClr val="000000">
                                <a:alpha val="43137"/>
                              </a:srgbClr>
                            </a:outerShdw>
                          </a:effectLst>
                        </a:rPr>
                        <a:t>Jan – </a:t>
                      </a:r>
                      <a:r>
                        <a:rPr lang="en-GB" dirty="0">
                          <a:effectLst>
                            <a:outerShdw blurRad="38100" dist="38100" dir="2700000" algn="tl">
                              <a:srgbClr val="000000">
                                <a:alpha val="43137"/>
                              </a:srgbClr>
                            </a:outerShdw>
                          </a:effectLst>
                        </a:rPr>
                        <a:t>MAR</a:t>
                      </a:r>
                    </a:p>
                    <a:p>
                      <a:pPr defTabSz="825500">
                        <a:lnSpc>
                          <a:spcPct val="90000"/>
                        </a:lnSpc>
                        <a:defRPr sz="2400" b="1" cap="small">
                          <a:solidFill>
                            <a:srgbClr val="FFFFFF"/>
                          </a:solidFill>
                          <a:effectLst/>
                        </a:defRPr>
                      </a:pPr>
                      <a:r>
                        <a:rPr dirty="0">
                          <a:effectLst>
                            <a:outerShdw blurRad="38100" dist="38100" dir="2700000" algn="tl">
                              <a:srgbClr val="000000">
                                <a:alpha val="43137"/>
                              </a:srgbClr>
                            </a:outerShdw>
                          </a:effectLst>
                        </a:rPr>
                        <a:t>(₦’Mn)</a:t>
                      </a:r>
                    </a:p>
                  </a:txBody>
                  <a:tcPr marL="0" marR="0" marT="0" marB="0" anchor="ctr" horzOverflow="overflow">
                    <a:lnR w="38100">
                      <a:solidFill>
                        <a:srgbClr val="FFFFFF"/>
                      </a:solidFill>
                      <a:custDash>
                        <a:ds d="200000" sp="200000"/>
                      </a:custDash>
                      <a:miter lim="400000"/>
                    </a:lnR>
                    <a:lnT w="38100">
                      <a:solidFill>
                        <a:srgbClr val="FFFFFF"/>
                      </a:solidFill>
                      <a:custDash>
                        <a:ds d="200000" sp="200000"/>
                      </a:custDash>
                      <a:miter lim="400000"/>
                    </a:lnT>
                    <a:lnB w="38100" cap="flat" cmpd="sng" algn="ctr">
                      <a:solidFill>
                        <a:srgbClr val="A7A7A7"/>
                      </a:solidFill>
                      <a:custDash>
                        <a:ds d="200000" sp="200000"/>
                      </a:custDash>
                      <a:miter lim="400000"/>
                      <a:headEnd type="none" w="med" len="med"/>
                      <a:tailEnd type="none" w="med" len="med"/>
                    </a:lnB>
                    <a:solidFill>
                      <a:schemeClr val="accent3"/>
                    </a:solidFill>
                  </a:tcPr>
                </a:tc>
                <a:tc>
                  <a:txBody>
                    <a:bodyPr/>
                    <a:lstStyle/>
                    <a:p>
                      <a:pPr defTabSz="825500">
                        <a:lnSpc>
                          <a:spcPct val="90000"/>
                        </a:lnSpc>
                        <a:defRPr sz="2400" b="1" cap="small">
                          <a:solidFill>
                            <a:srgbClr val="FFFFFF"/>
                          </a:solidFill>
                          <a:effectLst/>
                        </a:defRPr>
                      </a:pPr>
                      <a:r>
                        <a:rPr lang="en-GB" dirty="0">
                          <a:effectLst>
                            <a:outerShdw blurRad="38100" dist="38100" dir="2700000" algn="tl">
                              <a:srgbClr val="000000">
                                <a:alpha val="43137"/>
                              </a:srgbClr>
                            </a:outerShdw>
                          </a:effectLst>
                        </a:rPr>
                        <a:t>Actual</a:t>
                      </a:r>
                      <a:endParaRPr dirty="0">
                        <a:effectLst>
                          <a:outerShdw blurRad="38100" dist="38100" dir="2700000" algn="tl">
                            <a:srgbClr val="000000">
                              <a:alpha val="43137"/>
                            </a:srgbClr>
                          </a:outerShdw>
                        </a:effectLst>
                      </a:endParaRPr>
                    </a:p>
                    <a:p>
                      <a:pPr defTabSz="825500">
                        <a:lnSpc>
                          <a:spcPct val="90000"/>
                        </a:lnSpc>
                        <a:defRPr sz="2400" b="1" cap="small">
                          <a:solidFill>
                            <a:srgbClr val="FFFFFF"/>
                          </a:solidFill>
                          <a:effectLst/>
                        </a:defRPr>
                      </a:pPr>
                      <a:r>
                        <a:rPr dirty="0">
                          <a:effectLst>
                            <a:outerShdw blurRad="38100" dist="38100" dir="2700000" algn="tl">
                              <a:srgbClr val="000000">
                                <a:alpha val="43137"/>
                              </a:srgbClr>
                            </a:outerShdw>
                          </a:effectLst>
                        </a:rPr>
                        <a:t>Jan - </a:t>
                      </a:r>
                      <a:r>
                        <a:rPr lang="en-GB" dirty="0">
                          <a:effectLst>
                            <a:outerShdw blurRad="38100" dist="38100" dir="2700000" algn="tl">
                              <a:srgbClr val="000000">
                                <a:alpha val="43137"/>
                              </a:srgbClr>
                            </a:outerShdw>
                          </a:effectLst>
                        </a:rPr>
                        <a:t>MAR</a:t>
                      </a:r>
                      <a:endParaRPr dirty="0">
                        <a:effectLst>
                          <a:outerShdw blurRad="38100" dist="38100" dir="2700000" algn="tl">
                            <a:srgbClr val="000000">
                              <a:alpha val="43137"/>
                            </a:srgbClr>
                          </a:outerShdw>
                        </a:effectLst>
                      </a:endParaRPr>
                    </a:p>
                    <a:p>
                      <a:pPr defTabSz="825500">
                        <a:lnSpc>
                          <a:spcPct val="90000"/>
                        </a:lnSpc>
                        <a:defRPr sz="2400" b="1" cap="small">
                          <a:solidFill>
                            <a:srgbClr val="FFFFFF"/>
                          </a:solidFill>
                          <a:effectLst/>
                        </a:defRPr>
                      </a:pPr>
                      <a:r>
                        <a:rPr dirty="0">
                          <a:effectLst>
                            <a:outerShdw blurRad="38100" dist="38100" dir="2700000" algn="tl">
                              <a:srgbClr val="000000">
                                <a:alpha val="43137"/>
                              </a:srgbClr>
                            </a:outerShdw>
                          </a:effectLst>
                        </a:rPr>
                        <a:t>(₦’Mn)</a:t>
                      </a:r>
                    </a:p>
                  </a:txBody>
                  <a:tcPr marL="9144" marR="9144" marT="9144" marB="9144" anchor="ctr" horzOverflow="overflow">
                    <a:lnL w="38100">
                      <a:solidFill>
                        <a:srgbClr val="FFFFFF"/>
                      </a:solidFill>
                      <a:custDash>
                        <a:ds d="200000" sp="200000"/>
                      </a:custDash>
                      <a:miter lim="400000"/>
                    </a:lnL>
                    <a:lnR w="38100">
                      <a:solidFill>
                        <a:srgbClr val="FFFFFF"/>
                      </a:solidFill>
                      <a:custDash>
                        <a:ds d="200000" sp="200000"/>
                      </a:custDash>
                      <a:miter lim="400000"/>
                    </a:lnR>
                    <a:lnT w="38100">
                      <a:solidFill>
                        <a:srgbClr val="FFFFFF"/>
                      </a:solidFill>
                      <a:custDash>
                        <a:ds d="200000" sp="200000"/>
                      </a:custDash>
                      <a:miter lim="400000"/>
                    </a:lnT>
                    <a:lnB w="38100" cap="flat" cmpd="sng" algn="ctr">
                      <a:solidFill>
                        <a:srgbClr val="A7A7A7"/>
                      </a:solidFill>
                      <a:custDash>
                        <a:ds d="200000" sp="200000"/>
                      </a:custDash>
                      <a:miter lim="400000"/>
                      <a:headEnd type="none" w="med" len="med"/>
                      <a:tailEnd type="none" w="med" len="med"/>
                    </a:lnB>
                    <a:solidFill>
                      <a:schemeClr val="accent3"/>
                    </a:solidFill>
                  </a:tcPr>
                </a:tc>
                <a:tc>
                  <a:txBody>
                    <a:bodyPr/>
                    <a:lstStyle/>
                    <a:p>
                      <a:pPr defTabSz="825500">
                        <a:lnSpc>
                          <a:spcPct val="90000"/>
                        </a:lnSpc>
                        <a:defRPr sz="2400" b="1" cap="small">
                          <a:solidFill>
                            <a:srgbClr val="FFFFFF"/>
                          </a:solidFill>
                          <a:effectLst/>
                        </a:defRPr>
                      </a:pPr>
                      <a:r>
                        <a:rPr dirty="0">
                          <a:effectLst>
                            <a:outerShdw blurRad="38100" dist="38100" dir="2700000" algn="tl">
                              <a:srgbClr val="000000">
                                <a:alpha val="43137"/>
                              </a:srgbClr>
                            </a:outerShdw>
                          </a:effectLst>
                        </a:rPr>
                        <a:t>Perf.</a:t>
                      </a:r>
                    </a:p>
                    <a:p>
                      <a:pPr defTabSz="825500">
                        <a:lnSpc>
                          <a:spcPct val="90000"/>
                        </a:lnSpc>
                        <a:defRPr sz="2400" b="1" cap="small">
                          <a:solidFill>
                            <a:srgbClr val="FFFFFF"/>
                          </a:solidFill>
                          <a:effectLst/>
                        </a:defRPr>
                      </a:pPr>
                      <a:r>
                        <a:rPr dirty="0">
                          <a:effectLst>
                            <a:outerShdw blurRad="38100" dist="38100" dir="2700000" algn="tl">
                              <a:srgbClr val="000000">
                                <a:alpha val="43137"/>
                              </a:srgbClr>
                            </a:outerShdw>
                          </a:effectLst>
                        </a:rPr>
                        <a:t>(%)</a:t>
                      </a:r>
                    </a:p>
                  </a:txBody>
                  <a:tcPr marL="9144" marR="9144" marT="9144" marB="9144" anchor="ctr" horzOverflow="overflow">
                    <a:lnL w="38100">
                      <a:solidFill>
                        <a:srgbClr val="FFFFFF"/>
                      </a:solidFill>
                      <a:custDash>
                        <a:ds d="200000" sp="200000"/>
                      </a:custDash>
                      <a:miter lim="400000"/>
                    </a:lnL>
                    <a:lnR w="38100">
                      <a:solidFill>
                        <a:srgbClr val="FFFFFF"/>
                      </a:solidFill>
                      <a:custDash>
                        <a:ds d="200000" sp="200000"/>
                      </a:custDash>
                      <a:miter lim="400000"/>
                    </a:lnR>
                    <a:lnT w="38100">
                      <a:solidFill>
                        <a:srgbClr val="FFFFFF"/>
                      </a:solidFill>
                      <a:custDash>
                        <a:ds d="200000" sp="200000"/>
                      </a:custDash>
                      <a:miter lim="400000"/>
                    </a:lnT>
                    <a:lnB w="38100" cap="flat" cmpd="sng" algn="ctr">
                      <a:solidFill>
                        <a:srgbClr val="A7A7A7"/>
                      </a:solidFill>
                      <a:custDash>
                        <a:ds d="200000" sp="200000"/>
                      </a:custDash>
                      <a:miter lim="400000"/>
                      <a:headEnd type="none" w="med" len="med"/>
                      <a:tailEnd type="none" w="med" len="med"/>
                    </a:lnB>
                    <a:solidFill>
                      <a:schemeClr val="accent3"/>
                    </a:solidFill>
                  </a:tcPr>
                </a:tc>
                <a:extLst>
                  <a:ext uri="{0D108BD9-81ED-4DB2-BD59-A6C34878D82A}">
                    <a16:rowId xmlns:a16="http://schemas.microsoft.com/office/drawing/2014/main" val="10001"/>
                  </a:ext>
                </a:extLst>
              </a:tr>
              <a:tr h="382892">
                <a:tc>
                  <a:txBody>
                    <a:bodyPr/>
                    <a:lstStyle/>
                    <a:p>
                      <a:pPr marL="546100" indent="-457200" algn="l" defTabSz="825500">
                        <a:buSzPct val="100000"/>
                        <a:buFont typeface="+mj-lt"/>
                        <a:buAutoNum type="alphaUcPeriod" startAt="11"/>
                        <a:defRPr sz="2400" b="1">
                          <a:effectLst/>
                        </a:defRPr>
                      </a:pPr>
                      <a:r>
                        <a:rPr dirty="0">
                          <a:latin typeface="Trebuchet MS" panose="020B0603020202020204" pitchFamily="34" charset="0"/>
                        </a:rPr>
                        <a:t>TOTAL CAPITAL EXPENDITURE</a:t>
                      </a:r>
                    </a:p>
                  </a:txBody>
                  <a:tcPr marL="9840" marR="9840" marT="9840" marB="9840" anchor="ctr" horzOverflow="overflow">
                    <a:lnL w="0">
                      <a:miter lim="400000"/>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solidFill>
                      <a:srgbClr val="22C00F"/>
                    </a:solidFill>
                  </a:tcPr>
                </a:tc>
                <a:tc>
                  <a:txBody>
                    <a:bodyPr/>
                    <a:lstStyle/>
                    <a:p>
                      <a:pPr algn="ctr">
                        <a:defRPr sz="1800">
                          <a:effectLst/>
                        </a:defRPr>
                      </a:pPr>
                      <a:r>
                        <a:rPr lang="en-US" sz="2400" b="1" dirty="0">
                          <a:latin typeface="Trebuchet MS" panose="020B0603020202020204" pitchFamily="34" charset="0"/>
                        </a:rPr>
                        <a:t>702,935</a:t>
                      </a:r>
                      <a:endParaRPr sz="2400" b="1" dirty="0">
                        <a:latin typeface="Trebuchet MS" panose="020B0603020202020204" pitchFamily="34" charset="0"/>
                      </a:endParaRP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B w="38100" cap="flat" cmpd="sng" algn="ctr">
                      <a:solidFill>
                        <a:srgbClr val="A7A7A7"/>
                      </a:solidFill>
                      <a:custDash>
                        <a:ds d="200000" sp="200000"/>
                      </a:custDash>
                      <a:miter lim="400000"/>
                      <a:headEnd type="none" w="med" len="med"/>
                      <a:tailEnd type="none" w="med" len="med"/>
                    </a:lnB>
                  </a:tcPr>
                </a:tc>
                <a:tc>
                  <a:txBody>
                    <a:bodyPr/>
                    <a:lstStyle/>
                    <a:p>
                      <a:pPr algn="ctr">
                        <a:defRPr sz="1800">
                          <a:effectLst/>
                        </a:defRPr>
                      </a:pPr>
                      <a:r>
                        <a:rPr lang="en-US" sz="2400" b="1" dirty="0">
                          <a:latin typeface="Trebuchet MS" panose="020B0603020202020204" pitchFamily="34" charset="0"/>
                        </a:rPr>
                        <a:t>175,734</a:t>
                      </a: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tcPr>
                </a:tc>
                <a:tc>
                  <a:txBody>
                    <a:bodyPr/>
                    <a:lstStyle/>
                    <a:p>
                      <a:pPr algn="ctr" fontAlgn="b"/>
                      <a:r>
                        <a:rPr lang="en-GB" sz="2400" b="1" i="0" u="none" strike="noStrike" dirty="0">
                          <a:solidFill>
                            <a:srgbClr val="000000"/>
                          </a:solidFill>
                          <a:effectLst/>
                          <a:latin typeface="Trebuchet MS" panose="020B0603020202020204" pitchFamily="34" charset="0"/>
                        </a:rPr>
                        <a:t>119,922</a:t>
                      </a:r>
                    </a:p>
                  </a:txBody>
                  <a:tcPr marL="7620" marR="7620" marT="7620" marB="0" anchor="ctr">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tcPr>
                </a:tc>
                <a:tc>
                  <a:txBody>
                    <a:bodyPr/>
                    <a:lstStyle/>
                    <a:p>
                      <a:pPr algn="ctr" fontAlgn="b"/>
                      <a:r>
                        <a:rPr lang="en-GB" sz="2400" b="1" i="0" u="none" strike="noStrike" dirty="0">
                          <a:solidFill>
                            <a:srgbClr val="000000"/>
                          </a:solidFill>
                          <a:effectLst/>
                          <a:latin typeface="Trebuchet MS" panose="020B0603020202020204" pitchFamily="34" charset="0"/>
                        </a:rPr>
                        <a:t>68</a:t>
                      </a:r>
                    </a:p>
                  </a:txBody>
                  <a:tcPr marL="7620" marR="7620" marT="7620"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solidFill>
                      <a:srgbClr val="FFC000"/>
                    </a:solidFill>
                  </a:tcPr>
                </a:tc>
                <a:extLst>
                  <a:ext uri="{0D108BD9-81ED-4DB2-BD59-A6C34878D82A}">
                    <a16:rowId xmlns:a16="http://schemas.microsoft.com/office/drawing/2014/main" val="10003"/>
                  </a:ext>
                </a:extLst>
              </a:tr>
              <a:tr h="382892">
                <a:tc>
                  <a:txBody>
                    <a:bodyPr/>
                    <a:lstStyle/>
                    <a:p>
                      <a:pPr marL="546100" indent="-457200" algn="l" defTabSz="825500">
                        <a:buSzPct val="100000"/>
                        <a:buFont typeface="+mj-lt"/>
                        <a:buAutoNum type="alphaUcPeriod" startAt="12"/>
                        <a:defRPr sz="2400" b="1">
                          <a:effectLst/>
                        </a:defRPr>
                      </a:pPr>
                      <a:r>
                        <a:rPr dirty="0">
                          <a:latin typeface="Trebuchet MS" panose="020B0603020202020204" pitchFamily="34" charset="0"/>
                        </a:rPr>
                        <a:t>CAPITAL EXPENDITURE</a:t>
                      </a:r>
                    </a:p>
                  </a:txBody>
                  <a:tcPr marL="9840" marR="9840" marT="9840" marB="9840" anchor="ctr" horzOverflow="overflow">
                    <a:lnL w="0">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ctr">
                        <a:defRPr sz="1800">
                          <a:effectLst/>
                        </a:defRPr>
                      </a:pPr>
                      <a:r>
                        <a:rPr lang="en-US" sz="2400" b="1" dirty="0">
                          <a:latin typeface="Trebuchet MS" panose="020B0603020202020204" pitchFamily="34" charset="0"/>
                        </a:rPr>
                        <a:t>572,007</a:t>
                      </a:r>
                      <a:endParaRPr sz="2400" b="1" dirty="0">
                        <a:latin typeface="Trebuchet MS" panose="020B0603020202020204" pitchFamily="34" charset="0"/>
                      </a:endParaRP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algn="ctr">
                        <a:defRPr sz="1800">
                          <a:effectLst/>
                        </a:defRPr>
                      </a:pPr>
                      <a:r>
                        <a:rPr lang="en-US" sz="2400" b="1" dirty="0">
                          <a:latin typeface="Trebuchet MS" panose="020B0603020202020204" pitchFamily="34" charset="0"/>
                        </a:rPr>
                        <a:t>143,002</a:t>
                      </a: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400" b="1" i="0" u="none" strike="noStrike" dirty="0">
                          <a:solidFill>
                            <a:srgbClr val="000000"/>
                          </a:solidFill>
                          <a:effectLst/>
                          <a:latin typeface="Trebuchet MS" panose="020B0603020202020204" pitchFamily="34" charset="0"/>
                        </a:rPr>
                        <a:t>39,258</a:t>
                      </a:r>
                    </a:p>
                  </a:txBody>
                  <a:tcPr marL="7620" marR="7620" marT="7620"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400" b="1" i="0" u="none" strike="noStrike" dirty="0">
                          <a:solidFill>
                            <a:srgbClr val="000000"/>
                          </a:solidFill>
                          <a:effectLst/>
                          <a:latin typeface="Trebuchet MS" panose="020B0603020202020204" pitchFamily="34" charset="0"/>
                        </a:rPr>
                        <a:t>27</a:t>
                      </a:r>
                    </a:p>
                  </a:txBody>
                  <a:tcPr marL="7620" marR="7620" marT="7620"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solidFill>
                      <a:srgbClr val="FF0000"/>
                    </a:solidFill>
                  </a:tcPr>
                </a:tc>
                <a:extLst>
                  <a:ext uri="{0D108BD9-81ED-4DB2-BD59-A6C34878D82A}">
                    <a16:rowId xmlns:a16="http://schemas.microsoft.com/office/drawing/2014/main" val="10004"/>
                  </a:ext>
                </a:extLst>
              </a:tr>
              <a:tr h="382892">
                <a:tc>
                  <a:txBody>
                    <a:bodyPr/>
                    <a:lstStyle/>
                    <a:p>
                      <a:pPr marL="965200" indent="-457200" algn="l" defTabSz="825500">
                        <a:buSzPct val="100000"/>
                        <a:buFont typeface="+mj-lt"/>
                        <a:buAutoNum type="alphaLcParenR"/>
                        <a:defRPr sz="2400" b="1">
                          <a:effectLst/>
                        </a:defRPr>
                      </a:pPr>
                      <a:r>
                        <a:rPr lang="en-US" dirty="0">
                          <a:latin typeface="Trebuchet MS" panose="020B0603020202020204" pitchFamily="34" charset="0"/>
                        </a:rPr>
                        <a:t>ECONOMIC</a:t>
                      </a:r>
                      <a:endParaRPr dirty="0">
                        <a:latin typeface="Trebuchet MS" panose="020B0603020202020204" pitchFamily="34" charset="0"/>
                      </a:endParaRPr>
                    </a:p>
                  </a:txBody>
                  <a:tcPr marL="9840" marR="9840" marT="9840" marB="9840" anchor="ctr" horzOverflow="overflow">
                    <a:lnL w="0">
                      <a:miter lim="400000"/>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noFill/>
                  </a:tcPr>
                </a:tc>
                <a:tc>
                  <a:txBody>
                    <a:bodyPr/>
                    <a:lstStyle/>
                    <a:p>
                      <a:pPr algn="ctr">
                        <a:defRPr sz="1800">
                          <a:effectLst/>
                        </a:defRPr>
                      </a:pPr>
                      <a:r>
                        <a:rPr lang="en-US" sz="2400" b="1" dirty="0">
                          <a:latin typeface="Trebuchet MS" panose="020B0603020202020204" pitchFamily="34" charset="0"/>
                        </a:rPr>
                        <a:t>385,012</a:t>
                      </a:r>
                      <a:endParaRPr sz="2400" b="1" dirty="0">
                        <a:latin typeface="Trebuchet MS" panose="020B0603020202020204" pitchFamily="34" charset="0"/>
                      </a:endParaRP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algn="ctr">
                        <a:defRPr sz="1800">
                          <a:effectLst/>
                        </a:defRPr>
                      </a:pPr>
                      <a:r>
                        <a:rPr lang="en-US" sz="2400" b="1" dirty="0">
                          <a:latin typeface="Trebuchet MS" panose="020B0603020202020204" pitchFamily="34" charset="0"/>
                        </a:rPr>
                        <a:t>96,253</a:t>
                      </a: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tcPr>
                </a:tc>
                <a:tc>
                  <a:txBody>
                    <a:bodyPr/>
                    <a:lstStyle/>
                    <a:p>
                      <a:pPr algn="ctr" fontAlgn="b"/>
                      <a:r>
                        <a:rPr lang="en-GB" sz="2400" b="1" i="0" u="none" strike="noStrike" dirty="0">
                          <a:solidFill>
                            <a:srgbClr val="000000"/>
                          </a:solidFill>
                          <a:effectLst/>
                          <a:latin typeface="Trebuchet MS" panose="020B0603020202020204" pitchFamily="34" charset="0"/>
                        </a:rPr>
                        <a:t>13,416</a:t>
                      </a:r>
                    </a:p>
                  </a:txBody>
                  <a:tcPr marL="7620" marR="7620" marT="7620" marB="0" anchor="ctr">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tcPr>
                </a:tc>
                <a:tc>
                  <a:txBody>
                    <a:bodyPr/>
                    <a:lstStyle/>
                    <a:p>
                      <a:pPr algn="ctr" fontAlgn="b"/>
                      <a:r>
                        <a:rPr lang="en-GB" sz="2400" b="1" i="0" u="none" strike="noStrike" dirty="0">
                          <a:solidFill>
                            <a:srgbClr val="000000"/>
                          </a:solidFill>
                          <a:effectLst/>
                          <a:latin typeface="Trebuchet MS" panose="020B0603020202020204" pitchFamily="34" charset="0"/>
                        </a:rPr>
                        <a:t>14</a:t>
                      </a:r>
                    </a:p>
                  </a:txBody>
                  <a:tcPr marL="7620" marR="7620" marT="7620"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solidFill>
                      <a:srgbClr val="FF0000"/>
                    </a:solidFill>
                  </a:tcPr>
                </a:tc>
                <a:extLst>
                  <a:ext uri="{0D108BD9-81ED-4DB2-BD59-A6C34878D82A}">
                    <a16:rowId xmlns:a16="http://schemas.microsoft.com/office/drawing/2014/main" val="10019"/>
                  </a:ext>
                </a:extLst>
              </a:tr>
              <a:tr h="382892">
                <a:tc>
                  <a:txBody>
                    <a:bodyPr/>
                    <a:lstStyle/>
                    <a:p>
                      <a:pPr marL="965200" indent="-457200" algn="l" defTabSz="825500">
                        <a:buSzPct val="100000"/>
                        <a:buFont typeface="+mj-lt"/>
                        <a:buAutoNum type="alphaLcParenR" startAt="2"/>
                        <a:defRPr sz="2400" b="1">
                          <a:effectLst/>
                        </a:defRPr>
                      </a:pPr>
                      <a:r>
                        <a:rPr lang="en-US" dirty="0">
                          <a:latin typeface="Trebuchet MS" panose="020B0603020202020204" pitchFamily="34" charset="0"/>
                        </a:rPr>
                        <a:t>SOCIAL</a:t>
                      </a:r>
                      <a:endParaRPr dirty="0">
                        <a:latin typeface="Trebuchet MS" panose="020B0603020202020204" pitchFamily="34" charset="0"/>
                      </a:endParaRPr>
                    </a:p>
                  </a:txBody>
                  <a:tcPr marL="9840" marR="9840" marT="9840" marB="9840" anchor="ctr" horzOverflow="overflow">
                    <a:lnL w="0">
                      <a:miter lim="400000"/>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noFill/>
                  </a:tcPr>
                </a:tc>
                <a:tc>
                  <a:txBody>
                    <a:bodyPr/>
                    <a:lstStyle/>
                    <a:p>
                      <a:pPr algn="ctr">
                        <a:defRPr sz="1800">
                          <a:effectLst/>
                        </a:defRPr>
                      </a:pPr>
                      <a:r>
                        <a:rPr lang="en-US" sz="2400" b="1" dirty="0">
                          <a:latin typeface="Trebuchet MS" panose="020B0603020202020204" pitchFamily="34" charset="0"/>
                        </a:rPr>
                        <a:t>123,986</a:t>
                      </a:r>
                      <a:endParaRPr sz="2400" b="1" dirty="0">
                        <a:latin typeface="Trebuchet MS" panose="020B0603020202020204" pitchFamily="34" charset="0"/>
                      </a:endParaRP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algn="ctr">
                        <a:defRPr sz="1800">
                          <a:effectLst/>
                        </a:defRPr>
                      </a:pPr>
                      <a:r>
                        <a:rPr lang="en-US" sz="2400" b="1" dirty="0">
                          <a:latin typeface="Trebuchet MS" panose="020B0603020202020204" pitchFamily="34" charset="0"/>
                        </a:rPr>
                        <a:t>30,997</a:t>
                      </a: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tcPr>
                </a:tc>
                <a:tc>
                  <a:txBody>
                    <a:bodyPr/>
                    <a:lstStyle/>
                    <a:p>
                      <a:pPr algn="ctr" fontAlgn="b"/>
                      <a:r>
                        <a:rPr lang="en-GB" sz="2400" b="1" i="0" u="none" strike="noStrike" dirty="0">
                          <a:solidFill>
                            <a:srgbClr val="000000"/>
                          </a:solidFill>
                          <a:effectLst/>
                          <a:latin typeface="Trebuchet MS" panose="020B0603020202020204" pitchFamily="34" charset="0"/>
                        </a:rPr>
                        <a:t>8,021</a:t>
                      </a:r>
                    </a:p>
                  </a:txBody>
                  <a:tcPr marL="7620" marR="7620" marT="7620" marB="0" anchor="ctr">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tcPr>
                </a:tc>
                <a:tc>
                  <a:txBody>
                    <a:bodyPr/>
                    <a:lstStyle/>
                    <a:p>
                      <a:pPr algn="ctr" fontAlgn="b"/>
                      <a:r>
                        <a:rPr lang="en-GB" sz="2400" b="1" i="0" u="none" strike="noStrike" dirty="0">
                          <a:solidFill>
                            <a:srgbClr val="000000"/>
                          </a:solidFill>
                          <a:effectLst/>
                          <a:latin typeface="Trebuchet MS" panose="020B0603020202020204" pitchFamily="34" charset="0"/>
                        </a:rPr>
                        <a:t>26</a:t>
                      </a:r>
                    </a:p>
                  </a:txBody>
                  <a:tcPr marL="7620" marR="7620" marT="7620"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solidFill>
                      <a:srgbClr val="FF0000"/>
                    </a:solidFill>
                  </a:tcPr>
                </a:tc>
                <a:extLst>
                  <a:ext uri="{0D108BD9-81ED-4DB2-BD59-A6C34878D82A}">
                    <a16:rowId xmlns:a16="http://schemas.microsoft.com/office/drawing/2014/main" val="10020"/>
                  </a:ext>
                </a:extLst>
              </a:tr>
              <a:tr h="382892">
                <a:tc>
                  <a:txBody>
                    <a:bodyPr/>
                    <a:lstStyle/>
                    <a:p>
                      <a:pPr marL="965200" indent="-457200" algn="l" defTabSz="825500">
                        <a:buSzPct val="100000"/>
                        <a:buFont typeface="+mj-lt"/>
                        <a:buAutoNum type="alphaLcParenR" startAt="3"/>
                        <a:defRPr sz="2400" b="1">
                          <a:effectLst/>
                        </a:defRPr>
                      </a:pPr>
                      <a:r>
                        <a:rPr lang="en-US" dirty="0">
                          <a:latin typeface="Trebuchet MS" panose="020B0603020202020204" pitchFamily="34" charset="0"/>
                        </a:rPr>
                        <a:t>LAW AND JUSTICE</a:t>
                      </a:r>
                      <a:endParaRPr dirty="0">
                        <a:latin typeface="Trebuchet MS" panose="020B0603020202020204" pitchFamily="34" charset="0"/>
                      </a:endParaRPr>
                    </a:p>
                  </a:txBody>
                  <a:tcPr marL="9840" marR="9840" marT="9840" marB="9840" anchor="ctr" horzOverflow="overflow">
                    <a:lnL w="0">
                      <a:miter lim="400000"/>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noFill/>
                  </a:tcPr>
                </a:tc>
                <a:tc>
                  <a:txBody>
                    <a:bodyPr/>
                    <a:lstStyle/>
                    <a:p>
                      <a:pPr algn="ctr">
                        <a:defRPr sz="1800">
                          <a:effectLst/>
                        </a:defRPr>
                      </a:pPr>
                      <a:r>
                        <a:rPr lang="en-US" sz="2400" b="1" dirty="0">
                          <a:latin typeface="Trebuchet MS" panose="020B0603020202020204" pitchFamily="34" charset="0"/>
                        </a:rPr>
                        <a:t>8,337</a:t>
                      </a:r>
                      <a:endParaRPr sz="2400" b="1" dirty="0">
                        <a:latin typeface="Trebuchet MS" panose="020B0603020202020204" pitchFamily="34" charset="0"/>
                      </a:endParaRP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algn="ctr">
                        <a:defRPr sz="1800">
                          <a:effectLst/>
                        </a:defRPr>
                      </a:pPr>
                      <a:r>
                        <a:rPr lang="en-US" sz="2400" b="1" dirty="0">
                          <a:latin typeface="Trebuchet MS" panose="020B0603020202020204" pitchFamily="34" charset="0"/>
                        </a:rPr>
                        <a:t>2,084</a:t>
                      </a: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tcPr>
                </a:tc>
                <a:tc>
                  <a:txBody>
                    <a:bodyPr/>
                    <a:lstStyle/>
                    <a:p>
                      <a:pPr algn="ctr" fontAlgn="b"/>
                      <a:r>
                        <a:rPr lang="en-GB" sz="2400" b="1" i="0" u="none" strike="noStrike" dirty="0">
                          <a:solidFill>
                            <a:srgbClr val="000000"/>
                          </a:solidFill>
                          <a:effectLst/>
                          <a:latin typeface="Trebuchet MS" panose="020B0603020202020204" pitchFamily="34" charset="0"/>
                        </a:rPr>
                        <a:t>-</a:t>
                      </a:r>
                    </a:p>
                  </a:txBody>
                  <a:tcPr marL="7620" marR="7620" marT="7620" marB="0" anchor="ctr">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tcPr>
                </a:tc>
                <a:tc>
                  <a:txBody>
                    <a:bodyPr/>
                    <a:lstStyle/>
                    <a:p>
                      <a:pPr algn="ctr" fontAlgn="b"/>
                      <a:r>
                        <a:rPr lang="en-GB" sz="2400" b="1" i="0" u="none" strike="noStrike" dirty="0">
                          <a:solidFill>
                            <a:srgbClr val="000000"/>
                          </a:solidFill>
                          <a:effectLst/>
                          <a:latin typeface="Trebuchet MS" panose="020B0603020202020204" pitchFamily="34" charset="0"/>
                        </a:rPr>
                        <a:t>0</a:t>
                      </a:r>
                    </a:p>
                  </a:txBody>
                  <a:tcPr marL="7620" marR="7620" marT="7620"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solidFill>
                      <a:srgbClr val="FF0000"/>
                    </a:solidFill>
                  </a:tcPr>
                </a:tc>
                <a:extLst>
                  <a:ext uri="{0D108BD9-81ED-4DB2-BD59-A6C34878D82A}">
                    <a16:rowId xmlns:a16="http://schemas.microsoft.com/office/drawing/2014/main" val="10024"/>
                  </a:ext>
                </a:extLst>
              </a:tr>
              <a:tr h="382892">
                <a:tc>
                  <a:txBody>
                    <a:bodyPr/>
                    <a:lstStyle/>
                    <a:p>
                      <a:pPr marL="965200" indent="-457200" algn="l" defTabSz="825500">
                        <a:buSzPct val="100000"/>
                        <a:buFont typeface="+mj-lt"/>
                        <a:buAutoNum type="alphaLcParenR" startAt="4"/>
                        <a:defRPr sz="2400" b="1">
                          <a:effectLst/>
                        </a:defRPr>
                      </a:pPr>
                      <a:r>
                        <a:rPr lang="en-US" dirty="0">
                          <a:latin typeface="Trebuchet MS" panose="020B0603020202020204" pitchFamily="34" charset="0"/>
                        </a:rPr>
                        <a:t>ADMINISTRATION</a:t>
                      </a:r>
                      <a:endParaRPr dirty="0">
                        <a:latin typeface="Trebuchet MS" panose="020B0603020202020204" pitchFamily="34" charset="0"/>
                      </a:endParaRPr>
                    </a:p>
                  </a:txBody>
                  <a:tcPr marL="9840" marR="9840" marT="9840" marB="9840" anchor="ctr" horzOverflow="overflow">
                    <a:lnL w="0">
                      <a:miter lim="400000"/>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noFill/>
                  </a:tcPr>
                </a:tc>
                <a:tc>
                  <a:txBody>
                    <a:bodyPr/>
                    <a:lstStyle/>
                    <a:p>
                      <a:pPr algn="ctr">
                        <a:defRPr sz="1800">
                          <a:effectLst/>
                        </a:defRPr>
                      </a:pPr>
                      <a:r>
                        <a:rPr lang="en-US" sz="2400" b="1" dirty="0">
                          <a:latin typeface="Trebuchet MS" panose="020B0603020202020204" pitchFamily="34" charset="0"/>
                        </a:rPr>
                        <a:t>54,672</a:t>
                      </a:r>
                      <a:endParaRPr sz="2400" b="1" dirty="0">
                        <a:latin typeface="Trebuchet MS" panose="020B0603020202020204" pitchFamily="34" charset="0"/>
                      </a:endParaRP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algn="ctr">
                        <a:defRPr sz="1800">
                          <a:effectLst/>
                        </a:defRPr>
                      </a:pPr>
                      <a:r>
                        <a:rPr lang="en-US" sz="2400" b="1" dirty="0">
                          <a:latin typeface="Trebuchet MS" panose="020B0603020202020204" pitchFamily="34" charset="0"/>
                        </a:rPr>
                        <a:t>13,668</a:t>
                      </a: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tcPr>
                </a:tc>
                <a:tc>
                  <a:txBody>
                    <a:bodyPr/>
                    <a:lstStyle/>
                    <a:p>
                      <a:pPr algn="ctr" fontAlgn="b"/>
                      <a:r>
                        <a:rPr lang="en-GB" sz="2400" b="1" i="0" u="none" strike="noStrike" dirty="0">
                          <a:solidFill>
                            <a:srgbClr val="000000"/>
                          </a:solidFill>
                          <a:effectLst/>
                          <a:latin typeface="Trebuchet MS" panose="020B0603020202020204" pitchFamily="34" charset="0"/>
                        </a:rPr>
                        <a:t>2,560</a:t>
                      </a:r>
                    </a:p>
                  </a:txBody>
                  <a:tcPr marL="7620" marR="7620" marT="7620" marB="0" anchor="ctr">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tcPr>
                </a:tc>
                <a:tc>
                  <a:txBody>
                    <a:bodyPr/>
                    <a:lstStyle/>
                    <a:p>
                      <a:pPr algn="ctr" fontAlgn="b"/>
                      <a:r>
                        <a:rPr lang="en-GB" sz="2400" b="1" i="0" u="none" strike="noStrike" dirty="0">
                          <a:solidFill>
                            <a:srgbClr val="000000"/>
                          </a:solidFill>
                          <a:effectLst/>
                          <a:latin typeface="Trebuchet MS" panose="020B0603020202020204" pitchFamily="34" charset="0"/>
                        </a:rPr>
                        <a:t>19</a:t>
                      </a:r>
                    </a:p>
                  </a:txBody>
                  <a:tcPr marL="7620" marR="7620" marT="7620"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solidFill>
                      <a:srgbClr val="FF0000"/>
                    </a:solidFill>
                  </a:tcPr>
                </a:tc>
                <a:extLst>
                  <a:ext uri="{0D108BD9-81ED-4DB2-BD59-A6C34878D82A}">
                    <a16:rowId xmlns:a16="http://schemas.microsoft.com/office/drawing/2014/main" val="10025"/>
                  </a:ext>
                </a:extLst>
              </a:tr>
              <a:tr h="382892">
                <a:tc>
                  <a:txBody>
                    <a:bodyPr/>
                    <a:lstStyle/>
                    <a:p>
                      <a:pPr marL="909052" indent="-401052" algn="l" defTabSz="825500">
                        <a:buSzPct val="100000"/>
                        <a:buAutoNum type="romanLcPeriod"/>
                        <a:defRPr sz="2400" b="1">
                          <a:effectLst/>
                        </a:defRPr>
                      </a:pPr>
                      <a:r>
                        <a:rPr dirty="0">
                          <a:latin typeface="Trebuchet MS" panose="020B0603020202020204" pitchFamily="34" charset="0"/>
                        </a:rPr>
                        <a:t>Core Capital Expenditure</a:t>
                      </a:r>
                    </a:p>
                  </a:txBody>
                  <a:tcPr marL="9840" marR="9840" marT="9840" marB="9840" anchor="ctr" horzOverflow="overflow">
                    <a:lnL w="0">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ctr">
                        <a:defRPr sz="1800">
                          <a:effectLst/>
                        </a:defRPr>
                      </a:pPr>
                      <a:r>
                        <a:rPr lang="en-US" sz="2400" b="1" dirty="0">
                          <a:latin typeface="Trebuchet MS" panose="020B0603020202020204" pitchFamily="34" charset="0"/>
                        </a:rPr>
                        <a:t>469,934</a:t>
                      </a:r>
                      <a:endParaRPr sz="2400" b="1" dirty="0">
                        <a:latin typeface="Trebuchet MS" panose="020B0603020202020204" pitchFamily="34" charset="0"/>
                      </a:endParaRP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algn="ctr">
                        <a:defRPr sz="1800">
                          <a:effectLst/>
                        </a:defRPr>
                      </a:pPr>
                      <a:r>
                        <a:rPr lang="en-US" sz="2400" b="1" dirty="0">
                          <a:latin typeface="Trebuchet MS" panose="020B0603020202020204" pitchFamily="34" charset="0"/>
                        </a:rPr>
                        <a:t>117,483</a:t>
                      </a: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400" b="1" i="0" u="none" strike="noStrike" dirty="0">
                          <a:solidFill>
                            <a:srgbClr val="000000"/>
                          </a:solidFill>
                          <a:effectLst/>
                          <a:latin typeface="Trebuchet MS" panose="020B0603020202020204" pitchFamily="34" charset="0"/>
                        </a:rPr>
                        <a:t>33,320</a:t>
                      </a:r>
                    </a:p>
                  </a:txBody>
                  <a:tcPr marL="7620" marR="7620" marT="7620"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400" b="1" i="0" u="none" strike="noStrike" dirty="0">
                          <a:solidFill>
                            <a:srgbClr val="000000"/>
                          </a:solidFill>
                          <a:effectLst/>
                          <a:latin typeface="Trebuchet MS" panose="020B0603020202020204" pitchFamily="34" charset="0"/>
                        </a:rPr>
                        <a:t>28</a:t>
                      </a:r>
                    </a:p>
                  </a:txBody>
                  <a:tcPr marL="7620" marR="7620" marT="7620"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solidFill>
                      <a:srgbClr val="FF0000"/>
                    </a:solidFill>
                  </a:tcPr>
                </a:tc>
                <a:extLst>
                  <a:ext uri="{0D108BD9-81ED-4DB2-BD59-A6C34878D82A}">
                    <a16:rowId xmlns:a16="http://schemas.microsoft.com/office/drawing/2014/main" val="10005"/>
                  </a:ext>
                </a:extLst>
              </a:tr>
              <a:tr h="382892">
                <a:tc>
                  <a:txBody>
                    <a:bodyPr/>
                    <a:lstStyle/>
                    <a:p>
                      <a:pPr marL="909052" indent="-401052" algn="l" defTabSz="825500">
                        <a:buSzPct val="100000"/>
                        <a:buAutoNum type="romanLcPeriod" startAt="2"/>
                        <a:defRPr sz="2400" b="1">
                          <a:effectLst/>
                        </a:defRPr>
                      </a:pPr>
                      <a:r>
                        <a:rPr dirty="0">
                          <a:latin typeface="Trebuchet MS" panose="020B0603020202020204" pitchFamily="34" charset="0"/>
                        </a:rPr>
                        <a:t>Capital Development (Dedicated)</a:t>
                      </a:r>
                    </a:p>
                  </a:txBody>
                  <a:tcPr marL="9840" marR="9840" marT="9840" marB="9840" anchor="ctr" horzOverflow="overflow">
                    <a:lnL w="0">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ctr">
                        <a:defRPr sz="1800">
                          <a:effectLst/>
                        </a:defRPr>
                      </a:pPr>
                      <a:r>
                        <a:rPr lang="en-US" sz="2400" b="1" dirty="0">
                          <a:latin typeface="Trebuchet MS" panose="020B0603020202020204" pitchFamily="34" charset="0"/>
                        </a:rPr>
                        <a:t>28,664</a:t>
                      </a:r>
                      <a:endParaRPr sz="2400" b="1" dirty="0">
                        <a:latin typeface="Trebuchet MS" panose="020B0603020202020204" pitchFamily="34" charset="0"/>
                      </a:endParaRP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algn="ctr">
                        <a:defRPr sz="1800">
                          <a:effectLst/>
                        </a:defRPr>
                      </a:pPr>
                      <a:r>
                        <a:rPr lang="en-US" sz="2400" b="1" dirty="0">
                          <a:latin typeface="Trebuchet MS" panose="020B0603020202020204" pitchFamily="34" charset="0"/>
                        </a:rPr>
                        <a:t>7,166</a:t>
                      </a: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400" b="1" i="0" u="none" strike="noStrike" dirty="0">
                          <a:solidFill>
                            <a:srgbClr val="000000"/>
                          </a:solidFill>
                          <a:effectLst/>
                          <a:latin typeface="Trebuchet MS" panose="020B0603020202020204" pitchFamily="34" charset="0"/>
                        </a:rPr>
                        <a:t>3,144</a:t>
                      </a:r>
                    </a:p>
                  </a:txBody>
                  <a:tcPr marL="7620" marR="7620" marT="7620"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400" b="1" i="0" u="none" strike="noStrike" dirty="0">
                          <a:solidFill>
                            <a:srgbClr val="000000"/>
                          </a:solidFill>
                          <a:effectLst/>
                          <a:latin typeface="Trebuchet MS" panose="020B0603020202020204" pitchFamily="34" charset="0"/>
                        </a:rPr>
                        <a:t>44</a:t>
                      </a:r>
                    </a:p>
                  </a:txBody>
                  <a:tcPr marL="7620" marR="7620" marT="7620"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solidFill>
                      <a:srgbClr val="FF0000"/>
                    </a:solidFill>
                  </a:tcPr>
                </a:tc>
                <a:extLst>
                  <a:ext uri="{0D108BD9-81ED-4DB2-BD59-A6C34878D82A}">
                    <a16:rowId xmlns:a16="http://schemas.microsoft.com/office/drawing/2014/main" val="10006"/>
                  </a:ext>
                </a:extLst>
              </a:tr>
              <a:tr h="382892">
                <a:tc>
                  <a:txBody>
                    <a:bodyPr/>
                    <a:lstStyle/>
                    <a:p>
                      <a:pPr marL="909052" indent="-401052" algn="l" defTabSz="825500">
                        <a:buSzPct val="100000"/>
                        <a:buAutoNum type="romanLcPeriod" startAt="3"/>
                        <a:defRPr sz="2400" b="1">
                          <a:effectLst/>
                        </a:defRPr>
                      </a:pPr>
                      <a:r>
                        <a:rPr dirty="0">
                          <a:latin typeface="Trebuchet MS" panose="020B0603020202020204" pitchFamily="34" charset="0"/>
                        </a:rPr>
                        <a:t>Grants</a:t>
                      </a:r>
                    </a:p>
                  </a:txBody>
                  <a:tcPr marL="9840" marR="9840" marT="9840" marB="9840" anchor="ctr" horzOverflow="overflow">
                    <a:lnL w="0">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ctr">
                        <a:defRPr sz="1800">
                          <a:effectLst/>
                        </a:defRPr>
                      </a:pPr>
                      <a:r>
                        <a:rPr lang="en-US" sz="2400" b="1" dirty="0">
                          <a:latin typeface="Trebuchet MS" panose="020B0603020202020204" pitchFamily="34" charset="0"/>
                        </a:rPr>
                        <a:t>43,147</a:t>
                      </a:r>
                      <a:endParaRPr sz="2400" b="1" dirty="0">
                        <a:latin typeface="Trebuchet MS" panose="020B0603020202020204" pitchFamily="34" charset="0"/>
                      </a:endParaRP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algn="ctr">
                        <a:defRPr sz="1800">
                          <a:effectLst/>
                        </a:defRPr>
                      </a:pPr>
                      <a:r>
                        <a:rPr lang="en-US" sz="2400" b="1" dirty="0">
                          <a:latin typeface="Trebuchet MS" panose="020B0603020202020204" pitchFamily="34" charset="0"/>
                        </a:rPr>
                        <a:t>10,787</a:t>
                      </a: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400" b="1" i="0" u="none" strike="noStrike" dirty="0">
                          <a:solidFill>
                            <a:srgbClr val="000000"/>
                          </a:solidFill>
                          <a:effectLst/>
                          <a:latin typeface="Trebuchet MS" panose="020B0603020202020204" pitchFamily="34" charset="0"/>
                        </a:rPr>
                        <a:t>-</a:t>
                      </a:r>
                    </a:p>
                  </a:txBody>
                  <a:tcPr marL="7620" marR="7620" marT="7620"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400" b="1" i="0" u="none" strike="noStrike" dirty="0">
                          <a:solidFill>
                            <a:srgbClr val="000000"/>
                          </a:solidFill>
                          <a:effectLst/>
                          <a:latin typeface="Trebuchet MS" panose="020B0603020202020204" pitchFamily="34" charset="0"/>
                        </a:rPr>
                        <a:t>0</a:t>
                      </a:r>
                    </a:p>
                  </a:txBody>
                  <a:tcPr marL="7620" marR="7620" marT="7620"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solidFill>
                      <a:srgbClr val="FF0000"/>
                    </a:solidFill>
                  </a:tcPr>
                </a:tc>
                <a:extLst>
                  <a:ext uri="{0D108BD9-81ED-4DB2-BD59-A6C34878D82A}">
                    <a16:rowId xmlns:a16="http://schemas.microsoft.com/office/drawing/2014/main" val="10007"/>
                  </a:ext>
                </a:extLst>
              </a:tr>
              <a:tr h="382892">
                <a:tc>
                  <a:txBody>
                    <a:bodyPr/>
                    <a:lstStyle/>
                    <a:p>
                      <a:pPr marL="909052" indent="-401052" algn="l" defTabSz="825500">
                        <a:buSzPct val="100000"/>
                        <a:buAutoNum type="romanLcPeriod" startAt="4"/>
                        <a:defRPr sz="2400" b="1">
                          <a:effectLst/>
                        </a:defRPr>
                      </a:pPr>
                      <a:r>
                        <a:rPr dirty="0">
                          <a:latin typeface="Trebuchet MS" panose="020B0603020202020204" pitchFamily="34" charset="0"/>
                        </a:rPr>
                        <a:t>Counterpart Fund</a:t>
                      </a:r>
                    </a:p>
                  </a:txBody>
                  <a:tcPr marL="9840" marR="9840" marT="9840" marB="9840" anchor="ctr" horzOverflow="overflow">
                    <a:lnL w="0">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ctr">
                        <a:defRPr sz="1800">
                          <a:effectLst/>
                        </a:defRPr>
                      </a:pPr>
                      <a:r>
                        <a:rPr lang="en-US" sz="2400" b="1" dirty="0">
                          <a:latin typeface="Trebuchet MS" panose="020B0603020202020204" pitchFamily="34" charset="0"/>
                        </a:rPr>
                        <a:t>13,917</a:t>
                      </a:r>
                      <a:endParaRPr sz="2400" b="1" dirty="0">
                        <a:latin typeface="Trebuchet MS" panose="020B0603020202020204" pitchFamily="34" charset="0"/>
                      </a:endParaRP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algn="ctr">
                        <a:defRPr sz="1800">
                          <a:effectLst/>
                        </a:defRPr>
                      </a:pPr>
                      <a:r>
                        <a:rPr lang="en-US" sz="2400" b="1" dirty="0">
                          <a:latin typeface="Trebuchet MS" panose="020B0603020202020204" pitchFamily="34" charset="0"/>
                        </a:rPr>
                        <a:t>3,479</a:t>
                      </a: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400" b="1" i="0" u="none" strike="noStrike" dirty="0">
                          <a:solidFill>
                            <a:srgbClr val="000000"/>
                          </a:solidFill>
                          <a:effectLst/>
                          <a:latin typeface="Trebuchet MS" panose="020B0603020202020204" pitchFamily="34" charset="0"/>
                        </a:rPr>
                        <a:t>1,530</a:t>
                      </a:r>
                    </a:p>
                  </a:txBody>
                  <a:tcPr marL="7620" marR="7620" marT="7620"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400" b="1" i="0" u="none" strike="noStrike" dirty="0">
                          <a:solidFill>
                            <a:srgbClr val="000000"/>
                          </a:solidFill>
                          <a:effectLst/>
                          <a:latin typeface="Trebuchet MS" panose="020B0603020202020204" pitchFamily="34" charset="0"/>
                        </a:rPr>
                        <a:t>44</a:t>
                      </a:r>
                    </a:p>
                  </a:txBody>
                  <a:tcPr marL="7620" marR="7620" marT="7620"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solidFill>
                      <a:srgbClr val="FF0000"/>
                    </a:solidFill>
                  </a:tcPr>
                </a:tc>
                <a:extLst>
                  <a:ext uri="{0D108BD9-81ED-4DB2-BD59-A6C34878D82A}">
                    <a16:rowId xmlns:a16="http://schemas.microsoft.com/office/drawing/2014/main" val="10008"/>
                  </a:ext>
                </a:extLst>
              </a:tr>
              <a:tr h="382892">
                <a:tc>
                  <a:txBody>
                    <a:bodyPr/>
                    <a:lstStyle/>
                    <a:p>
                      <a:pPr marL="909052" indent="-401052" algn="l" defTabSz="825500">
                        <a:buSzPct val="100000"/>
                        <a:buAutoNum type="romanLcPeriod" startAt="5"/>
                        <a:defRPr sz="2400" b="1">
                          <a:effectLst/>
                        </a:defRPr>
                      </a:pPr>
                      <a:r>
                        <a:rPr dirty="0">
                          <a:latin typeface="Trebuchet MS" panose="020B0603020202020204" pitchFamily="34" charset="0"/>
                        </a:rPr>
                        <a:t>Special Expenditure</a:t>
                      </a:r>
                    </a:p>
                  </a:txBody>
                  <a:tcPr marL="9840" marR="9840" marT="9840" marB="9840" anchor="ctr" horzOverflow="overflow">
                    <a:lnL w="0">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ctr">
                        <a:defRPr sz="1800">
                          <a:effectLst/>
                        </a:defRPr>
                      </a:pPr>
                      <a:r>
                        <a:rPr lang="en-US" sz="2400" b="1" dirty="0">
                          <a:latin typeface="Trebuchet MS" panose="020B0603020202020204" pitchFamily="34" charset="0"/>
                        </a:rPr>
                        <a:t>9,000</a:t>
                      </a:r>
                      <a:endParaRPr sz="2400" b="1" dirty="0">
                        <a:latin typeface="Trebuchet MS" panose="020B0603020202020204" pitchFamily="34" charset="0"/>
                      </a:endParaRP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algn="ctr">
                        <a:defRPr sz="1800">
                          <a:effectLst/>
                        </a:defRPr>
                      </a:pPr>
                      <a:r>
                        <a:rPr lang="en-US" sz="2400" b="1" dirty="0">
                          <a:latin typeface="Trebuchet MS" panose="020B0603020202020204" pitchFamily="34" charset="0"/>
                        </a:rPr>
                        <a:t>2,250</a:t>
                      </a: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400" b="1" i="0" u="none" strike="noStrike" dirty="0">
                          <a:solidFill>
                            <a:srgbClr val="000000"/>
                          </a:solidFill>
                          <a:effectLst/>
                          <a:latin typeface="Trebuchet MS" panose="020B0603020202020204" pitchFamily="34" charset="0"/>
                        </a:rPr>
                        <a:t>1,265</a:t>
                      </a:r>
                    </a:p>
                  </a:txBody>
                  <a:tcPr marL="7620" marR="7620" marT="7620"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400" b="1" i="0" u="none" strike="noStrike" dirty="0">
                          <a:solidFill>
                            <a:srgbClr val="000000"/>
                          </a:solidFill>
                          <a:effectLst/>
                          <a:latin typeface="Trebuchet MS" panose="020B0603020202020204" pitchFamily="34" charset="0"/>
                        </a:rPr>
                        <a:t>56</a:t>
                      </a:r>
                    </a:p>
                  </a:txBody>
                  <a:tcPr marL="7620" marR="7620" marT="7620"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solidFill>
                      <a:schemeClr val="accent1"/>
                    </a:solidFill>
                  </a:tcPr>
                </a:tc>
                <a:extLst>
                  <a:ext uri="{0D108BD9-81ED-4DB2-BD59-A6C34878D82A}">
                    <a16:rowId xmlns:a16="http://schemas.microsoft.com/office/drawing/2014/main" val="10009"/>
                  </a:ext>
                </a:extLst>
              </a:tr>
              <a:tr h="382892">
                <a:tc>
                  <a:txBody>
                    <a:bodyPr/>
                    <a:lstStyle/>
                    <a:p>
                      <a:pPr marL="909052" indent="-401052" algn="l" defTabSz="825500">
                        <a:buSzPct val="100000"/>
                        <a:buAutoNum type="romanLcPeriod" startAt="6"/>
                        <a:defRPr sz="2400" b="1">
                          <a:effectLst/>
                        </a:defRPr>
                      </a:pPr>
                      <a:r>
                        <a:rPr dirty="0">
                          <a:latin typeface="Trebuchet MS" panose="020B0603020202020204" pitchFamily="34" charset="0"/>
                        </a:rPr>
                        <a:t>Special Expenditure  (Others)</a:t>
                      </a:r>
                    </a:p>
                  </a:txBody>
                  <a:tcPr marL="9840" marR="9840" marT="9840" marB="9840" anchor="ctr" horzOverflow="overflow">
                    <a:lnL w="0">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ctr">
                        <a:defRPr sz="1800">
                          <a:effectLst/>
                        </a:defRPr>
                      </a:pPr>
                      <a:r>
                        <a:rPr lang="en-US" sz="2400" b="1" dirty="0">
                          <a:latin typeface="Trebuchet MS" panose="020B0603020202020204" pitchFamily="34" charset="0"/>
                        </a:rPr>
                        <a:t>1,000</a:t>
                      </a:r>
                      <a:endParaRPr sz="2400" b="1" dirty="0">
                        <a:latin typeface="Trebuchet MS" panose="020B0603020202020204" pitchFamily="34" charset="0"/>
                      </a:endParaRP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algn="ctr">
                        <a:defRPr sz="1800">
                          <a:effectLst/>
                        </a:defRPr>
                      </a:pPr>
                      <a:r>
                        <a:rPr lang="en-US" sz="2400" b="1" dirty="0">
                          <a:latin typeface="Trebuchet MS" panose="020B0603020202020204" pitchFamily="34" charset="0"/>
                        </a:rPr>
                        <a:t>250</a:t>
                      </a: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400" b="1" i="0" u="none" strike="noStrike" dirty="0">
                          <a:solidFill>
                            <a:srgbClr val="000000"/>
                          </a:solidFill>
                          <a:effectLst/>
                          <a:latin typeface="Trebuchet MS" panose="020B0603020202020204" pitchFamily="34" charset="0"/>
                        </a:rPr>
                        <a:t>-</a:t>
                      </a:r>
                    </a:p>
                  </a:txBody>
                  <a:tcPr marL="7620" marR="7620" marT="7620"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400" b="1" i="0" u="none" strike="noStrike" dirty="0">
                          <a:solidFill>
                            <a:srgbClr val="000000"/>
                          </a:solidFill>
                          <a:effectLst/>
                          <a:latin typeface="Trebuchet MS" panose="020B0603020202020204" pitchFamily="34" charset="0"/>
                        </a:rPr>
                        <a:t>0</a:t>
                      </a:r>
                    </a:p>
                  </a:txBody>
                  <a:tcPr marL="7620" marR="7620" marT="7620"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solidFill>
                      <a:srgbClr val="FF0000"/>
                    </a:solidFill>
                  </a:tcPr>
                </a:tc>
                <a:extLst>
                  <a:ext uri="{0D108BD9-81ED-4DB2-BD59-A6C34878D82A}">
                    <a16:rowId xmlns:a16="http://schemas.microsoft.com/office/drawing/2014/main" val="10010"/>
                  </a:ext>
                </a:extLst>
              </a:tr>
              <a:tr h="382892">
                <a:tc>
                  <a:txBody>
                    <a:bodyPr/>
                    <a:lstStyle/>
                    <a:p>
                      <a:pPr marL="909052" indent="-401052" algn="l" defTabSz="825500">
                        <a:buSzPct val="100000"/>
                        <a:buAutoNum type="romanLcPeriod" startAt="7"/>
                        <a:defRPr sz="2400" b="1">
                          <a:effectLst/>
                        </a:defRPr>
                      </a:pPr>
                      <a:r>
                        <a:rPr dirty="0">
                          <a:latin typeface="Trebuchet MS" panose="020B0603020202020204" pitchFamily="34" charset="0"/>
                        </a:rPr>
                        <a:t>Risk Retention Fund</a:t>
                      </a:r>
                    </a:p>
                  </a:txBody>
                  <a:tcPr marL="9840" marR="9840" marT="9840" marB="9840" anchor="ctr" horzOverflow="overflow">
                    <a:lnL w="0">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ctr">
                        <a:defRPr sz="1800">
                          <a:effectLst/>
                        </a:defRPr>
                      </a:pPr>
                      <a:r>
                        <a:rPr lang="en-US" sz="2400" b="1" dirty="0">
                          <a:latin typeface="Trebuchet MS" panose="020B0603020202020204" pitchFamily="34" charset="0"/>
                        </a:rPr>
                        <a:t>49</a:t>
                      </a:r>
                      <a:endParaRPr sz="2400" b="1" dirty="0">
                        <a:latin typeface="Trebuchet MS" panose="020B0603020202020204" pitchFamily="34" charset="0"/>
                      </a:endParaRP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algn="ctr">
                        <a:defRPr sz="1800">
                          <a:effectLst/>
                        </a:defRPr>
                      </a:pPr>
                      <a:r>
                        <a:rPr lang="en-US" sz="2400" b="1" dirty="0">
                          <a:latin typeface="Trebuchet MS" panose="020B0603020202020204" pitchFamily="34" charset="0"/>
                        </a:rPr>
                        <a:t>12</a:t>
                      </a: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400" b="1" i="0" u="none" strike="noStrike" dirty="0">
                          <a:solidFill>
                            <a:srgbClr val="000000"/>
                          </a:solidFill>
                          <a:effectLst/>
                          <a:latin typeface="Trebuchet MS" panose="020B0603020202020204" pitchFamily="34" charset="0"/>
                        </a:rPr>
                        <a:t>-</a:t>
                      </a:r>
                    </a:p>
                  </a:txBody>
                  <a:tcPr marL="7620" marR="7620" marT="7620"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400" b="1" i="0" u="none" strike="noStrike" dirty="0">
                          <a:solidFill>
                            <a:srgbClr val="000000"/>
                          </a:solidFill>
                          <a:effectLst/>
                          <a:latin typeface="Trebuchet MS" panose="020B0603020202020204" pitchFamily="34" charset="0"/>
                        </a:rPr>
                        <a:t>0</a:t>
                      </a:r>
                    </a:p>
                  </a:txBody>
                  <a:tcPr marL="7620" marR="7620" marT="7620"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solidFill>
                      <a:srgbClr val="FF0000"/>
                    </a:solidFill>
                  </a:tcPr>
                </a:tc>
                <a:extLst>
                  <a:ext uri="{0D108BD9-81ED-4DB2-BD59-A6C34878D82A}">
                    <a16:rowId xmlns:a16="http://schemas.microsoft.com/office/drawing/2014/main" val="10011"/>
                  </a:ext>
                </a:extLst>
              </a:tr>
              <a:tr h="382892">
                <a:tc>
                  <a:txBody>
                    <a:bodyPr/>
                    <a:lstStyle/>
                    <a:p>
                      <a:pPr marL="909052" indent="-401052" algn="l" defTabSz="825500">
                        <a:buSzPct val="100000"/>
                        <a:buAutoNum type="romanLcPeriod" startAt="8"/>
                        <a:defRPr sz="2400" b="1">
                          <a:effectLst/>
                        </a:defRPr>
                      </a:pPr>
                      <a:r>
                        <a:rPr dirty="0">
                          <a:latin typeface="Trebuchet MS" panose="020B0603020202020204" pitchFamily="34" charset="0"/>
                        </a:rPr>
                        <a:t>Staff Housing Fund</a:t>
                      </a:r>
                    </a:p>
                  </a:txBody>
                  <a:tcPr marL="9840" marR="9840" marT="9840" marB="9840" anchor="ctr" horzOverflow="overflow">
                    <a:lnL w="0">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ctr">
                        <a:defRPr sz="1800">
                          <a:effectLst/>
                        </a:defRPr>
                      </a:pPr>
                      <a:r>
                        <a:rPr lang="en-US" sz="2400" b="1" dirty="0">
                          <a:latin typeface="Trebuchet MS" panose="020B0603020202020204" pitchFamily="34" charset="0"/>
                        </a:rPr>
                        <a:t>100</a:t>
                      </a:r>
                      <a:endParaRPr sz="2400" b="1" dirty="0">
                        <a:latin typeface="Trebuchet MS" panose="020B0603020202020204" pitchFamily="34" charset="0"/>
                      </a:endParaRP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algn="ctr">
                        <a:defRPr sz="1800">
                          <a:effectLst/>
                        </a:defRPr>
                      </a:pPr>
                      <a:r>
                        <a:rPr lang="en-US" sz="2400" b="1" dirty="0">
                          <a:latin typeface="Trebuchet MS" panose="020B0603020202020204" pitchFamily="34" charset="0"/>
                        </a:rPr>
                        <a:t>25</a:t>
                      </a: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400" b="1" i="0" u="none" strike="noStrike" dirty="0">
                          <a:solidFill>
                            <a:srgbClr val="000000"/>
                          </a:solidFill>
                          <a:effectLst/>
                          <a:latin typeface="Trebuchet MS" panose="020B0603020202020204" pitchFamily="34" charset="0"/>
                        </a:rPr>
                        <a:t>-</a:t>
                      </a:r>
                    </a:p>
                  </a:txBody>
                  <a:tcPr marL="7620" marR="7620" marT="7620"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400" b="1" i="0" u="none" strike="noStrike" dirty="0">
                          <a:solidFill>
                            <a:srgbClr val="000000"/>
                          </a:solidFill>
                          <a:effectLst/>
                          <a:latin typeface="Trebuchet MS" panose="020B0603020202020204" pitchFamily="34" charset="0"/>
                        </a:rPr>
                        <a:t>0</a:t>
                      </a:r>
                    </a:p>
                  </a:txBody>
                  <a:tcPr marL="7620" marR="7620" marT="7620"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solidFill>
                      <a:srgbClr val="FF0000"/>
                    </a:solidFill>
                  </a:tcPr>
                </a:tc>
                <a:extLst>
                  <a:ext uri="{0D108BD9-81ED-4DB2-BD59-A6C34878D82A}">
                    <a16:rowId xmlns:a16="http://schemas.microsoft.com/office/drawing/2014/main" val="10012"/>
                  </a:ext>
                </a:extLst>
              </a:tr>
              <a:tr h="382892">
                <a:tc>
                  <a:txBody>
                    <a:bodyPr/>
                    <a:lstStyle/>
                    <a:p>
                      <a:pPr marL="909052" indent="-401052" algn="l" defTabSz="825500">
                        <a:buSzPct val="100000"/>
                        <a:buAutoNum type="romanLcPeriod" startAt="9"/>
                        <a:defRPr sz="2400" b="1">
                          <a:effectLst/>
                        </a:defRPr>
                      </a:pPr>
                      <a:r>
                        <a:rPr dirty="0">
                          <a:latin typeface="Trebuchet MS" panose="020B0603020202020204" pitchFamily="34" charset="0"/>
                        </a:rPr>
                        <a:t>Contingency Reserve</a:t>
                      </a:r>
                    </a:p>
                  </a:txBody>
                  <a:tcPr marL="9840" marR="9840" marT="9840" marB="9840" anchor="ctr" horzOverflow="overflow">
                    <a:lnL w="0">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ctr">
                        <a:defRPr sz="1800">
                          <a:effectLst/>
                        </a:defRPr>
                      </a:pPr>
                      <a:r>
                        <a:rPr lang="en-US" sz="2400" b="1" dirty="0">
                          <a:latin typeface="Trebuchet MS" panose="020B0603020202020204" pitchFamily="34" charset="0"/>
                        </a:rPr>
                        <a:t>6,196</a:t>
                      </a:r>
                      <a:endParaRPr sz="2400" b="1" dirty="0">
                        <a:latin typeface="Trebuchet MS" panose="020B0603020202020204" pitchFamily="34" charset="0"/>
                      </a:endParaRP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algn="ctr">
                        <a:defRPr sz="1800">
                          <a:effectLst/>
                        </a:defRPr>
                      </a:pPr>
                      <a:r>
                        <a:rPr lang="en-US" sz="2400" b="1" dirty="0">
                          <a:latin typeface="Trebuchet MS" panose="020B0603020202020204" pitchFamily="34" charset="0"/>
                        </a:rPr>
                        <a:t>1,549</a:t>
                      </a: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400" b="1" i="0" u="none" strike="noStrike" dirty="0">
                          <a:solidFill>
                            <a:srgbClr val="000000"/>
                          </a:solidFill>
                          <a:effectLst/>
                          <a:latin typeface="Trebuchet MS" panose="020B0603020202020204" pitchFamily="34" charset="0"/>
                        </a:rPr>
                        <a:t>-</a:t>
                      </a:r>
                    </a:p>
                  </a:txBody>
                  <a:tcPr marL="7620" marR="7620" marT="7620"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tcPr>
                </a:tc>
                <a:tc>
                  <a:txBody>
                    <a:bodyPr/>
                    <a:lstStyle/>
                    <a:p>
                      <a:pPr algn="ctr" fontAlgn="b"/>
                      <a:r>
                        <a:rPr lang="en-GB" sz="2400" b="1" i="0" u="none" strike="noStrike" dirty="0">
                          <a:solidFill>
                            <a:srgbClr val="000000"/>
                          </a:solidFill>
                          <a:effectLst/>
                          <a:latin typeface="Trebuchet MS" panose="020B0603020202020204" pitchFamily="34" charset="0"/>
                        </a:rPr>
                        <a:t>0</a:t>
                      </a:r>
                    </a:p>
                  </a:txBody>
                  <a:tcPr marL="7620" marR="7620" marT="7620"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solidFill>
                      <a:srgbClr val="FF0000"/>
                    </a:solidFill>
                  </a:tcPr>
                </a:tc>
                <a:extLst>
                  <a:ext uri="{0D108BD9-81ED-4DB2-BD59-A6C34878D82A}">
                    <a16:rowId xmlns:a16="http://schemas.microsoft.com/office/drawing/2014/main" val="10013"/>
                  </a:ext>
                </a:extLst>
              </a:tr>
              <a:tr h="382892">
                <a:tc>
                  <a:txBody>
                    <a:bodyPr/>
                    <a:lstStyle/>
                    <a:p>
                      <a:pPr marL="546100" indent="-457200" algn="l" defTabSz="825500">
                        <a:buSzPct val="100000"/>
                        <a:buFont typeface="+mj-lt"/>
                        <a:buAutoNum type="alphaUcPeriod" startAt="13"/>
                        <a:defRPr sz="2400" b="1">
                          <a:effectLst/>
                        </a:defRPr>
                      </a:pPr>
                      <a:r>
                        <a:rPr dirty="0">
                          <a:latin typeface="Trebuchet MS" panose="020B0603020202020204" pitchFamily="34" charset="0"/>
                        </a:rPr>
                        <a:t>REPAYMENTS</a:t>
                      </a:r>
                    </a:p>
                  </a:txBody>
                  <a:tcPr marL="9840" marR="9840" marT="9840" marB="9840" anchor="ctr" horzOverflow="overflow">
                    <a:lnL w="0">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solidFill>
                      <a:srgbClr val="22C00F"/>
                    </a:solidFill>
                  </a:tcPr>
                </a:tc>
                <a:tc>
                  <a:txBody>
                    <a:bodyPr/>
                    <a:lstStyle/>
                    <a:p>
                      <a:pPr algn="ctr">
                        <a:defRPr sz="1800">
                          <a:effectLst/>
                        </a:defRPr>
                      </a:pPr>
                      <a:r>
                        <a:rPr lang="en-US" sz="2400" b="1" dirty="0">
                          <a:latin typeface="Trebuchet MS" panose="020B0603020202020204" pitchFamily="34" charset="0"/>
                        </a:rPr>
                        <a:t>130,929</a:t>
                      </a:r>
                      <a:endParaRPr sz="2400" b="1" dirty="0">
                        <a:latin typeface="Trebuchet MS" panose="020B0603020202020204" pitchFamily="34" charset="0"/>
                      </a:endParaRP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algn="ctr">
                        <a:defRPr sz="1800">
                          <a:effectLst/>
                        </a:defRPr>
                      </a:pPr>
                      <a:r>
                        <a:rPr lang="en-US" sz="2400" b="1" dirty="0">
                          <a:latin typeface="Trebuchet MS" panose="020B0603020202020204" pitchFamily="34" charset="0"/>
                        </a:rPr>
                        <a:t>32,732</a:t>
                      </a: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400" b="1" i="0" u="none" strike="noStrike" dirty="0">
                          <a:solidFill>
                            <a:srgbClr val="000000"/>
                          </a:solidFill>
                          <a:effectLst/>
                          <a:latin typeface="Trebuchet MS" panose="020B0603020202020204" pitchFamily="34" charset="0"/>
                        </a:rPr>
                        <a:t>80,664</a:t>
                      </a:r>
                    </a:p>
                  </a:txBody>
                  <a:tcPr marL="7620" marR="7620" marT="7620" marB="0" anchor="ctr">
                    <a:lnL w="38100">
                      <a:solidFill>
                        <a:srgbClr val="A7A7A7"/>
                      </a:solidFill>
                      <a:custDash>
                        <a:ds d="200000" sp="200000"/>
                      </a:custDash>
                      <a:miter lim="400000"/>
                    </a:lnL>
                    <a:lnR w="38100">
                      <a:solidFill>
                        <a:srgbClr val="A7A7A7"/>
                      </a:solidFill>
                      <a:custDash>
                        <a:ds d="200000" sp="200000"/>
                      </a:custDash>
                      <a:miter lim="400000"/>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tcPr>
                </a:tc>
                <a:tc>
                  <a:txBody>
                    <a:bodyPr/>
                    <a:lstStyle/>
                    <a:p>
                      <a:pPr algn="ctr" fontAlgn="b"/>
                      <a:r>
                        <a:rPr lang="en-GB" sz="2400" b="1" i="0" u="none" strike="noStrike" dirty="0">
                          <a:solidFill>
                            <a:srgbClr val="000000"/>
                          </a:solidFill>
                          <a:effectLst/>
                          <a:latin typeface="Trebuchet MS" panose="020B0603020202020204" pitchFamily="34" charset="0"/>
                        </a:rPr>
                        <a:t>246</a:t>
                      </a:r>
                    </a:p>
                  </a:txBody>
                  <a:tcPr marL="7620" marR="7620" marT="7620"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solidFill>
                      <a:srgbClr val="22C00F"/>
                    </a:solidFill>
                  </a:tcPr>
                </a:tc>
                <a:extLst>
                  <a:ext uri="{0D108BD9-81ED-4DB2-BD59-A6C34878D82A}">
                    <a16:rowId xmlns:a16="http://schemas.microsoft.com/office/drawing/2014/main" val="10014"/>
                  </a:ext>
                </a:extLst>
              </a:tr>
              <a:tr h="382892">
                <a:tc>
                  <a:txBody>
                    <a:bodyPr/>
                    <a:lstStyle/>
                    <a:p>
                      <a:pPr marL="909052" indent="-401052" algn="l" defTabSz="825500">
                        <a:buSzPct val="100000"/>
                        <a:buAutoNum type="romanLcPeriod"/>
                        <a:defRPr sz="2400" b="1">
                          <a:effectLst/>
                        </a:defRPr>
                      </a:pPr>
                      <a:r>
                        <a:rPr dirty="0">
                          <a:latin typeface="Trebuchet MS" panose="020B0603020202020204" pitchFamily="34" charset="0"/>
                        </a:rPr>
                        <a:t>External Loans (Principal Repayments)</a:t>
                      </a:r>
                    </a:p>
                  </a:txBody>
                  <a:tcPr marL="9840" marR="9840" marT="9840" marB="9840" anchor="ctr" horzOverflow="overflow">
                    <a:lnL w="0">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ctr">
                        <a:defRPr sz="1800">
                          <a:effectLst/>
                        </a:defRPr>
                      </a:pPr>
                      <a:r>
                        <a:rPr lang="en-US" sz="2400" b="1" dirty="0">
                          <a:latin typeface="Trebuchet MS" panose="020B0603020202020204" pitchFamily="34" charset="0"/>
                        </a:rPr>
                        <a:t>14,775</a:t>
                      </a:r>
                      <a:endParaRPr sz="2400" b="1" dirty="0">
                        <a:latin typeface="Trebuchet MS" panose="020B0603020202020204" pitchFamily="34" charset="0"/>
                      </a:endParaRP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algn="ctr">
                        <a:defRPr sz="1800">
                          <a:effectLst/>
                        </a:defRPr>
                      </a:pPr>
                      <a:r>
                        <a:rPr lang="en-US" sz="2400" b="1" dirty="0">
                          <a:latin typeface="Trebuchet MS" panose="020B0603020202020204" pitchFamily="34" charset="0"/>
                        </a:rPr>
                        <a:t>3,694</a:t>
                      </a: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400" b="1" i="0" u="none" strike="noStrike" dirty="0">
                          <a:solidFill>
                            <a:srgbClr val="000000"/>
                          </a:solidFill>
                          <a:effectLst/>
                          <a:latin typeface="Trebuchet MS" panose="020B0603020202020204" pitchFamily="34" charset="0"/>
                        </a:rPr>
                        <a:t>3,682</a:t>
                      </a:r>
                    </a:p>
                  </a:txBody>
                  <a:tcPr marL="7620" marR="7620" marT="7620"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400" b="1" i="0" u="none" strike="noStrike" dirty="0">
                          <a:solidFill>
                            <a:srgbClr val="000000"/>
                          </a:solidFill>
                          <a:effectLst/>
                          <a:latin typeface="Trebuchet MS" panose="020B0603020202020204" pitchFamily="34" charset="0"/>
                        </a:rPr>
                        <a:t>100</a:t>
                      </a:r>
                    </a:p>
                  </a:txBody>
                  <a:tcPr marL="7620" marR="7620" marT="7620"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solidFill>
                      <a:srgbClr val="22C00F"/>
                    </a:solidFill>
                  </a:tcPr>
                </a:tc>
                <a:extLst>
                  <a:ext uri="{0D108BD9-81ED-4DB2-BD59-A6C34878D82A}">
                    <a16:rowId xmlns:a16="http://schemas.microsoft.com/office/drawing/2014/main" val="10015"/>
                  </a:ext>
                </a:extLst>
              </a:tr>
              <a:tr h="382892">
                <a:tc>
                  <a:txBody>
                    <a:bodyPr/>
                    <a:lstStyle/>
                    <a:p>
                      <a:pPr marL="909052" indent="-401052" algn="l" defTabSz="825500">
                        <a:buSzPct val="100000"/>
                        <a:buAutoNum type="romanLcPeriod" startAt="2"/>
                        <a:defRPr sz="2400" b="1">
                          <a:effectLst/>
                        </a:defRPr>
                      </a:pPr>
                      <a:r>
                        <a:rPr dirty="0">
                          <a:latin typeface="Trebuchet MS" panose="020B0603020202020204" pitchFamily="34" charset="0"/>
                        </a:rPr>
                        <a:t>Internal Loan (Principal Repayments)</a:t>
                      </a:r>
                    </a:p>
                  </a:txBody>
                  <a:tcPr marL="9840" marR="9840" marT="9840" marB="9840" anchor="ctr" horzOverflow="overflow">
                    <a:lnL w="0">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ctr">
                        <a:defRPr sz="1800">
                          <a:effectLst/>
                        </a:defRPr>
                      </a:pPr>
                      <a:r>
                        <a:rPr lang="en-US" sz="2400" b="1" dirty="0">
                          <a:latin typeface="Trebuchet MS" panose="020B0603020202020204" pitchFamily="34" charset="0"/>
                        </a:rPr>
                        <a:t>47,102</a:t>
                      </a:r>
                      <a:endParaRPr sz="2400" b="1" dirty="0">
                        <a:latin typeface="Trebuchet MS" panose="020B0603020202020204" pitchFamily="34" charset="0"/>
                      </a:endParaRP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algn="ctr">
                        <a:defRPr sz="1800">
                          <a:effectLst/>
                        </a:defRPr>
                      </a:pPr>
                      <a:r>
                        <a:rPr lang="en-US" sz="2400" b="1" dirty="0">
                          <a:latin typeface="Trebuchet MS" panose="020B0603020202020204" pitchFamily="34" charset="0"/>
                        </a:rPr>
                        <a:t>11,775</a:t>
                      </a: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400" b="1" i="0" u="none" strike="noStrike" dirty="0">
                          <a:solidFill>
                            <a:srgbClr val="000000"/>
                          </a:solidFill>
                          <a:effectLst/>
                          <a:latin typeface="Trebuchet MS" panose="020B0603020202020204" pitchFamily="34" charset="0"/>
                        </a:rPr>
                        <a:t>16,485</a:t>
                      </a:r>
                    </a:p>
                  </a:txBody>
                  <a:tcPr marL="7620" marR="7620" marT="7620"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400" b="1" i="0" u="none" strike="noStrike" dirty="0">
                          <a:solidFill>
                            <a:srgbClr val="000000"/>
                          </a:solidFill>
                          <a:effectLst/>
                          <a:latin typeface="Trebuchet MS" panose="020B0603020202020204" pitchFamily="34" charset="0"/>
                        </a:rPr>
                        <a:t>140</a:t>
                      </a:r>
                    </a:p>
                  </a:txBody>
                  <a:tcPr marL="7620" marR="7620" marT="7620"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solidFill>
                      <a:srgbClr val="22C00F"/>
                    </a:solidFill>
                  </a:tcPr>
                </a:tc>
                <a:extLst>
                  <a:ext uri="{0D108BD9-81ED-4DB2-BD59-A6C34878D82A}">
                    <a16:rowId xmlns:a16="http://schemas.microsoft.com/office/drawing/2014/main" val="10016"/>
                  </a:ext>
                </a:extLst>
              </a:tr>
              <a:tr h="382892">
                <a:tc>
                  <a:txBody>
                    <a:bodyPr/>
                    <a:lstStyle/>
                    <a:p>
                      <a:pPr marL="909052" indent="-401052" algn="l" defTabSz="825500">
                        <a:buSzPct val="100000"/>
                        <a:buAutoNum type="romanLcPeriod" startAt="3"/>
                        <a:defRPr sz="2400" b="1">
                          <a:effectLst/>
                        </a:defRPr>
                      </a:pPr>
                      <a:r>
                        <a:rPr dirty="0">
                          <a:latin typeface="Trebuchet MS" panose="020B0603020202020204" pitchFamily="34" charset="0"/>
                        </a:rPr>
                        <a:t>Bond Issuance Repayment</a:t>
                      </a:r>
                    </a:p>
                  </a:txBody>
                  <a:tcPr marL="9840" marR="9840" marT="9840" marB="9840" anchor="ctr" horzOverflow="overflow">
                    <a:lnL w="0">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ctr">
                        <a:defRPr sz="1800">
                          <a:effectLst/>
                        </a:defRPr>
                      </a:pPr>
                      <a:r>
                        <a:rPr lang="en-US" sz="2400" b="1" dirty="0">
                          <a:latin typeface="Trebuchet MS" panose="020B0603020202020204" pitchFamily="34" charset="0"/>
                        </a:rPr>
                        <a:t>-</a:t>
                      </a:r>
                      <a:endParaRPr sz="2400" b="1" dirty="0">
                        <a:latin typeface="Trebuchet MS" panose="020B0603020202020204" pitchFamily="34" charset="0"/>
                      </a:endParaRP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algn="ctr">
                        <a:defRPr sz="1800">
                          <a:effectLst/>
                        </a:defRPr>
                      </a:pPr>
                      <a:r>
                        <a:rPr lang="en-US" sz="2400" b="1" dirty="0">
                          <a:latin typeface="Trebuchet MS" panose="020B0603020202020204" pitchFamily="34" charset="0"/>
                        </a:rPr>
                        <a:t>-</a:t>
                      </a: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400" b="1" i="0" u="none" strike="noStrike" dirty="0">
                          <a:solidFill>
                            <a:srgbClr val="000000"/>
                          </a:solidFill>
                          <a:effectLst/>
                          <a:latin typeface="Trebuchet MS" panose="020B0603020202020204" pitchFamily="34" charset="0"/>
                        </a:rPr>
                        <a:t>-</a:t>
                      </a:r>
                    </a:p>
                  </a:txBody>
                  <a:tcPr marL="7620" marR="7620" marT="7620"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400" b="1" i="0" u="none" strike="noStrike" dirty="0">
                          <a:solidFill>
                            <a:srgbClr val="000000"/>
                          </a:solidFill>
                          <a:effectLst/>
                          <a:latin typeface="Trebuchet MS" panose="020B0603020202020204" pitchFamily="34" charset="0"/>
                        </a:rPr>
                        <a:t>0</a:t>
                      </a:r>
                    </a:p>
                  </a:txBody>
                  <a:tcPr marL="7620" marR="7620" marT="7620"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solidFill>
                      <a:srgbClr val="FF0000"/>
                    </a:solidFill>
                  </a:tcPr>
                </a:tc>
                <a:extLst>
                  <a:ext uri="{0D108BD9-81ED-4DB2-BD59-A6C34878D82A}">
                    <a16:rowId xmlns:a16="http://schemas.microsoft.com/office/drawing/2014/main" val="10017"/>
                  </a:ext>
                </a:extLst>
              </a:tr>
              <a:tr h="382892">
                <a:tc>
                  <a:txBody>
                    <a:bodyPr/>
                    <a:lstStyle/>
                    <a:p>
                      <a:pPr marL="909052" indent="-401052" algn="l" defTabSz="825500">
                        <a:buSzPct val="100000"/>
                        <a:buAutoNum type="romanLcPeriod" startAt="4"/>
                        <a:defRPr sz="2400" b="1">
                          <a:effectLst/>
                        </a:defRPr>
                      </a:pPr>
                      <a:r>
                        <a:rPr dirty="0">
                          <a:latin typeface="Trebuchet MS" panose="020B0603020202020204" pitchFamily="34" charset="0"/>
                        </a:rPr>
                        <a:t>Consolidated </a:t>
                      </a:r>
                      <a:r>
                        <a:rPr lang="en-US" dirty="0">
                          <a:latin typeface="Trebuchet MS" panose="020B0603020202020204" pitchFamily="34" charset="0"/>
                        </a:rPr>
                        <a:t>Debt </a:t>
                      </a:r>
                      <a:r>
                        <a:rPr dirty="0">
                          <a:latin typeface="Trebuchet MS" panose="020B0603020202020204" pitchFamily="34" charset="0"/>
                        </a:rPr>
                        <a:t>Service Account</a:t>
                      </a:r>
                    </a:p>
                  </a:txBody>
                  <a:tcPr marL="9840" marR="9840" marT="9840" marB="9840" anchor="ctr" horzOverflow="overflow">
                    <a:lnL w="0">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ctr">
                        <a:defRPr sz="1800">
                          <a:effectLst/>
                        </a:defRPr>
                      </a:pPr>
                      <a:r>
                        <a:rPr lang="en-US" sz="2400" b="1" dirty="0">
                          <a:latin typeface="Trebuchet MS" panose="020B0603020202020204" pitchFamily="34" charset="0"/>
                        </a:rPr>
                        <a:t>69,052</a:t>
                      </a:r>
                      <a:endParaRPr sz="2400" b="1" dirty="0">
                        <a:latin typeface="Trebuchet MS" panose="020B0603020202020204" pitchFamily="34" charset="0"/>
                      </a:endParaRP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algn="ctr">
                        <a:defRPr sz="1800">
                          <a:effectLst/>
                        </a:defRPr>
                      </a:pPr>
                      <a:r>
                        <a:rPr lang="en-US" sz="2400" b="1" dirty="0">
                          <a:latin typeface="Trebuchet MS" panose="020B0603020202020204" pitchFamily="34" charset="0"/>
                        </a:rPr>
                        <a:t>17,263</a:t>
                      </a: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400" b="1" i="0" u="none" strike="noStrike" dirty="0">
                          <a:solidFill>
                            <a:srgbClr val="000000"/>
                          </a:solidFill>
                          <a:effectLst/>
                          <a:latin typeface="Trebuchet MS" panose="020B0603020202020204" pitchFamily="34" charset="0"/>
                        </a:rPr>
                        <a:t>60,497</a:t>
                      </a:r>
                    </a:p>
                  </a:txBody>
                  <a:tcPr marL="7620" marR="7620" marT="7620"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400" b="1" i="0" u="none" strike="noStrike" dirty="0">
                          <a:solidFill>
                            <a:srgbClr val="000000"/>
                          </a:solidFill>
                          <a:effectLst/>
                          <a:latin typeface="Trebuchet MS" panose="020B0603020202020204" pitchFamily="34" charset="0"/>
                        </a:rPr>
                        <a:t>350</a:t>
                      </a:r>
                    </a:p>
                  </a:txBody>
                  <a:tcPr marL="7620" marR="7620" marT="7620"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solidFill>
                      <a:srgbClr val="22C00F"/>
                    </a:solidFill>
                  </a:tcPr>
                </a:tc>
                <a:extLst>
                  <a:ext uri="{0D108BD9-81ED-4DB2-BD59-A6C34878D82A}">
                    <a16:rowId xmlns:a16="http://schemas.microsoft.com/office/drawing/2014/main" val="10018"/>
                  </a:ext>
                </a:extLst>
              </a:tr>
              <a:tr h="382892">
                <a:tc>
                  <a:txBody>
                    <a:bodyPr/>
                    <a:lstStyle/>
                    <a:p>
                      <a:pPr marL="546100" indent="-457200" algn="l" defTabSz="825500">
                        <a:buSzPct val="100000"/>
                        <a:buFont typeface="+mj-lt"/>
                        <a:buAutoNum type="alphaUcPeriod" startAt="14"/>
                        <a:defRPr sz="2400" b="1">
                          <a:effectLst/>
                        </a:defRPr>
                      </a:pPr>
                      <a:r>
                        <a:rPr lang="en-US" dirty="0">
                          <a:latin typeface="Trebuchet MS" panose="020B0603020202020204" pitchFamily="34" charset="0"/>
                        </a:rPr>
                        <a:t>FINANCING</a:t>
                      </a:r>
                      <a:endParaRPr dirty="0">
                        <a:latin typeface="Trebuchet MS" panose="020B0603020202020204" pitchFamily="34" charset="0"/>
                      </a:endParaRPr>
                    </a:p>
                  </a:txBody>
                  <a:tcPr marL="9840" marR="9840" marT="9840" marB="9840" anchor="ctr" horzOverflow="overflow">
                    <a:lnL w="0">
                      <a:miter lim="400000"/>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solidFill>
                      <a:srgbClr val="FF0000"/>
                    </a:solidFill>
                  </a:tcPr>
                </a:tc>
                <a:tc>
                  <a:txBody>
                    <a:bodyPr/>
                    <a:lstStyle/>
                    <a:p>
                      <a:pPr algn="ctr">
                        <a:defRPr sz="1800">
                          <a:effectLst/>
                        </a:defRPr>
                      </a:pPr>
                      <a:endParaRPr sz="2400" b="1" dirty="0">
                        <a:latin typeface="Trebuchet MS" panose="020B0603020202020204" pitchFamily="34" charset="0"/>
                      </a:endParaRP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algn="ctr">
                        <a:defRPr sz="1800">
                          <a:effectLst/>
                        </a:defRPr>
                      </a:pPr>
                      <a:endParaRPr sz="2400" b="1" dirty="0">
                        <a:latin typeface="Trebuchet MS" panose="020B0603020202020204" pitchFamily="34" charset="0"/>
                      </a:endParaRP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tcPr>
                </a:tc>
                <a:tc>
                  <a:txBody>
                    <a:bodyPr/>
                    <a:lstStyle/>
                    <a:p>
                      <a:pPr algn="ctr" fontAlgn="b"/>
                      <a:endParaRPr lang="en-GB" sz="2400" b="1" i="0" u="none" strike="noStrike" dirty="0">
                        <a:solidFill>
                          <a:srgbClr val="000000"/>
                        </a:solidFill>
                        <a:effectLst/>
                        <a:latin typeface="Trebuchet MS" panose="020B0603020202020204" pitchFamily="34" charset="0"/>
                      </a:endParaRPr>
                    </a:p>
                  </a:txBody>
                  <a:tcPr marL="7620" marR="7620" marT="7620" marB="0" anchor="ctr">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tcPr>
                </a:tc>
                <a:tc>
                  <a:txBody>
                    <a:bodyPr/>
                    <a:lstStyle/>
                    <a:p>
                      <a:pPr algn="ctr" fontAlgn="b"/>
                      <a:endParaRPr lang="en-GB" sz="2400" b="1" i="0" u="none" strike="noStrike" dirty="0">
                        <a:solidFill>
                          <a:srgbClr val="000000"/>
                        </a:solidFill>
                        <a:effectLst/>
                        <a:latin typeface="Trebuchet MS" panose="020B0603020202020204" pitchFamily="34" charset="0"/>
                      </a:endParaRPr>
                    </a:p>
                  </a:txBody>
                  <a:tcPr marL="7620" marR="7620" marT="7620"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cap="flat" cmpd="sng" algn="ctr">
                      <a:solidFill>
                        <a:srgbClr val="A7A7A7"/>
                      </a:solidFill>
                      <a:custDash>
                        <a:ds d="200000" sp="200000"/>
                      </a:custDash>
                      <a:miter lim="400000"/>
                      <a:headEnd type="none" w="med" len="med"/>
                      <a:tailEnd type="none" w="med" len="med"/>
                    </a:lnT>
                    <a:lnB w="38100">
                      <a:solidFill>
                        <a:srgbClr val="A7A7A7"/>
                      </a:solidFill>
                      <a:custDash>
                        <a:ds d="200000" sp="200000"/>
                      </a:custDash>
                      <a:miter lim="400000"/>
                    </a:lnB>
                    <a:solidFill>
                      <a:srgbClr val="DDDDDD"/>
                    </a:solidFill>
                  </a:tcPr>
                </a:tc>
                <a:extLst>
                  <a:ext uri="{0D108BD9-81ED-4DB2-BD59-A6C34878D82A}">
                    <a16:rowId xmlns:a16="http://schemas.microsoft.com/office/drawing/2014/main" val="10021"/>
                  </a:ext>
                </a:extLst>
              </a:tr>
              <a:tr h="382892">
                <a:tc>
                  <a:txBody>
                    <a:bodyPr/>
                    <a:lstStyle/>
                    <a:p>
                      <a:pPr marL="858252" indent="-401052" algn="l" defTabSz="825500">
                        <a:buSzPct val="100000"/>
                        <a:buAutoNum type="alphaLcPeriod"/>
                        <a:defRPr sz="2400" b="1">
                          <a:effectLst/>
                        </a:defRPr>
                      </a:pPr>
                      <a:r>
                        <a:rPr dirty="0">
                          <a:latin typeface="Trebuchet MS" panose="020B0603020202020204" pitchFamily="34" charset="0"/>
                        </a:rPr>
                        <a:t>External Loans</a:t>
                      </a:r>
                    </a:p>
                  </a:txBody>
                  <a:tcPr marL="9840" marR="9840" marT="9840" marB="9840" anchor="ctr" horzOverflow="overflow">
                    <a:lnL w="0">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noFill/>
                  </a:tcPr>
                </a:tc>
                <a:tc>
                  <a:txBody>
                    <a:bodyPr/>
                    <a:lstStyle/>
                    <a:p>
                      <a:pPr algn="ctr">
                        <a:defRPr sz="1800">
                          <a:effectLst/>
                        </a:defRPr>
                      </a:pPr>
                      <a:r>
                        <a:rPr lang="en-US" sz="2400" b="1" dirty="0">
                          <a:latin typeface="Trebuchet MS" panose="020B0603020202020204" pitchFamily="34" charset="0"/>
                        </a:rPr>
                        <a:t>37,255</a:t>
                      </a:r>
                      <a:endParaRPr sz="2400" b="1" dirty="0">
                        <a:latin typeface="Trebuchet MS" panose="020B0603020202020204" pitchFamily="34" charset="0"/>
                      </a:endParaRP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algn="ctr">
                        <a:defRPr sz="1800">
                          <a:effectLst/>
                        </a:defRPr>
                      </a:pPr>
                      <a:r>
                        <a:rPr lang="en-US" sz="2400" b="1" dirty="0">
                          <a:latin typeface="Trebuchet MS" panose="020B0603020202020204" pitchFamily="34" charset="0"/>
                        </a:rPr>
                        <a:t>9,314</a:t>
                      </a:r>
                      <a:endParaRPr sz="2400" b="1" dirty="0">
                        <a:latin typeface="Trebuchet MS" panose="020B0603020202020204" pitchFamily="34" charset="0"/>
                      </a:endParaRP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400" b="1" i="0" u="none" strike="noStrike" dirty="0">
                          <a:solidFill>
                            <a:srgbClr val="000000"/>
                          </a:solidFill>
                          <a:effectLst/>
                          <a:latin typeface="Trebuchet MS" panose="020B0603020202020204" pitchFamily="34" charset="0"/>
                        </a:rPr>
                        <a:t>-</a:t>
                      </a:r>
                    </a:p>
                  </a:txBody>
                  <a:tcPr marL="7620" marR="7620" marT="7620"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tcPr>
                </a:tc>
                <a:tc>
                  <a:txBody>
                    <a:bodyPr/>
                    <a:lstStyle/>
                    <a:p>
                      <a:pPr algn="ctr" fontAlgn="b"/>
                      <a:r>
                        <a:rPr lang="en-GB" sz="2400" b="1" i="0" u="none" strike="noStrike" dirty="0">
                          <a:solidFill>
                            <a:srgbClr val="000000"/>
                          </a:solidFill>
                          <a:effectLst/>
                          <a:latin typeface="Trebuchet MS" panose="020B0603020202020204" pitchFamily="34" charset="0"/>
                        </a:rPr>
                        <a:t>0</a:t>
                      </a:r>
                    </a:p>
                  </a:txBody>
                  <a:tcPr marL="7620" marR="7620" marT="7620"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a:solidFill>
                        <a:srgbClr val="A7A7A7"/>
                      </a:solidFill>
                      <a:custDash>
                        <a:ds d="200000" sp="200000"/>
                      </a:custDash>
                      <a:miter lim="400000"/>
                    </a:lnB>
                    <a:solidFill>
                      <a:srgbClr val="FF0000"/>
                    </a:solidFill>
                  </a:tcPr>
                </a:tc>
                <a:extLst>
                  <a:ext uri="{0D108BD9-81ED-4DB2-BD59-A6C34878D82A}">
                    <a16:rowId xmlns:a16="http://schemas.microsoft.com/office/drawing/2014/main" val="10022"/>
                  </a:ext>
                </a:extLst>
              </a:tr>
              <a:tr h="382892">
                <a:tc>
                  <a:txBody>
                    <a:bodyPr/>
                    <a:lstStyle/>
                    <a:p>
                      <a:pPr marL="909052" indent="-401052" algn="l" defTabSz="825500">
                        <a:buSzPct val="100000"/>
                        <a:buAutoNum type="alphaLcPeriod" startAt="2"/>
                        <a:defRPr sz="2400" b="1">
                          <a:effectLst/>
                        </a:defRPr>
                      </a:pPr>
                      <a:r>
                        <a:rPr dirty="0">
                          <a:latin typeface="Trebuchet MS" panose="020B0603020202020204" pitchFamily="34" charset="0"/>
                        </a:rPr>
                        <a:t>Internal Loans </a:t>
                      </a:r>
                    </a:p>
                  </a:txBody>
                  <a:tcPr marL="9840" marR="9840" marT="9840" marB="9840" anchor="ctr" horzOverflow="overflow">
                    <a:lnL w="0">
                      <a:miter lim="400000"/>
                    </a:lnL>
                    <a:lnR w="38100">
                      <a:solidFill>
                        <a:srgbClr val="A7A7A7"/>
                      </a:solidFill>
                      <a:custDash>
                        <a:ds d="200000" sp="200000"/>
                      </a:custDash>
                      <a:miter lim="400000"/>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noFill/>
                  </a:tcPr>
                </a:tc>
                <a:tc>
                  <a:txBody>
                    <a:bodyPr/>
                    <a:lstStyle/>
                    <a:p>
                      <a:pPr algn="ctr">
                        <a:defRPr sz="1800">
                          <a:effectLst/>
                        </a:defRPr>
                      </a:pPr>
                      <a:r>
                        <a:rPr lang="en-US" sz="2400" b="1" dirty="0">
                          <a:latin typeface="Trebuchet MS" panose="020B0603020202020204" pitchFamily="34" charset="0"/>
                        </a:rPr>
                        <a:t>55,239</a:t>
                      </a:r>
                      <a:endParaRPr sz="2400" b="1" dirty="0">
                        <a:latin typeface="Trebuchet MS" panose="020B0603020202020204" pitchFamily="34" charset="0"/>
                      </a:endParaRP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algn="ctr">
                        <a:defRPr sz="1800">
                          <a:effectLst/>
                        </a:defRPr>
                      </a:pPr>
                      <a:r>
                        <a:rPr lang="en-US" sz="2400" b="1" dirty="0">
                          <a:latin typeface="Trebuchet MS" panose="020B0603020202020204" pitchFamily="34" charset="0"/>
                        </a:rPr>
                        <a:t>13,810</a:t>
                      </a:r>
                      <a:endParaRPr sz="2400" b="1" dirty="0">
                        <a:latin typeface="Trebuchet MS" panose="020B0603020202020204" pitchFamily="34" charset="0"/>
                      </a:endParaRP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tcPr>
                </a:tc>
                <a:tc>
                  <a:txBody>
                    <a:bodyPr/>
                    <a:lstStyle/>
                    <a:p>
                      <a:pPr algn="ctr" fontAlgn="b"/>
                      <a:r>
                        <a:rPr lang="en-GB" sz="2400" b="1" i="0" u="none" strike="noStrike" dirty="0">
                          <a:solidFill>
                            <a:srgbClr val="000000"/>
                          </a:solidFill>
                          <a:effectLst/>
                          <a:latin typeface="Trebuchet MS" panose="020B0603020202020204" pitchFamily="34" charset="0"/>
                        </a:rPr>
                        <a:t>49,000</a:t>
                      </a:r>
                    </a:p>
                  </a:txBody>
                  <a:tcPr marL="7620" marR="7620" marT="7620"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tcPr>
                </a:tc>
                <a:tc>
                  <a:txBody>
                    <a:bodyPr/>
                    <a:lstStyle/>
                    <a:p>
                      <a:pPr algn="ctr" fontAlgn="b"/>
                      <a:r>
                        <a:rPr lang="en-GB" sz="2400" b="1" i="0" u="none" strike="noStrike" dirty="0">
                          <a:solidFill>
                            <a:srgbClr val="000000"/>
                          </a:solidFill>
                          <a:effectLst/>
                          <a:latin typeface="Trebuchet MS" panose="020B0603020202020204" pitchFamily="34" charset="0"/>
                        </a:rPr>
                        <a:t>355</a:t>
                      </a:r>
                    </a:p>
                  </a:txBody>
                  <a:tcPr marL="7620" marR="7620" marT="7620" marB="0" anchor="ctr">
                    <a:lnL w="38100">
                      <a:solidFill>
                        <a:srgbClr val="A7A7A7"/>
                      </a:solidFill>
                      <a:custDash>
                        <a:ds d="200000" sp="200000"/>
                      </a:custDash>
                      <a:miter lim="400000"/>
                    </a:lnL>
                    <a:lnR w="38100">
                      <a:solidFill>
                        <a:srgbClr val="A7A7A7"/>
                      </a:solidFill>
                      <a:custDash>
                        <a:ds d="200000" sp="200000"/>
                      </a:custDash>
                      <a:miter lim="400000"/>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solidFill>
                      <a:srgbClr val="22C00F"/>
                    </a:solidFill>
                  </a:tcPr>
                </a:tc>
                <a:extLst>
                  <a:ext uri="{0D108BD9-81ED-4DB2-BD59-A6C34878D82A}">
                    <a16:rowId xmlns:a16="http://schemas.microsoft.com/office/drawing/2014/main" val="10023"/>
                  </a:ext>
                </a:extLst>
              </a:tr>
              <a:tr h="382892">
                <a:tc>
                  <a:txBody>
                    <a:bodyPr/>
                    <a:lstStyle/>
                    <a:p>
                      <a:pPr marL="965200" indent="-457200" algn="l" defTabSz="825500">
                        <a:buSzPct val="100000"/>
                        <a:buFont typeface="+mj-lt"/>
                        <a:buAutoNum type="alphaLcPeriod" startAt="3"/>
                        <a:defRPr sz="2400" b="1">
                          <a:effectLst/>
                        </a:defRPr>
                      </a:pPr>
                      <a:r>
                        <a:rPr lang="en-US" dirty="0">
                          <a:latin typeface="Trebuchet MS" panose="020B0603020202020204" pitchFamily="34" charset="0"/>
                        </a:rPr>
                        <a:t>Bond Issuance</a:t>
                      </a:r>
                      <a:endParaRPr dirty="0">
                        <a:latin typeface="Trebuchet MS" panose="020B0603020202020204" pitchFamily="34" charset="0"/>
                      </a:endParaRPr>
                    </a:p>
                  </a:txBody>
                  <a:tcPr marL="9840" marR="9840" marT="9840" marB="9840" anchor="ctr" horzOverflow="overflow">
                    <a:lnL w="0">
                      <a:miter lim="400000"/>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noFill/>
                  </a:tcPr>
                </a:tc>
                <a:tc>
                  <a:txBody>
                    <a:bodyPr/>
                    <a:lstStyle/>
                    <a:p>
                      <a:pPr algn="ctr">
                        <a:defRPr sz="1800">
                          <a:effectLst/>
                        </a:defRPr>
                      </a:pPr>
                      <a:r>
                        <a:rPr lang="en-US" sz="2400" b="1" dirty="0">
                          <a:latin typeface="Trebuchet MS" panose="020B0603020202020204" pitchFamily="34" charset="0"/>
                        </a:rPr>
                        <a:t>100,000</a:t>
                      </a:r>
                      <a:endParaRPr sz="2400" b="1" dirty="0">
                        <a:latin typeface="Trebuchet MS" panose="020B0603020202020204" pitchFamily="34" charset="0"/>
                      </a:endParaRP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cap="flat" cmpd="sng" algn="ctr">
                      <a:solidFill>
                        <a:srgbClr val="A7A7A7"/>
                      </a:solidFill>
                      <a:custDash>
                        <a:ds d="200000" sp="200000"/>
                      </a:custDash>
                      <a:miter lim="400000"/>
                      <a:headEnd type="none" w="med" len="med"/>
                      <a:tailEnd type="none" w="med" len="med"/>
                    </a:lnT>
                    <a:lnB w="38100" cap="flat" cmpd="sng" algn="ctr">
                      <a:solidFill>
                        <a:srgbClr val="A7A7A7"/>
                      </a:solidFill>
                      <a:custDash>
                        <a:ds d="200000" sp="200000"/>
                      </a:custDash>
                      <a:miter lim="400000"/>
                      <a:headEnd type="none" w="med" len="med"/>
                      <a:tailEnd type="none" w="med" len="med"/>
                    </a:lnB>
                  </a:tcPr>
                </a:tc>
                <a:tc>
                  <a:txBody>
                    <a:bodyPr/>
                    <a:lstStyle/>
                    <a:p>
                      <a:pPr algn="ctr">
                        <a:defRPr sz="1800">
                          <a:effectLst/>
                        </a:defRPr>
                      </a:pPr>
                      <a:r>
                        <a:rPr lang="en-US" sz="2400" b="1" dirty="0">
                          <a:latin typeface="Trebuchet MS" panose="020B0603020202020204" pitchFamily="34" charset="0"/>
                        </a:rPr>
                        <a:t>25,000</a:t>
                      </a:r>
                      <a:endParaRPr sz="2400" b="1" dirty="0">
                        <a:latin typeface="Trebuchet MS" panose="020B0603020202020204" pitchFamily="34" charset="0"/>
                      </a:endParaRPr>
                    </a:p>
                  </a:txBody>
                  <a:tcPr marL="7620" marR="7620" marT="7620" marB="7620" anchor="ctr" horzOverflow="overflow">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tcPr>
                </a:tc>
                <a:tc>
                  <a:txBody>
                    <a:bodyPr/>
                    <a:lstStyle/>
                    <a:p>
                      <a:pPr algn="ctr" fontAlgn="b"/>
                      <a:r>
                        <a:rPr lang="en-GB" sz="2400" b="1" i="0" u="none" strike="noStrike" dirty="0">
                          <a:solidFill>
                            <a:srgbClr val="000000"/>
                          </a:solidFill>
                          <a:effectLst/>
                          <a:latin typeface="Trebuchet MS" panose="020B0603020202020204" pitchFamily="34" charset="0"/>
                        </a:rPr>
                        <a:t>-</a:t>
                      </a:r>
                    </a:p>
                  </a:txBody>
                  <a:tcPr marL="7620" marR="7620" marT="7620" marB="0" anchor="ctr">
                    <a:lnL w="38100" cap="flat" cmpd="sng" algn="ctr">
                      <a:solidFill>
                        <a:srgbClr val="A7A7A7"/>
                      </a:solidFill>
                      <a:custDash>
                        <a:ds d="200000" sp="200000"/>
                      </a:custDash>
                      <a:miter lim="400000"/>
                      <a:headEnd type="none" w="med" len="med"/>
                      <a:tailEnd type="none" w="med" len="med"/>
                    </a:lnL>
                    <a:lnR w="38100" cap="flat" cmpd="sng" algn="ctr">
                      <a:solidFill>
                        <a:srgbClr val="A7A7A7"/>
                      </a:solidFill>
                      <a:custDash>
                        <a:ds d="200000" sp="200000"/>
                      </a:custDash>
                      <a:miter lim="400000"/>
                      <a:headEnd type="none" w="med" len="med"/>
                      <a:tailEnd type="none" w="med" len="med"/>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tcPr>
                </a:tc>
                <a:tc>
                  <a:txBody>
                    <a:bodyPr/>
                    <a:lstStyle/>
                    <a:p>
                      <a:pPr algn="ctr" fontAlgn="b"/>
                      <a:r>
                        <a:rPr lang="en-GB" sz="2400" b="1" i="0" u="none" strike="noStrike" dirty="0">
                          <a:solidFill>
                            <a:srgbClr val="000000"/>
                          </a:solidFill>
                          <a:effectLst/>
                          <a:latin typeface="Trebuchet MS" panose="020B0603020202020204" pitchFamily="34" charset="0"/>
                        </a:rPr>
                        <a:t>0</a:t>
                      </a:r>
                    </a:p>
                  </a:txBody>
                  <a:tcPr marL="7620" marR="7620" marT="7620" marB="0" anchor="ctr">
                    <a:lnL w="38100" cap="flat" cmpd="sng" algn="ctr">
                      <a:solidFill>
                        <a:srgbClr val="A7A7A7"/>
                      </a:solidFill>
                      <a:custDash>
                        <a:ds d="200000" sp="200000"/>
                      </a:custDash>
                      <a:miter lim="400000"/>
                      <a:headEnd type="none" w="med" len="med"/>
                      <a:tailEnd type="none" w="med" len="med"/>
                    </a:lnL>
                    <a:lnR w="38100">
                      <a:solidFill>
                        <a:srgbClr val="A7A7A7"/>
                      </a:solidFill>
                      <a:custDash>
                        <a:ds d="200000" sp="200000"/>
                      </a:custDash>
                      <a:miter lim="400000"/>
                    </a:lnR>
                    <a:lnT w="38100">
                      <a:solidFill>
                        <a:srgbClr val="A7A7A7"/>
                      </a:solidFill>
                      <a:custDash>
                        <a:ds d="200000" sp="200000"/>
                      </a:custDash>
                      <a:miter lim="400000"/>
                    </a:lnT>
                    <a:lnB w="38100" cap="flat" cmpd="sng" algn="ctr">
                      <a:solidFill>
                        <a:srgbClr val="A7A7A7"/>
                      </a:solidFill>
                      <a:custDash>
                        <a:ds d="200000" sp="200000"/>
                      </a:custDash>
                      <a:miter lim="400000"/>
                      <a:headEnd type="none" w="med" len="med"/>
                      <a:tailEnd type="none" w="med" len="med"/>
                    </a:lnB>
                    <a:solidFill>
                      <a:srgbClr val="FF0000"/>
                    </a:solidFill>
                  </a:tcPr>
                </a:tc>
                <a:extLst>
                  <a:ext uri="{0D108BD9-81ED-4DB2-BD59-A6C34878D82A}">
                    <a16:rowId xmlns:a16="http://schemas.microsoft.com/office/drawing/2014/main" val="10026"/>
                  </a:ext>
                </a:extLst>
              </a:tr>
            </a:tbl>
          </a:graphicData>
        </a:graphic>
      </p:graphicFrame>
    </p:spTree>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5" name="Approved Budget Overview"/>
          <p:cNvSpPr txBox="1"/>
          <p:nvPr/>
        </p:nvSpPr>
        <p:spPr>
          <a:xfrm>
            <a:off x="8756891" y="6588594"/>
            <a:ext cx="11074774" cy="891539"/>
          </a:xfrm>
          <a:prstGeom prst="rect">
            <a:avLst/>
          </a:prstGeom>
          <a:ln w="38100">
            <a:solidFill>
              <a:schemeClr val="accent3"/>
            </a:solidFill>
            <a:miter lim="400000"/>
          </a:ln>
          <a:effectLst>
            <a:outerShdw blurRad="12700" dist="12700" rotWithShape="0">
              <a:srgbClr val="000000">
                <a:alpha val="1508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1918" tIns="121918" rIns="121918" bIns="121918" anchor="ctr">
            <a:spAutoFit/>
          </a:bodyPr>
          <a:lstStyle/>
          <a:p>
            <a:r>
              <a:rPr dirty="0"/>
              <a:t>Budget Performance Highlights</a:t>
            </a:r>
          </a:p>
        </p:txBody>
      </p:sp>
      <p:sp>
        <p:nvSpPr>
          <p:cNvPr id="8" name="Rectangle 7">
            <a:extLst>
              <a:ext uri="{FF2B5EF4-FFF2-40B4-BE49-F238E27FC236}">
                <a16:creationId xmlns:a16="http://schemas.microsoft.com/office/drawing/2014/main" id="{C7828792-A311-4589-B23B-C8A078693AFF}"/>
              </a:ext>
            </a:extLst>
          </p:cNvPr>
          <p:cNvSpPr/>
          <p:nvPr/>
        </p:nvSpPr>
        <p:spPr>
          <a:xfrm>
            <a:off x="8775941" y="7649029"/>
            <a:ext cx="826321" cy="330969"/>
          </a:xfrm>
          <a:prstGeom prst="rect">
            <a:avLst/>
          </a:prstGeom>
          <a:solidFill>
            <a:srgbClr val="DCDCD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9" name="Rectangle 8">
            <a:extLst>
              <a:ext uri="{FF2B5EF4-FFF2-40B4-BE49-F238E27FC236}">
                <a16:creationId xmlns:a16="http://schemas.microsoft.com/office/drawing/2014/main" id="{55E67308-50E3-4E5D-8CF8-AD388A0E77C4}"/>
              </a:ext>
            </a:extLst>
          </p:cNvPr>
          <p:cNvSpPr/>
          <p:nvPr/>
        </p:nvSpPr>
        <p:spPr>
          <a:xfrm>
            <a:off x="9639504" y="7649029"/>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0" name="Rectangle 9">
            <a:extLst>
              <a:ext uri="{FF2B5EF4-FFF2-40B4-BE49-F238E27FC236}">
                <a16:creationId xmlns:a16="http://schemas.microsoft.com/office/drawing/2014/main" id="{C6C95E7A-A3A7-4DE9-AF94-0274225D8930}"/>
              </a:ext>
            </a:extLst>
          </p:cNvPr>
          <p:cNvSpPr/>
          <p:nvPr/>
        </p:nvSpPr>
        <p:spPr>
          <a:xfrm>
            <a:off x="10503067" y="7649029"/>
            <a:ext cx="826321" cy="330969"/>
          </a:xfrm>
          <a:prstGeom prst="rect">
            <a:avLst/>
          </a:prstGeom>
          <a:solidFill>
            <a:srgbClr val="DCDCD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1" name="Rectangle 10">
            <a:extLst>
              <a:ext uri="{FF2B5EF4-FFF2-40B4-BE49-F238E27FC236}">
                <a16:creationId xmlns:a16="http://schemas.microsoft.com/office/drawing/2014/main" id="{05265E65-1169-486E-9E77-A3C84ACF5D76}"/>
              </a:ext>
            </a:extLst>
          </p:cNvPr>
          <p:cNvSpPr/>
          <p:nvPr/>
        </p:nvSpPr>
        <p:spPr>
          <a:xfrm>
            <a:off x="11366630" y="7649029"/>
            <a:ext cx="826321" cy="330969"/>
          </a:xfrm>
          <a:prstGeom prst="rect">
            <a:avLst/>
          </a:prstGeom>
          <a:solidFill>
            <a:srgbClr val="DCDCD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2" name="Rectangle 11">
            <a:extLst>
              <a:ext uri="{FF2B5EF4-FFF2-40B4-BE49-F238E27FC236}">
                <a16:creationId xmlns:a16="http://schemas.microsoft.com/office/drawing/2014/main" id="{880C7C7D-AAA4-4668-9706-ABADF0AB101A}"/>
              </a:ext>
            </a:extLst>
          </p:cNvPr>
          <p:cNvSpPr/>
          <p:nvPr/>
        </p:nvSpPr>
        <p:spPr>
          <a:xfrm>
            <a:off x="12230193" y="7649029"/>
            <a:ext cx="826321" cy="330969"/>
          </a:xfrm>
          <a:prstGeom prst="rect">
            <a:avLst/>
          </a:prstGeom>
          <a:solidFill>
            <a:srgbClr val="DCDCD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3" name="Rectangle 12">
            <a:extLst>
              <a:ext uri="{FF2B5EF4-FFF2-40B4-BE49-F238E27FC236}">
                <a16:creationId xmlns:a16="http://schemas.microsoft.com/office/drawing/2014/main" id="{6911CC3C-3199-461A-B6DD-ACE14807C1C4}"/>
              </a:ext>
            </a:extLst>
          </p:cNvPr>
          <p:cNvSpPr/>
          <p:nvPr/>
        </p:nvSpPr>
        <p:spPr>
          <a:xfrm>
            <a:off x="13093756" y="7649029"/>
            <a:ext cx="826321" cy="330969"/>
          </a:xfrm>
          <a:prstGeom prst="rect">
            <a:avLst/>
          </a:prstGeom>
          <a:solidFill>
            <a:srgbClr val="00AEEF"/>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4" name="Rectangle 13">
            <a:extLst>
              <a:ext uri="{FF2B5EF4-FFF2-40B4-BE49-F238E27FC236}">
                <a16:creationId xmlns:a16="http://schemas.microsoft.com/office/drawing/2014/main" id="{B0C31471-060F-4CE9-81DF-0309201C7883}"/>
              </a:ext>
            </a:extLst>
          </p:cNvPr>
          <p:cNvSpPr/>
          <p:nvPr/>
        </p:nvSpPr>
        <p:spPr>
          <a:xfrm>
            <a:off x="13957319" y="7649029"/>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5" name="Rectangle 14">
            <a:extLst>
              <a:ext uri="{FF2B5EF4-FFF2-40B4-BE49-F238E27FC236}">
                <a16:creationId xmlns:a16="http://schemas.microsoft.com/office/drawing/2014/main" id="{2196616F-91D9-437D-A3FA-30072421A101}"/>
              </a:ext>
            </a:extLst>
          </p:cNvPr>
          <p:cNvSpPr/>
          <p:nvPr/>
        </p:nvSpPr>
        <p:spPr>
          <a:xfrm>
            <a:off x="14820882" y="7649029"/>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6" name="Rectangle 15">
            <a:extLst>
              <a:ext uri="{FF2B5EF4-FFF2-40B4-BE49-F238E27FC236}">
                <a16:creationId xmlns:a16="http://schemas.microsoft.com/office/drawing/2014/main" id="{179DC167-142B-4878-BAE6-DF72AE5E8E3D}"/>
              </a:ext>
            </a:extLst>
          </p:cNvPr>
          <p:cNvSpPr/>
          <p:nvPr/>
        </p:nvSpPr>
        <p:spPr>
          <a:xfrm>
            <a:off x="15684445" y="7649029"/>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7" name="Rectangle 16">
            <a:extLst>
              <a:ext uri="{FF2B5EF4-FFF2-40B4-BE49-F238E27FC236}">
                <a16:creationId xmlns:a16="http://schemas.microsoft.com/office/drawing/2014/main" id="{DFB47291-A1F1-4735-A25C-E95B29E7630D}"/>
              </a:ext>
            </a:extLst>
          </p:cNvPr>
          <p:cNvSpPr/>
          <p:nvPr/>
        </p:nvSpPr>
        <p:spPr>
          <a:xfrm>
            <a:off x="16548008" y="7649029"/>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8" name="Rectangle 17">
            <a:extLst>
              <a:ext uri="{FF2B5EF4-FFF2-40B4-BE49-F238E27FC236}">
                <a16:creationId xmlns:a16="http://schemas.microsoft.com/office/drawing/2014/main" id="{CE5D8D11-3AD9-4AC9-95B8-21E2336477D2}"/>
              </a:ext>
            </a:extLst>
          </p:cNvPr>
          <p:cNvSpPr/>
          <p:nvPr/>
        </p:nvSpPr>
        <p:spPr>
          <a:xfrm>
            <a:off x="17411571" y="7649029"/>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9" name="Rectangle 18">
            <a:extLst>
              <a:ext uri="{FF2B5EF4-FFF2-40B4-BE49-F238E27FC236}">
                <a16:creationId xmlns:a16="http://schemas.microsoft.com/office/drawing/2014/main" id="{1F00A4E7-24CB-4276-9E7F-E593D4BBA01C}"/>
              </a:ext>
            </a:extLst>
          </p:cNvPr>
          <p:cNvSpPr/>
          <p:nvPr/>
        </p:nvSpPr>
        <p:spPr>
          <a:xfrm>
            <a:off x="18275134" y="7649029"/>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20" name="Rectangle 19">
            <a:extLst>
              <a:ext uri="{FF2B5EF4-FFF2-40B4-BE49-F238E27FC236}">
                <a16:creationId xmlns:a16="http://schemas.microsoft.com/office/drawing/2014/main" id="{104F14DD-451C-4A8E-A366-E8630005A23C}"/>
              </a:ext>
            </a:extLst>
          </p:cNvPr>
          <p:cNvSpPr/>
          <p:nvPr/>
        </p:nvSpPr>
        <p:spPr>
          <a:xfrm>
            <a:off x="19138694" y="7649029"/>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21" name="Approved Budget Overview">
            <a:extLst>
              <a:ext uri="{FF2B5EF4-FFF2-40B4-BE49-F238E27FC236}">
                <a16:creationId xmlns:a16="http://schemas.microsoft.com/office/drawing/2014/main" id="{54BCE0F4-8FC8-4F7A-8B6A-8DD5869BBE0D}"/>
              </a:ext>
            </a:extLst>
          </p:cNvPr>
          <p:cNvSpPr txBox="1"/>
          <p:nvPr/>
        </p:nvSpPr>
        <p:spPr>
          <a:xfrm>
            <a:off x="5811131" y="6588594"/>
            <a:ext cx="3108960" cy="891539"/>
          </a:xfrm>
          <a:prstGeom prst="rect">
            <a:avLst/>
          </a:prstGeom>
          <a:solidFill>
            <a:srgbClr val="1A77B9"/>
          </a:solidFill>
          <a:ln w="38100">
            <a:solidFill>
              <a:schemeClr val="accent3"/>
            </a:solidFill>
            <a:miter lim="400000"/>
          </a:ln>
          <a:effectLst>
            <a:outerShdw blurRad="12700" dist="12700" rotWithShape="0">
              <a:srgbClr val="000000">
                <a:alpha val="27675"/>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121918" tIns="121918" rIns="121918" bIns="121918" anchor="ctr">
            <a:spAutoFit/>
          </a:bodyPr>
          <a:lstStyle/>
          <a:p>
            <a:endParaRPr dirty="0"/>
          </a:p>
        </p:txBody>
      </p:sp>
      <p:sp>
        <p:nvSpPr>
          <p:cNvPr id="22" name="2019">
            <a:extLst>
              <a:ext uri="{FF2B5EF4-FFF2-40B4-BE49-F238E27FC236}">
                <a16:creationId xmlns:a16="http://schemas.microsoft.com/office/drawing/2014/main" id="{A4E1F68A-5840-4E24-AB70-5914D8555D51}"/>
              </a:ext>
            </a:extLst>
          </p:cNvPr>
          <p:cNvSpPr txBox="1"/>
          <p:nvPr/>
        </p:nvSpPr>
        <p:spPr>
          <a:xfrm>
            <a:off x="5573471" y="6566609"/>
            <a:ext cx="3421081" cy="984885"/>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defRPr sz="6400">
                <a:solidFill>
                  <a:schemeClr val="accent4"/>
                </a:solidFill>
                <a:effectLst>
                  <a:outerShdw blurRad="12700" dist="25400" dir="18900000" rotWithShape="0">
                    <a:srgbClr val="000000"/>
                  </a:outerShdw>
                </a:effectLst>
              </a:defRPr>
            </a:lvl1pPr>
          </a:lstStyle>
          <a:p>
            <a:r>
              <a:rPr lang="en-US" dirty="0">
                <a:solidFill>
                  <a:schemeClr val="bg1"/>
                </a:solidFill>
              </a:rPr>
              <a:t>Q1 2021</a:t>
            </a:r>
            <a:endParaRPr dirty="0">
              <a:solidFill>
                <a:schemeClr val="bg1"/>
              </a:solidFill>
            </a:endParaRPr>
          </a:p>
        </p:txBody>
      </p:sp>
    </p:spTree>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 name="Rectangle"/>
          <p:cNvSpPr/>
          <p:nvPr/>
        </p:nvSpPr>
        <p:spPr>
          <a:xfrm>
            <a:off x="12326968" y="1922585"/>
            <a:ext cx="10598411" cy="10406786"/>
          </a:xfrm>
          <a:prstGeom prst="rect">
            <a:avLst/>
          </a:prstGeom>
          <a:solidFill>
            <a:srgbClr val="FFFFFF"/>
          </a:solidFill>
          <a:ln w="12700">
            <a:miter lim="400000"/>
          </a:ln>
          <a:effectLst>
            <a:outerShdw blurRad="76200" dist="30504" dir="5400000" rotWithShape="0">
              <a:srgbClr val="000000"/>
            </a:outerShdw>
          </a:effectLst>
        </p:spPr>
        <p:txBody>
          <a:bodyPr lIns="38100" tIns="38100" rIns="38100" bIns="38100" anchor="ctr"/>
          <a:lstStyle/>
          <a:p>
            <a:pPr algn="l">
              <a:defRPr sz="2000" b="0" cap="none">
                <a:solidFill>
                  <a:srgbClr val="252D30"/>
                </a:solidFill>
                <a:effectLst/>
                <a:latin typeface="+mn-lt"/>
                <a:ea typeface="+mn-ea"/>
                <a:cs typeface="+mn-cs"/>
                <a:sym typeface="Helvetica Neue"/>
              </a:defRPr>
            </a:pPr>
            <a:endParaRPr dirty="0"/>
          </a:p>
        </p:txBody>
      </p:sp>
      <p:sp>
        <p:nvSpPr>
          <p:cNvPr id="488" name="Text Box 3"/>
          <p:cNvSpPr txBox="1"/>
          <p:nvPr/>
        </p:nvSpPr>
        <p:spPr>
          <a:xfrm>
            <a:off x="2610802" y="924682"/>
            <a:ext cx="17057336" cy="72327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8100" tIns="38100" rIns="38100" bIns="38100" anchor="ctr">
            <a:spAutoFit/>
          </a:bodyPr>
          <a:lstStyle/>
          <a:p>
            <a:r>
              <a:rPr lang="en-GB" dirty="0"/>
              <a:t>Revenue Performance Highlights — Q1 Y2021</a:t>
            </a:r>
          </a:p>
        </p:txBody>
      </p:sp>
      <p:sp>
        <p:nvSpPr>
          <p:cNvPr id="28" name="Q3 data is inconclusive…"/>
          <p:cNvSpPr/>
          <p:nvPr/>
        </p:nvSpPr>
        <p:spPr>
          <a:xfrm>
            <a:off x="1422400" y="12376263"/>
            <a:ext cx="21539200" cy="639639"/>
          </a:xfrm>
          <a:custGeom>
            <a:avLst/>
            <a:gdLst/>
            <a:ahLst/>
            <a:cxnLst>
              <a:cxn ang="0">
                <a:pos x="wd2" y="hd2"/>
              </a:cxn>
              <a:cxn ang="5400000">
                <a:pos x="wd2" y="hd2"/>
              </a:cxn>
              <a:cxn ang="10800000">
                <a:pos x="wd2" y="hd2"/>
              </a:cxn>
              <a:cxn ang="16200000">
                <a:pos x="wd2" y="hd2"/>
              </a:cxn>
            </a:cxnLst>
            <a:rect l="0" t="0" r="r" b="b"/>
            <a:pathLst>
              <a:path w="21600" h="21600" extrusionOk="0">
                <a:moveTo>
                  <a:pt x="20151" y="0"/>
                </a:moveTo>
                <a:lnTo>
                  <a:pt x="19710" y="2711"/>
                </a:lnTo>
                <a:lnTo>
                  <a:pt x="64" y="2711"/>
                </a:lnTo>
                <a:cubicBezTo>
                  <a:pt x="29" y="2711"/>
                  <a:pt x="0" y="2887"/>
                  <a:pt x="0" y="3103"/>
                </a:cubicBezTo>
                <a:lnTo>
                  <a:pt x="0" y="21208"/>
                </a:lnTo>
                <a:cubicBezTo>
                  <a:pt x="0" y="21425"/>
                  <a:pt x="29" y="21600"/>
                  <a:pt x="64" y="21600"/>
                </a:cubicBezTo>
                <a:lnTo>
                  <a:pt x="21536" y="21600"/>
                </a:lnTo>
                <a:cubicBezTo>
                  <a:pt x="21571" y="21600"/>
                  <a:pt x="21600" y="21425"/>
                  <a:pt x="21600" y="21208"/>
                </a:cubicBezTo>
                <a:lnTo>
                  <a:pt x="21600" y="3103"/>
                </a:lnTo>
                <a:cubicBezTo>
                  <a:pt x="21600" y="2887"/>
                  <a:pt x="21571" y="2711"/>
                  <a:pt x="21536" y="2711"/>
                </a:cubicBezTo>
                <a:lnTo>
                  <a:pt x="20591" y="2711"/>
                </a:lnTo>
                <a:lnTo>
                  <a:pt x="20151" y="0"/>
                </a:lnTo>
                <a:close/>
              </a:path>
            </a:pathLst>
          </a:custGeom>
          <a:solidFill>
            <a:srgbClr val="FFFFFF"/>
          </a:solidFill>
          <a:ln w="12700">
            <a:miter lim="400000"/>
          </a:ln>
          <a:effectLst>
            <a:outerShdw blurRad="76200" dist="30504" dir="5400000" rotWithShape="0">
              <a:srgbClr val="000000"/>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38100" tIns="38100" rIns="38100" bIns="38100" anchor="ctr"/>
          <a:lstStyle>
            <a:lvl1pPr marL="406400" indent="-330200" algn="l">
              <a:lnSpc>
                <a:spcPct val="140000"/>
              </a:lnSpc>
              <a:spcBef>
                <a:spcPts val="200"/>
              </a:spcBef>
              <a:buClr>
                <a:srgbClr val="22BF00"/>
              </a:buClr>
              <a:buSzPct val="122000"/>
              <a:buChar char="‣"/>
              <a:defRPr sz="2400" b="0" i="1" cap="none">
                <a:solidFill>
                  <a:srgbClr val="FF2600"/>
                </a:solidFill>
              </a:defRPr>
            </a:lvl1pPr>
          </a:lstStyle>
          <a:p>
            <a:pPr>
              <a:buFont typeface="Wingdings" panose="05000000000000000000" pitchFamily="2" charset="2"/>
              <a:buChar char="§"/>
              <a:defRPr sz="2400" b="0" cap="none">
                <a:solidFill>
                  <a:srgbClr val="000000"/>
                </a:solidFill>
                <a:effectLst/>
              </a:defRPr>
            </a:pPr>
            <a:r>
              <a:rPr lang="en-GB" i="0" dirty="0"/>
              <a:t>The Total Revenue as at the end of Q1 Y2021 performed at 76%.</a:t>
            </a:r>
          </a:p>
        </p:txBody>
      </p:sp>
      <p:sp>
        <p:nvSpPr>
          <p:cNvPr id="29" name="Rectangle"/>
          <p:cNvSpPr/>
          <p:nvPr/>
        </p:nvSpPr>
        <p:spPr>
          <a:xfrm>
            <a:off x="1421583" y="1922585"/>
            <a:ext cx="10598411" cy="10406786"/>
          </a:xfrm>
          <a:prstGeom prst="rect">
            <a:avLst/>
          </a:prstGeom>
          <a:solidFill>
            <a:srgbClr val="FFFFFF"/>
          </a:solidFill>
          <a:ln w="12700">
            <a:miter lim="400000"/>
          </a:ln>
          <a:effectLst>
            <a:outerShdw blurRad="76200" dist="30504" dir="5400000" rotWithShape="0">
              <a:srgbClr val="000000"/>
            </a:outerShdw>
          </a:effectLst>
        </p:spPr>
        <p:txBody>
          <a:bodyPr lIns="38100" tIns="38100" rIns="38100" bIns="38100" anchor="ctr"/>
          <a:lstStyle/>
          <a:p>
            <a:pPr algn="l">
              <a:defRPr sz="2000" b="0" cap="none">
                <a:solidFill>
                  <a:srgbClr val="252D30"/>
                </a:solidFill>
                <a:effectLst/>
                <a:latin typeface="+mn-lt"/>
                <a:ea typeface="+mn-ea"/>
                <a:cs typeface="+mn-cs"/>
                <a:sym typeface="Helvetica Neue"/>
              </a:defRPr>
            </a:pPr>
            <a:endParaRPr dirty="0"/>
          </a:p>
        </p:txBody>
      </p:sp>
      <p:graphicFrame>
        <p:nvGraphicFramePr>
          <p:cNvPr id="30" name="Table"/>
          <p:cNvGraphicFramePr/>
          <p:nvPr>
            <p:extLst>
              <p:ext uri="{D42A27DB-BD31-4B8C-83A1-F6EECF244321}">
                <p14:modId xmlns:p14="http://schemas.microsoft.com/office/powerpoint/2010/main" val="2614953895"/>
              </p:ext>
            </p:extLst>
          </p:nvPr>
        </p:nvGraphicFramePr>
        <p:xfrm>
          <a:off x="2249158" y="2131042"/>
          <a:ext cx="9271592" cy="3497013"/>
        </p:xfrm>
        <a:graphic>
          <a:graphicData uri="http://schemas.openxmlformats.org/drawingml/2006/table">
            <a:tbl>
              <a:tblPr>
                <a:tableStyleId>{8F44A2F1-9E1F-4B54-A3A2-5F16C0AD49E2}</a:tableStyleId>
              </a:tblPr>
              <a:tblGrid>
                <a:gridCol w="2317898">
                  <a:extLst>
                    <a:ext uri="{9D8B030D-6E8A-4147-A177-3AD203B41FA5}">
                      <a16:colId xmlns:a16="http://schemas.microsoft.com/office/drawing/2014/main" val="20000"/>
                    </a:ext>
                  </a:extLst>
                </a:gridCol>
                <a:gridCol w="2317898">
                  <a:extLst>
                    <a:ext uri="{9D8B030D-6E8A-4147-A177-3AD203B41FA5}">
                      <a16:colId xmlns:a16="http://schemas.microsoft.com/office/drawing/2014/main" val="20001"/>
                    </a:ext>
                  </a:extLst>
                </a:gridCol>
                <a:gridCol w="2317898">
                  <a:extLst>
                    <a:ext uri="{9D8B030D-6E8A-4147-A177-3AD203B41FA5}">
                      <a16:colId xmlns:a16="http://schemas.microsoft.com/office/drawing/2014/main" val="20003"/>
                    </a:ext>
                  </a:extLst>
                </a:gridCol>
                <a:gridCol w="2317898">
                  <a:extLst>
                    <a:ext uri="{9D8B030D-6E8A-4147-A177-3AD203B41FA5}">
                      <a16:colId xmlns:a16="http://schemas.microsoft.com/office/drawing/2014/main" val="20002"/>
                    </a:ext>
                  </a:extLst>
                </a:gridCol>
              </a:tblGrid>
              <a:tr h="1806086">
                <a:tc>
                  <a:txBody>
                    <a:bodyPr/>
                    <a:lstStyle/>
                    <a:p>
                      <a:pPr defTabSz="825500">
                        <a:lnSpc>
                          <a:spcPct val="90000"/>
                        </a:lnSpc>
                        <a:defRPr sz="1800">
                          <a:effectLst/>
                        </a:defRPr>
                      </a:pPr>
                      <a:r>
                        <a:rPr sz="2400" b="1" cap="small" dirty="0">
                          <a:solidFill>
                            <a:srgbClr val="FFFFFF"/>
                          </a:solidFill>
                          <a:effectLst>
                            <a:outerShdw blurRad="38100" dist="38100" dir="2700000" algn="tl">
                              <a:srgbClr val="000000">
                                <a:alpha val="43137"/>
                              </a:srgbClr>
                            </a:outerShdw>
                          </a:effectLst>
                        </a:rPr>
                        <a:t>YEAR</a:t>
                      </a:r>
                    </a:p>
                  </a:txBody>
                  <a:tcPr marL="9840" marR="9840" marT="9840" marB="984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defTabSz="825500">
                        <a:lnSpc>
                          <a:spcPct val="90000"/>
                        </a:lnSpc>
                        <a:defRPr sz="1800">
                          <a:effectLst/>
                        </a:defRPr>
                      </a:pPr>
                      <a:r>
                        <a:rPr lang="en-GB" sz="2400" b="1" cap="small" dirty="0">
                          <a:solidFill>
                            <a:srgbClr val="FFFFFF"/>
                          </a:solidFill>
                          <a:effectLst>
                            <a:outerShdw blurRad="38100" dist="38100" dir="2700000" algn="tl">
                              <a:srgbClr val="000000">
                                <a:alpha val="43137"/>
                              </a:srgbClr>
                            </a:outerShdw>
                          </a:effectLst>
                        </a:rPr>
                        <a:t>Budget</a:t>
                      </a:r>
                      <a:r>
                        <a:rPr sz="2400" b="1" cap="small" dirty="0">
                          <a:solidFill>
                            <a:srgbClr val="FFFFFF"/>
                          </a:solidFill>
                          <a:effectLst>
                            <a:outerShdw blurRad="38100" dist="38100" dir="2700000" algn="tl">
                              <a:srgbClr val="000000">
                                <a:alpha val="43137"/>
                              </a:srgbClr>
                            </a:outerShdw>
                          </a:effectLst>
                        </a:rPr>
                        <a:t>
(₦’</a:t>
                      </a:r>
                      <a:r>
                        <a:rPr sz="2400" b="1" cap="small" dirty="0" err="1">
                          <a:solidFill>
                            <a:srgbClr val="FFFFFF"/>
                          </a:solidFill>
                          <a:effectLst>
                            <a:outerShdw blurRad="38100" dist="38100" dir="2700000" algn="tl">
                              <a:srgbClr val="000000">
                                <a:alpha val="43137"/>
                              </a:srgbClr>
                            </a:outerShdw>
                          </a:effectLst>
                        </a:rPr>
                        <a:t>bn</a:t>
                      </a:r>
                      <a:r>
                        <a:rPr sz="2400" b="1" cap="small" dirty="0">
                          <a:solidFill>
                            <a:srgbClr val="FFFFFF"/>
                          </a:solidFill>
                          <a:effectLst>
                            <a:outerShdw blurRad="38100" dist="38100" dir="2700000" algn="tl">
                              <a:srgbClr val="000000">
                                <a:alpha val="43137"/>
                              </a:srgbClr>
                            </a:outerShdw>
                          </a:effectLst>
                        </a:rPr>
                        <a:t>)</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defTabSz="825500">
                        <a:lnSpc>
                          <a:spcPct val="90000"/>
                        </a:lnSpc>
                        <a:defRPr sz="1800">
                          <a:effectLst/>
                        </a:defRPr>
                      </a:pPr>
                      <a:r>
                        <a:rPr lang="en-US" sz="2400" b="1" cap="small" dirty="0">
                          <a:solidFill>
                            <a:srgbClr val="FFFFFF"/>
                          </a:solidFill>
                          <a:effectLst>
                            <a:outerShdw blurRad="38100" dist="38100" dir="2700000" algn="tl">
                              <a:srgbClr val="000000">
                                <a:alpha val="43137"/>
                              </a:srgbClr>
                            </a:outerShdw>
                          </a:effectLst>
                        </a:rPr>
                        <a:t>CUM</a:t>
                      </a:r>
                      <a:r>
                        <a:rPr lang="en-US" sz="2400" b="1" cap="small" baseline="0" dirty="0">
                          <a:solidFill>
                            <a:srgbClr val="FFFFFF"/>
                          </a:solidFill>
                          <a:effectLst>
                            <a:outerShdw blurRad="38100" dist="38100" dir="2700000" algn="tl">
                              <a:srgbClr val="000000">
                                <a:alpha val="43137"/>
                              </a:srgbClr>
                            </a:outerShdw>
                          </a:effectLst>
                        </a:rPr>
                        <a:t> EST </a:t>
                      </a:r>
                    </a:p>
                    <a:p>
                      <a:pPr defTabSz="825500">
                        <a:lnSpc>
                          <a:spcPct val="90000"/>
                        </a:lnSpc>
                        <a:defRPr sz="1800">
                          <a:effectLst/>
                        </a:defRPr>
                      </a:pPr>
                      <a:r>
                        <a:rPr lang="en-US" sz="2400" b="1" cap="small" baseline="0" dirty="0">
                          <a:solidFill>
                            <a:srgbClr val="FFFFFF"/>
                          </a:solidFill>
                          <a:effectLst>
                            <a:outerShdw blurRad="38100" dist="38100" dir="2700000" algn="tl">
                              <a:srgbClr val="000000">
                                <a:alpha val="43137"/>
                              </a:srgbClr>
                            </a:outerShdw>
                          </a:effectLst>
                        </a:rPr>
                        <a:t>(JAN-MAR)</a:t>
                      </a:r>
                    </a:p>
                    <a:p>
                      <a:pPr defTabSz="825500">
                        <a:lnSpc>
                          <a:spcPct val="90000"/>
                        </a:lnSpc>
                        <a:defRPr sz="1800">
                          <a:effectLst/>
                        </a:defRPr>
                      </a:pPr>
                      <a:r>
                        <a:rPr lang="en-US" sz="2400" b="1" cap="small" dirty="0">
                          <a:solidFill>
                            <a:srgbClr val="FFFFFF"/>
                          </a:solidFill>
                          <a:effectLst>
                            <a:outerShdw blurRad="38100" dist="38100" dir="2700000" algn="tl">
                              <a:srgbClr val="000000">
                                <a:alpha val="43137"/>
                              </a:srgbClr>
                            </a:outerShdw>
                          </a:effectLst>
                        </a:rPr>
                        <a:t>(₦’</a:t>
                      </a:r>
                      <a:r>
                        <a:rPr lang="en-US" sz="2400" b="1" cap="small" dirty="0" err="1">
                          <a:solidFill>
                            <a:srgbClr val="FFFFFF"/>
                          </a:solidFill>
                          <a:effectLst>
                            <a:outerShdw blurRad="38100" dist="38100" dir="2700000" algn="tl">
                              <a:srgbClr val="000000">
                                <a:alpha val="43137"/>
                              </a:srgbClr>
                            </a:outerShdw>
                          </a:effectLst>
                        </a:rPr>
                        <a:t>bn</a:t>
                      </a:r>
                      <a:r>
                        <a:rPr lang="en-US" sz="2400" b="1" cap="small" dirty="0">
                          <a:solidFill>
                            <a:srgbClr val="FFFFFF"/>
                          </a:solidFill>
                          <a:effectLst>
                            <a:outerShdw blurRad="38100" dist="38100" dir="2700000" algn="tl">
                              <a:srgbClr val="000000">
                                <a:alpha val="43137"/>
                              </a:srgbClr>
                            </a:outerShdw>
                          </a:effectLst>
                        </a:rPr>
                        <a:t>)</a:t>
                      </a:r>
                      <a:endParaRPr sz="2400" b="1" cap="small" dirty="0">
                        <a:solidFill>
                          <a:srgbClr val="FFFFFF"/>
                        </a:solidFill>
                        <a:effectLst>
                          <a:outerShdw blurRad="38100" dist="38100" dir="2700000" algn="tl">
                            <a:srgbClr val="000000">
                              <a:alpha val="43137"/>
                            </a:srgbClr>
                          </a:outerShdw>
                        </a:effectLst>
                      </a:endParaRP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defTabSz="825500">
                        <a:lnSpc>
                          <a:spcPct val="90000"/>
                        </a:lnSpc>
                        <a:defRPr sz="1800">
                          <a:effectLst/>
                        </a:defRPr>
                      </a:pPr>
                      <a:r>
                        <a:rPr lang="en-US" sz="2400" b="1" cap="small" dirty="0">
                          <a:solidFill>
                            <a:srgbClr val="FFFFFF"/>
                          </a:solidFill>
                          <a:effectLst>
                            <a:outerShdw blurRad="38100" dist="38100" dir="2700000" algn="tl">
                              <a:srgbClr val="000000">
                                <a:alpha val="43137"/>
                              </a:srgbClr>
                            </a:outerShdw>
                          </a:effectLst>
                        </a:rPr>
                        <a:t>CUM </a:t>
                      </a:r>
                      <a:r>
                        <a:rPr sz="2400" b="1" cap="small" dirty="0">
                          <a:solidFill>
                            <a:srgbClr val="FFFFFF"/>
                          </a:solidFill>
                          <a:effectLst>
                            <a:outerShdw blurRad="38100" dist="38100" dir="2700000" algn="tl">
                              <a:srgbClr val="000000">
                                <a:alpha val="43137"/>
                              </a:srgbClr>
                            </a:outerShdw>
                          </a:effectLst>
                        </a:rPr>
                        <a:t>A</a:t>
                      </a:r>
                      <a:r>
                        <a:rPr lang="en-GB" sz="2400" b="1" cap="small" dirty="0">
                          <a:solidFill>
                            <a:srgbClr val="FFFFFF"/>
                          </a:solidFill>
                          <a:effectLst>
                            <a:outerShdw blurRad="38100" dist="38100" dir="2700000" algn="tl">
                              <a:srgbClr val="000000">
                                <a:alpha val="43137"/>
                              </a:srgbClr>
                            </a:outerShdw>
                          </a:effectLst>
                        </a:rPr>
                        <a:t>ctual (JAN–MAR)</a:t>
                      </a:r>
                      <a:r>
                        <a:rPr sz="2400" b="1" cap="small" dirty="0">
                          <a:solidFill>
                            <a:srgbClr val="FFFFFF"/>
                          </a:solidFill>
                          <a:effectLst>
                            <a:outerShdw blurRad="38100" dist="38100" dir="2700000" algn="tl">
                              <a:srgbClr val="000000">
                                <a:alpha val="43137"/>
                              </a:srgbClr>
                            </a:outerShdw>
                          </a:effectLst>
                        </a:rPr>
                        <a:t>
(₦’</a:t>
                      </a:r>
                      <a:r>
                        <a:rPr sz="2400" b="1" cap="small" dirty="0" err="1">
                          <a:solidFill>
                            <a:srgbClr val="FFFFFF"/>
                          </a:solidFill>
                          <a:effectLst>
                            <a:outerShdw blurRad="38100" dist="38100" dir="2700000" algn="tl">
                              <a:srgbClr val="000000">
                                <a:alpha val="43137"/>
                              </a:srgbClr>
                            </a:outerShdw>
                          </a:effectLst>
                        </a:rPr>
                        <a:t>bn</a:t>
                      </a:r>
                      <a:r>
                        <a:rPr sz="2400" b="1" cap="small" dirty="0">
                          <a:solidFill>
                            <a:srgbClr val="FFFFFF"/>
                          </a:solidFill>
                          <a:effectLst>
                            <a:outerShdw blurRad="38100" dist="38100" dir="2700000" algn="tl">
                              <a:srgbClr val="000000">
                                <a:alpha val="43137"/>
                              </a:srgbClr>
                            </a:outerShdw>
                          </a:effectLst>
                        </a:rPr>
                        <a:t>)</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10000"/>
                  </a:ext>
                </a:extLst>
              </a:tr>
              <a:tr h="1690927">
                <a:tc>
                  <a:txBody>
                    <a:bodyPr/>
                    <a:lstStyle/>
                    <a:p>
                      <a:pPr defTabSz="825500">
                        <a:lnSpc>
                          <a:spcPct val="10000"/>
                        </a:lnSpc>
                        <a:defRPr sz="1800">
                          <a:effectLst/>
                        </a:defRPr>
                      </a:pPr>
                      <a:r>
                        <a:rPr lang="en-US" sz="2400" b="1" dirty="0"/>
                        <a:t>2021</a:t>
                      </a:r>
                      <a:endParaRPr sz="2400" b="1" dirty="0"/>
                    </a:p>
                  </a:txBody>
                  <a:tcPr marL="9840" marR="9840" marT="274320" marB="984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defTabSz="825500">
                        <a:lnSpc>
                          <a:spcPct val="10000"/>
                        </a:lnSpc>
                        <a:defRPr sz="1800">
                          <a:effectLst/>
                        </a:defRPr>
                      </a:pPr>
                      <a:r>
                        <a:rPr lang="en-US" sz="2400" b="1" dirty="0"/>
                        <a:t>971.028</a:t>
                      </a:r>
                      <a:endParaRPr sz="2400" b="1" dirty="0"/>
                    </a:p>
                  </a:txBody>
                  <a:tcPr marL="9840" marR="9840" marT="274320" marB="984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defTabSz="825500">
                        <a:lnSpc>
                          <a:spcPct val="10000"/>
                        </a:lnSpc>
                        <a:defRPr sz="1800">
                          <a:effectLst/>
                        </a:defRPr>
                      </a:pPr>
                      <a:r>
                        <a:rPr lang="en-US" sz="2400" b="1" dirty="0"/>
                        <a:t>242.757</a:t>
                      </a:r>
                      <a:endParaRPr sz="2400" b="1" dirty="0"/>
                    </a:p>
                  </a:txBody>
                  <a:tcPr marL="9840" marR="9840" marT="274320" marB="984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defTabSz="825500">
                        <a:lnSpc>
                          <a:spcPct val="10000"/>
                        </a:lnSpc>
                        <a:defRPr sz="1800">
                          <a:effectLst/>
                        </a:defRPr>
                      </a:pPr>
                      <a:r>
                        <a:rPr lang="en-US" sz="2400" b="1" dirty="0"/>
                        <a:t>184.295</a:t>
                      </a:r>
                      <a:endParaRPr sz="2400" b="1" dirty="0"/>
                    </a:p>
                  </a:txBody>
                  <a:tcPr marL="9840" marR="9840" marT="274320" marB="984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pSp>
        <p:nvGrpSpPr>
          <p:cNvPr id="56" name="Group 55"/>
          <p:cNvGrpSpPr/>
          <p:nvPr/>
        </p:nvGrpSpPr>
        <p:grpSpPr>
          <a:xfrm>
            <a:off x="1589512" y="5742831"/>
            <a:ext cx="10465613" cy="1406753"/>
            <a:chOff x="1589512" y="5742831"/>
            <a:chExt cx="10465613" cy="1406753"/>
          </a:xfrm>
        </p:grpSpPr>
        <p:grpSp>
          <p:nvGrpSpPr>
            <p:cNvPr id="57" name="Group"/>
            <p:cNvGrpSpPr/>
            <p:nvPr/>
          </p:nvGrpSpPr>
          <p:grpSpPr>
            <a:xfrm>
              <a:off x="5386674" y="5742831"/>
              <a:ext cx="6668451" cy="1406753"/>
              <a:chOff x="-1" y="0"/>
              <a:chExt cx="6001041" cy="2259283"/>
            </a:xfrm>
          </p:grpSpPr>
          <p:grpSp>
            <p:nvGrpSpPr>
              <p:cNvPr id="59" name="Group"/>
              <p:cNvGrpSpPr/>
              <p:nvPr/>
            </p:nvGrpSpPr>
            <p:grpSpPr>
              <a:xfrm>
                <a:off x="2088173" y="0"/>
                <a:ext cx="3912867" cy="1030435"/>
                <a:chOff x="-1" y="0"/>
                <a:chExt cx="3912866" cy="1030434"/>
              </a:xfrm>
            </p:grpSpPr>
            <p:grpSp>
              <p:nvGrpSpPr>
                <p:cNvPr id="80" name="Rectangle: Rounded Corners 29"/>
                <p:cNvGrpSpPr/>
                <p:nvPr/>
              </p:nvGrpSpPr>
              <p:grpSpPr>
                <a:xfrm>
                  <a:off x="1108845" y="0"/>
                  <a:ext cx="2804020" cy="1030434"/>
                  <a:chOff x="0" y="0"/>
                  <a:chExt cx="2804019" cy="1030433"/>
                </a:xfrm>
              </p:grpSpPr>
              <p:sp>
                <p:nvSpPr>
                  <p:cNvPr id="95" name="Rounded Rectangle"/>
                  <p:cNvSpPr/>
                  <p:nvPr/>
                </p:nvSpPr>
                <p:spPr>
                  <a:xfrm>
                    <a:off x="0" y="0"/>
                    <a:ext cx="1543731" cy="1030433"/>
                  </a:xfrm>
                  <a:prstGeom prst="roundRect">
                    <a:avLst>
                      <a:gd name="adj" fmla="val 17206"/>
                    </a:avLst>
                  </a:prstGeom>
                  <a:ln/>
                </p:spPr>
                <p:style>
                  <a:lnRef idx="2">
                    <a:schemeClr val="dk1">
                      <a:shade val="50000"/>
                    </a:schemeClr>
                  </a:lnRef>
                  <a:fillRef idx="1">
                    <a:schemeClr val="dk1"/>
                  </a:fillRef>
                  <a:effectRef idx="0">
                    <a:schemeClr val="dk1"/>
                  </a:effectRef>
                  <a:fontRef idx="minor">
                    <a:schemeClr val="lt1"/>
                  </a:fontRef>
                </p:style>
                <p:txBody>
                  <a:bodyPr wrap="square" lIns="38100" tIns="38100" rIns="38100" bIns="38100" numCol="1" anchor="ctr">
                    <a:noAutofit/>
                  </a:bodyPr>
                  <a:lstStyle/>
                  <a:p>
                    <a:pPr algn="l">
                      <a:spcBef>
                        <a:spcPts val="1000"/>
                      </a:spcBef>
                      <a:defRPr sz="2700">
                        <a:solidFill>
                          <a:srgbClr val="000000"/>
                        </a:solidFill>
                        <a:effectLst/>
                      </a:defRPr>
                    </a:pPr>
                    <a:endParaRPr dirty="0"/>
                  </a:p>
                </p:txBody>
              </p:sp>
              <p:sp>
                <p:nvSpPr>
                  <p:cNvPr id="96" name="310,055 (₦’bn)"/>
                  <p:cNvSpPr/>
                  <p:nvPr/>
                </p:nvSpPr>
                <p:spPr>
                  <a:xfrm>
                    <a:off x="51926" y="193916"/>
                    <a:ext cx="2752093" cy="642578"/>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8" tIns="45718" rIns="45718" bIns="45718" numCol="1" anchor="ctr">
                    <a:spAutoFit/>
                  </a:bodyPr>
                  <a:lstStyle>
                    <a:lvl1pPr algn="l">
                      <a:spcBef>
                        <a:spcPts val="1000"/>
                      </a:spcBef>
                      <a:defRPr sz="2700">
                        <a:solidFill>
                          <a:srgbClr val="000000"/>
                        </a:solidFill>
                      </a:defRPr>
                    </a:lvl1pPr>
                  </a:lstStyle>
                  <a:p>
                    <a:pPr>
                      <a:defRPr>
                        <a:effectLst/>
                      </a:defRPr>
                    </a:pPr>
                    <a:r>
                      <a:rPr lang="en-US" sz="2000" dirty="0"/>
                      <a:t>2.125 </a:t>
                    </a:r>
                    <a:r>
                      <a:rPr sz="2000" dirty="0"/>
                      <a:t>(</a:t>
                    </a:r>
                    <a:r>
                      <a:rPr lang="en-GB" sz="2000" dirty="0"/>
                      <a:t>₦</a:t>
                    </a:r>
                    <a:r>
                      <a:rPr sz="2000" dirty="0"/>
                      <a:t>’</a:t>
                    </a:r>
                    <a:r>
                      <a:rPr lang="en-GB" sz="2000" dirty="0"/>
                      <a:t>BN</a:t>
                    </a:r>
                    <a:r>
                      <a:rPr sz="2000" dirty="0"/>
                      <a:t>)</a:t>
                    </a:r>
                  </a:p>
                </p:txBody>
              </p:sp>
            </p:grpSp>
            <p:grpSp>
              <p:nvGrpSpPr>
                <p:cNvPr id="81" name="Group"/>
                <p:cNvGrpSpPr/>
                <p:nvPr/>
              </p:nvGrpSpPr>
              <p:grpSpPr>
                <a:xfrm>
                  <a:off x="-1" y="10254"/>
                  <a:ext cx="1004617" cy="1009925"/>
                  <a:chOff x="0" y="0"/>
                  <a:chExt cx="1004615" cy="1009924"/>
                </a:xfrm>
              </p:grpSpPr>
              <p:sp>
                <p:nvSpPr>
                  <p:cNvPr id="82" name="Rectangle: Rounded Corners 28"/>
                  <p:cNvSpPr/>
                  <p:nvPr/>
                </p:nvSpPr>
                <p:spPr>
                  <a:xfrm>
                    <a:off x="0" y="0"/>
                    <a:ext cx="1004615" cy="1009924"/>
                  </a:xfrm>
                  <a:prstGeom prst="roundRect">
                    <a:avLst>
                      <a:gd name="adj" fmla="val 6667"/>
                    </a:avLst>
                  </a:prstGeom>
                  <a:solidFill>
                    <a:srgbClr val="008A3E"/>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defTabSz="914400">
                      <a:defRPr sz="1800" b="0" cap="none">
                        <a:solidFill>
                          <a:srgbClr val="FFFFFF"/>
                        </a:solidFill>
                        <a:effectLst/>
                        <a:latin typeface="Calibri"/>
                        <a:ea typeface="Calibri"/>
                        <a:cs typeface="Calibri"/>
                        <a:sym typeface="Calibri"/>
                      </a:defRPr>
                    </a:pPr>
                    <a:endParaRPr dirty="0"/>
                  </a:p>
                </p:txBody>
              </p:sp>
              <p:sp>
                <p:nvSpPr>
                  <p:cNvPr id="83" name="Freeform: Shape 78"/>
                  <p:cNvSpPr/>
                  <p:nvPr/>
                </p:nvSpPr>
                <p:spPr>
                  <a:xfrm>
                    <a:off x="166672" y="544685"/>
                    <a:ext cx="178122" cy="156842"/>
                  </a:xfrm>
                  <a:custGeom>
                    <a:avLst/>
                    <a:gdLst/>
                    <a:ahLst/>
                    <a:cxnLst>
                      <a:cxn ang="0">
                        <a:pos x="wd2" y="hd2"/>
                      </a:cxn>
                      <a:cxn ang="5400000">
                        <a:pos x="wd2" y="hd2"/>
                      </a:cxn>
                      <a:cxn ang="10800000">
                        <a:pos x="wd2" y="hd2"/>
                      </a:cxn>
                      <a:cxn ang="16200000">
                        <a:pos x="wd2" y="hd2"/>
                      </a:cxn>
                    </a:cxnLst>
                    <a:rect l="0" t="0" r="r" b="b"/>
                    <a:pathLst>
                      <a:path w="21600" h="21600" extrusionOk="0">
                        <a:moveTo>
                          <a:pt x="19421" y="0"/>
                        </a:moveTo>
                        <a:lnTo>
                          <a:pt x="0" y="0"/>
                        </a:lnTo>
                        <a:cubicBezTo>
                          <a:pt x="956" y="7858"/>
                          <a:pt x="3651" y="15283"/>
                          <a:pt x="7856" y="21600"/>
                        </a:cubicBezTo>
                        <a:lnTo>
                          <a:pt x="21600" y="5992"/>
                        </a:lnTo>
                        <a:cubicBezTo>
                          <a:pt x="20644" y="4125"/>
                          <a:pt x="19899" y="2106"/>
                          <a:pt x="19421"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84" name="Freeform: Shape 79"/>
                  <p:cNvSpPr/>
                  <p:nvPr/>
                </p:nvSpPr>
                <p:spPr>
                  <a:xfrm>
                    <a:off x="297661" y="654393"/>
                    <a:ext cx="157631" cy="178281"/>
                  </a:xfrm>
                  <a:custGeom>
                    <a:avLst/>
                    <a:gdLst/>
                    <a:ahLst/>
                    <a:cxnLst>
                      <a:cxn ang="0">
                        <a:pos x="wd2" y="hd2"/>
                      </a:cxn>
                      <a:cxn ang="5400000">
                        <a:pos x="wd2" y="hd2"/>
                      </a:cxn>
                      <a:cxn ang="10800000">
                        <a:pos x="wd2" y="hd2"/>
                      </a:cxn>
                      <a:cxn ang="16200000">
                        <a:pos x="wd2" y="hd2"/>
                      </a:cxn>
                    </a:cxnLst>
                    <a:rect l="0" t="0" r="r" b="b"/>
                    <a:pathLst>
                      <a:path w="21600" h="21600" extrusionOk="0">
                        <a:moveTo>
                          <a:pt x="15509" y="0"/>
                        </a:moveTo>
                        <a:lnTo>
                          <a:pt x="0" y="13732"/>
                        </a:lnTo>
                        <a:cubicBezTo>
                          <a:pt x="6307" y="17952"/>
                          <a:pt x="13738" y="20664"/>
                          <a:pt x="21600" y="21600"/>
                        </a:cubicBezTo>
                        <a:lnTo>
                          <a:pt x="21600" y="2196"/>
                        </a:lnTo>
                        <a:cubicBezTo>
                          <a:pt x="19462" y="1700"/>
                          <a:pt x="17431" y="974"/>
                          <a:pt x="15509"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85" name="Freeform: Shape 80"/>
                  <p:cNvSpPr/>
                  <p:nvPr/>
                </p:nvSpPr>
                <p:spPr>
                  <a:xfrm>
                    <a:off x="548133" y="164956"/>
                    <a:ext cx="286887" cy="287044"/>
                  </a:xfrm>
                  <a:custGeom>
                    <a:avLst/>
                    <a:gdLst/>
                    <a:ahLst/>
                    <a:cxnLst>
                      <a:cxn ang="0">
                        <a:pos x="wd2" y="hd2"/>
                      </a:cxn>
                      <a:cxn ang="5400000">
                        <a:pos x="wd2" y="hd2"/>
                      </a:cxn>
                      <a:cxn ang="10800000">
                        <a:pos x="wd2" y="hd2"/>
                      </a:cxn>
                      <a:cxn ang="16200000">
                        <a:pos x="wd2" y="hd2"/>
                      </a:cxn>
                    </a:cxnLst>
                    <a:rect l="0" t="0" r="r" b="b"/>
                    <a:pathLst>
                      <a:path w="21600" h="21600" extrusionOk="0">
                        <a:moveTo>
                          <a:pt x="83" y="0"/>
                        </a:moveTo>
                        <a:cubicBezTo>
                          <a:pt x="47" y="4413"/>
                          <a:pt x="12" y="10094"/>
                          <a:pt x="0" y="12075"/>
                        </a:cubicBezTo>
                        <a:cubicBezTo>
                          <a:pt x="4640" y="13332"/>
                          <a:pt x="8260" y="16962"/>
                          <a:pt x="9506" y="21600"/>
                        </a:cubicBezTo>
                        <a:lnTo>
                          <a:pt x="21600" y="21576"/>
                        </a:lnTo>
                        <a:cubicBezTo>
                          <a:pt x="20010" y="10415"/>
                          <a:pt x="11251" y="1625"/>
                          <a:pt x="83"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86" name="Freeform: Shape 81"/>
                  <p:cNvSpPr/>
                  <p:nvPr/>
                </p:nvSpPr>
                <p:spPr>
                  <a:xfrm>
                    <a:off x="350152" y="180718"/>
                    <a:ext cx="104036" cy="119800"/>
                  </a:xfrm>
                  <a:custGeom>
                    <a:avLst/>
                    <a:gdLst/>
                    <a:ahLst/>
                    <a:cxnLst>
                      <a:cxn ang="0">
                        <a:pos x="wd2" y="hd2"/>
                      </a:cxn>
                      <a:cxn ang="5400000">
                        <a:pos x="wd2" y="hd2"/>
                      </a:cxn>
                      <a:cxn ang="10800000">
                        <a:pos x="wd2" y="hd2"/>
                      </a:cxn>
                      <a:cxn ang="16200000">
                        <a:pos x="wd2" y="hd2"/>
                      </a:cxn>
                    </a:cxnLst>
                    <a:rect l="0" t="0" r="r" b="b"/>
                    <a:pathLst>
                      <a:path w="21600" h="21600" extrusionOk="0">
                        <a:moveTo>
                          <a:pt x="7789" y="0"/>
                        </a:moveTo>
                        <a:cubicBezTo>
                          <a:pt x="5138" y="824"/>
                          <a:pt x="2520" y="1791"/>
                          <a:pt x="0" y="2899"/>
                        </a:cubicBezTo>
                        <a:lnTo>
                          <a:pt x="21535" y="21600"/>
                        </a:lnTo>
                        <a:lnTo>
                          <a:pt x="21600" y="11994"/>
                        </a:lnTo>
                        <a:lnTo>
                          <a:pt x="7789"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87" name="Freeform: Shape 82"/>
                  <p:cNvSpPr/>
                  <p:nvPr/>
                </p:nvSpPr>
                <p:spPr>
                  <a:xfrm>
                    <a:off x="295297" y="209408"/>
                    <a:ext cx="149749" cy="134774"/>
                  </a:xfrm>
                  <a:custGeom>
                    <a:avLst/>
                    <a:gdLst/>
                    <a:ahLst/>
                    <a:cxnLst>
                      <a:cxn ang="0">
                        <a:pos x="wd2" y="hd2"/>
                      </a:cxn>
                      <a:cxn ang="5400000">
                        <a:pos x="wd2" y="hd2"/>
                      </a:cxn>
                      <a:cxn ang="10800000">
                        <a:pos x="wd2" y="hd2"/>
                      </a:cxn>
                      <a:cxn ang="16200000">
                        <a:pos x="wd2" y="hd2"/>
                      </a:cxn>
                    </a:cxnLst>
                    <a:rect l="0" t="0" r="r" b="b"/>
                    <a:pathLst>
                      <a:path w="21600" h="21600" extrusionOk="0">
                        <a:moveTo>
                          <a:pt x="4593" y="0"/>
                        </a:moveTo>
                        <a:cubicBezTo>
                          <a:pt x="3001" y="1061"/>
                          <a:pt x="1478" y="2223"/>
                          <a:pt x="0" y="3486"/>
                        </a:cubicBezTo>
                        <a:lnTo>
                          <a:pt x="16302" y="21600"/>
                        </a:lnTo>
                        <a:cubicBezTo>
                          <a:pt x="17985" y="20488"/>
                          <a:pt x="19758" y="19579"/>
                          <a:pt x="21600" y="18897"/>
                        </a:cubicBezTo>
                        <a:lnTo>
                          <a:pt x="4593"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88" name="Freeform: Shape 83"/>
                  <p:cNvSpPr/>
                  <p:nvPr/>
                </p:nvSpPr>
                <p:spPr>
                  <a:xfrm>
                    <a:off x="414937" y="164482"/>
                    <a:ext cx="39567" cy="47291"/>
                  </a:xfrm>
                  <a:custGeom>
                    <a:avLst/>
                    <a:gdLst/>
                    <a:ahLst/>
                    <a:cxnLst>
                      <a:cxn ang="0">
                        <a:pos x="wd2" y="hd2"/>
                      </a:cxn>
                      <a:cxn ang="5400000">
                        <a:pos x="wd2" y="hd2"/>
                      </a:cxn>
                      <a:cxn ang="10800000">
                        <a:pos x="wd2" y="hd2"/>
                      </a:cxn>
                      <a:cxn ang="16200000">
                        <a:pos x="wd2" y="hd2"/>
                      </a:cxn>
                    </a:cxnLst>
                    <a:rect l="0" t="0" r="r" b="b"/>
                    <a:pathLst>
                      <a:path w="21600" h="21600" extrusionOk="0">
                        <a:moveTo>
                          <a:pt x="0" y="3600"/>
                        </a:moveTo>
                        <a:lnTo>
                          <a:pt x="21514" y="21600"/>
                        </a:lnTo>
                        <a:lnTo>
                          <a:pt x="21600" y="0"/>
                        </a:lnTo>
                        <a:cubicBezTo>
                          <a:pt x="14285" y="864"/>
                          <a:pt x="7143" y="2016"/>
                          <a:pt x="0" y="360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89" name="Freeform: Shape 84"/>
                  <p:cNvSpPr/>
                  <p:nvPr/>
                </p:nvSpPr>
                <p:spPr>
                  <a:xfrm>
                    <a:off x="249270" y="247396"/>
                    <a:ext cx="138400" cy="138401"/>
                  </a:xfrm>
                  <a:custGeom>
                    <a:avLst/>
                    <a:gdLst/>
                    <a:ahLst/>
                    <a:cxnLst>
                      <a:cxn ang="0">
                        <a:pos x="wd2" y="hd2"/>
                      </a:cxn>
                      <a:cxn ang="5400000">
                        <a:pos x="wd2" y="hd2"/>
                      </a:cxn>
                      <a:cxn ang="10800000">
                        <a:pos x="wd2" y="hd2"/>
                      </a:cxn>
                      <a:cxn ang="16200000">
                        <a:pos x="wd2" y="hd2"/>
                      </a:cxn>
                    </a:cxnLst>
                    <a:rect l="0" t="0" r="r" b="b"/>
                    <a:pathLst>
                      <a:path w="21600" h="21600" extrusionOk="0">
                        <a:moveTo>
                          <a:pt x="4182" y="0"/>
                        </a:moveTo>
                        <a:cubicBezTo>
                          <a:pt x="3469" y="640"/>
                          <a:pt x="2755" y="1304"/>
                          <a:pt x="2067" y="1993"/>
                        </a:cubicBezTo>
                        <a:cubicBezTo>
                          <a:pt x="1353" y="2706"/>
                          <a:pt x="664" y="3444"/>
                          <a:pt x="0" y="4182"/>
                        </a:cubicBezTo>
                        <a:lnTo>
                          <a:pt x="17418" y="21600"/>
                        </a:lnTo>
                        <a:cubicBezTo>
                          <a:pt x="18672" y="20075"/>
                          <a:pt x="20050" y="18672"/>
                          <a:pt x="21600" y="17418"/>
                        </a:cubicBezTo>
                        <a:lnTo>
                          <a:pt x="4182"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90" name="Freeform: Shape 85"/>
                  <p:cNvSpPr/>
                  <p:nvPr/>
                </p:nvSpPr>
                <p:spPr>
                  <a:xfrm>
                    <a:off x="166830" y="413063"/>
                    <a:ext cx="44611" cy="37045"/>
                  </a:xfrm>
                  <a:custGeom>
                    <a:avLst/>
                    <a:gdLst/>
                    <a:ahLst/>
                    <a:cxnLst>
                      <a:cxn ang="0">
                        <a:pos x="wd2" y="hd2"/>
                      </a:cxn>
                      <a:cxn ang="5400000">
                        <a:pos x="wd2" y="hd2"/>
                      </a:cxn>
                      <a:cxn ang="10800000">
                        <a:pos x="wd2" y="hd2"/>
                      </a:cxn>
                      <a:cxn ang="16200000">
                        <a:pos x="wd2" y="hd2"/>
                      </a:cxn>
                    </a:cxnLst>
                    <a:rect l="0" t="0" r="r" b="b"/>
                    <a:pathLst>
                      <a:path w="21600" h="21600" extrusionOk="0">
                        <a:moveTo>
                          <a:pt x="3664" y="0"/>
                        </a:moveTo>
                        <a:cubicBezTo>
                          <a:pt x="2137" y="7077"/>
                          <a:pt x="916" y="14339"/>
                          <a:pt x="0" y="21600"/>
                        </a:cubicBezTo>
                        <a:lnTo>
                          <a:pt x="21600" y="21600"/>
                        </a:lnTo>
                        <a:lnTo>
                          <a:pt x="3664"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91" name="Freeform: Shape 86"/>
                  <p:cNvSpPr/>
                  <p:nvPr/>
                </p:nvSpPr>
                <p:spPr>
                  <a:xfrm>
                    <a:off x="182908" y="348436"/>
                    <a:ext cx="117751" cy="101673"/>
                  </a:xfrm>
                  <a:custGeom>
                    <a:avLst/>
                    <a:gdLst/>
                    <a:ahLst/>
                    <a:cxnLst>
                      <a:cxn ang="0">
                        <a:pos x="wd2" y="hd2"/>
                      </a:cxn>
                      <a:cxn ang="5400000">
                        <a:pos x="wd2" y="hd2"/>
                      </a:cxn>
                      <a:cxn ang="10800000">
                        <a:pos x="wd2" y="hd2"/>
                      </a:cxn>
                      <a:cxn ang="16200000">
                        <a:pos x="wd2" y="hd2"/>
                      </a:cxn>
                    </a:cxnLst>
                    <a:rect l="0" t="0" r="r" b="b"/>
                    <a:pathLst>
                      <a:path w="21600" h="21600" extrusionOk="0">
                        <a:moveTo>
                          <a:pt x="2920" y="0"/>
                        </a:moveTo>
                        <a:cubicBezTo>
                          <a:pt x="1793" y="2579"/>
                          <a:pt x="839" y="5224"/>
                          <a:pt x="0" y="7937"/>
                        </a:cubicBezTo>
                        <a:lnTo>
                          <a:pt x="11798" y="21600"/>
                        </a:lnTo>
                        <a:lnTo>
                          <a:pt x="21600" y="21600"/>
                        </a:lnTo>
                        <a:lnTo>
                          <a:pt x="2920"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92" name="Freeform: Shape 87"/>
                  <p:cNvSpPr/>
                  <p:nvPr/>
                </p:nvSpPr>
                <p:spPr>
                  <a:xfrm>
                    <a:off x="211596" y="293739"/>
                    <a:ext cx="134617" cy="149750"/>
                  </a:xfrm>
                  <a:custGeom>
                    <a:avLst/>
                    <a:gdLst/>
                    <a:ahLst/>
                    <a:cxnLst>
                      <a:cxn ang="0">
                        <a:pos x="wd2" y="hd2"/>
                      </a:cxn>
                      <a:cxn ang="5400000">
                        <a:pos x="wd2" y="hd2"/>
                      </a:cxn>
                      <a:cxn ang="10800000">
                        <a:pos x="wd2" y="hd2"/>
                      </a:cxn>
                      <a:cxn ang="16200000">
                        <a:pos x="wd2" y="hd2"/>
                      </a:cxn>
                    </a:cxnLst>
                    <a:rect l="0" t="0" r="r" b="b"/>
                    <a:pathLst>
                      <a:path w="21600" h="21600" extrusionOk="0">
                        <a:moveTo>
                          <a:pt x="3465" y="0"/>
                        </a:moveTo>
                        <a:cubicBezTo>
                          <a:pt x="2200" y="1478"/>
                          <a:pt x="1062" y="3001"/>
                          <a:pt x="0" y="4593"/>
                        </a:cubicBezTo>
                        <a:lnTo>
                          <a:pt x="18919" y="21600"/>
                        </a:lnTo>
                        <a:cubicBezTo>
                          <a:pt x="19577" y="19736"/>
                          <a:pt x="20487" y="17962"/>
                          <a:pt x="21600" y="16302"/>
                        </a:cubicBezTo>
                        <a:lnTo>
                          <a:pt x="3465"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93" name="Freeform: Shape 88"/>
                  <p:cNvSpPr/>
                  <p:nvPr/>
                </p:nvSpPr>
                <p:spPr>
                  <a:xfrm>
                    <a:off x="622376" y="591869"/>
                    <a:ext cx="174969" cy="33313"/>
                  </a:xfrm>
                  <a:prstGeom prst="rect">
                    <a:avLst/>
                  </a:pr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94" name="Freeform: Shape 89"/>
                  <p:cNvSpPr/>
                  <p:nvPr/>
                </p:nvSpPr>
                <p:spPr>
                  <a:xfrm>
                    <a:off x="578240" y="554141"/>
                    <a:ext cx="261666" cy="291615"/>
                  </a:xfrm>
                  <a:custGeom>
                    <a:avLst/>
                    <a:gdLst/>
                    <a:ahLst/>
                    <a:cxnLst>
                      <a:cxn ang="0">
                        <a:pos x="wd2" y="hd2"/>
                      </a:cxn>
                      <a:cxn ang="5400000">
                        <a:pos x="wd2" y="hd2"/>
                      </a:cxn>
                      <a:cxn ang="10800000">
                        <a:pos x="wd2" y="hd2"/>
                      </a:cxn>
                      <a:cxn ang="16200000">
                        <a:pos x="wd2" y="hd2"/>
                      </a:cxn>
                    </a:cxnLst>
                    <a:rect l="0" t="0" r="r" b="b"/>
                    <a:pathLst>
                      <a:path w="21600" h="21600" extrusionOk="0">
                        <a:moveTo>
                          <a:pt x="18737" y="0"/>
                        </a:moveTo>
                        <a:lnTo>
                          <a:pt x="2863" y="0"/>
                        </a:lnTo>
                        <a:cubicBezTo>
                          <a:pt x="1275" y="0"/>
                          <a:pt x="0" y="1144"/>
                          <a:pt x="0" y="2569"/>
                        </a:cubicBezTo>
                        <a:lnTo>
                          <a:pt x="0" y="19031"/>
                        </a:lnTo>
                        <a:cubicBezTo>
                          <a:pt x="0" y="20456"/>
                          <a:pt x="1275" y="21600"/>
                          <a:pt x="2863" y="21600"/>
                        </a:cubicBezTo>
                        <a:lnTo>
                          <a:pt x="18737" y="21600"/>
                        </a:lnTo>
                        <a:cubicBezTo>
                          <a:pt x="20325" y="21600"/>
                          <a:pt x="21600" y="20456"/>
                          <a:pt x="21600" y="19031"/>
                        </a:cubicBezTo>
                        <a:lnTo>
                          <a:pt x="21600" y="2569"/>
                        </a:lnTo>
                        <a:cubicBezTo>
                          <a:pt x="21600" y="1144"/>
                          <a:pt x="20325" y="0"/>
                          <a:pt x="18737" y="0"/>
                        </a:cubicBezTo>
                        <a:close/>
                        <a:moveTo>
                          <a:pt x="5595" y="19849"/>
                        </a:moveTo>
                        <a:lnTo>
                          <a:pt x="2537" y="19849"/>
                        </a:lnTo>
                        <a:cubicBezTo>
                          <a:pt x="1965" y="19849"/>
                          <a:pt x="1496" y="19428"/>
                          <a:pt x="1496" y="18915"/>
                        </a:cubicBezTo>
                        <a:cubicBezTo>
                          <a:pt x="1496" y="18401"/>
                          <a:pt x="1965" y="17981"/>
                          <a:pt x="2537" y="17981"/>
                        </a:cubicBezTo>
                        <a:lnTo>
                          <a:pt x="5595" y="17981"/>
                        </a:lnTo>
                        <a:cubicBezTo>
                          <a:pt x="6168" y="17981"/>
                          <a:pt x="6636" y="18401"/>
                          <a:pt x="6636" y="18915"/>
                        </a:cubicBezTo>
                        <a:cubicBezTo>
                          <a:pt x="6636" y="19428"/>
                          <a:pt x="6181" y="19849"/>
                          <a:pt x="5595" y="19849"/>
                        </a:cubicBezTo>
                        <a:close/>
                        <a:moveTo>
                          <a:pt x="5595" y="15178"/>
                        </a:moveTo>
                        <a:lnTo>
                          <a:pt x="2537" y="15178"/>
                        </a:lnTo>
                        <a:cubicBezTo>
                          <a:pt x="1965" y="15178"/>
                          <a:pt x="1496" y="14758"/>
                          <a:pt x="1496" y="14244"/>
                        </a:cubicBezTo>
                        <a:cubicBezTo>
                          <a:pt x="1496" y="13731"/>
                          <a:pt x="1965" y="13310"/>
                          <a:pt x="2537" y="13310"/>
                        </a:cubicBezTo>
                        <a:lnTo>
                          <a:pt x="5595" y="13310"/>
                        </a:lnTo>
                        <a:cubicBezTo>
                          <a:pt x="6168" y="13310"/>
                          <a:pt x="6636" y="13731"/>
                          <a:pt x="6636" y="14244"/>
                        </a:cubicBezTo>
                        <a:cubicBezTo>
                          <a:pt x="6636" y="14758"/>
                          <a:pt x="6181" y="15178"/>
                          <a:pt x="5595" y="15178"/>
                        </a:cubicBezTo>
                        <a:close/>
                        <a:moveTo>
                          <a:pt x="5595" y="10391"/>
                        </a:moveTo>
                        <a:lnTo>
                          <a:pt x="2537" y="10391"/>
                        </a:lnTo>
                        <a:cubicBezTo>
                          <a:pt x="1965" y="10391"/>
                          <a:pt x="1496" y="9971"/>
                          <a:pt x="1496" y="9457"/>
                        </a:cubicBezTo>
                        <a:cubicBezTo>
                          <a:pt x="1496" y="8944"/>
                          <a:pt x="1965" y="8523"/>
                          <a:pt x="2537" y="8523"/>
                        </a:cubicBezTo>
                        <a:lnTo>
                          <a:pt x="5595" y="8523"/>
                        </a:lnTo>
                        <a:cubicBezTo>
                          <a:pt x="6168" y="8523"/>
                          <a:pt x="6636" y="8944"/>
                          <a:pt x="6636" y="9457"/>
                        </a:cubicBezTo>
                        <a:cubicBezTo>
                          <a:pt x="6636" y="9971"/>
                          <a:pt x="6181" y="10391"/>
                          <a:pt x="5595" y="10391"/>
                        </a:cubicBezTo>
                        <a:close/>
                        <a:moveTo>
                          <a:pt x="12309" y="19849"/>
                        </a:moveTo>
                        <a:lnTo>
                          <a:pt x="9252" y="19849"/>
                        </a:lnTo>
                        <a:cubicBezTo>
                          <a:pt x="8679" y="19849"/>
                          <a:pt x="8211" y="19428"/>
                          <a:pt x="8211" y="18915"/>
                        </a:cubicBezTo>
                        <a:cubicBezTo>
                          <a:pt x="8211" y="18401"/>
                          <a:pt x="8679" y="17981"/>
                          <a:pt x="9252" y="17981"/>
                        </a:cubicBezTo>
                        <a:lnTo>
                          <a:pt x="12309" y="17981"/>
                        </a:lnTo>
                        <a:cubicBezTo>
                          <a:pt x="12882" y="17981"/>
                          <a:pt x="13350" y="18401"/>
                          <a:pt x="13350" y="18915"/>
                        </a:cubicBezTo>
                        <a:cubicBezTo>
                          <a:pt x="13350" y="19428"/>
                          <a:pt x="12882" y="19849"/>
                          <a:pt x="12309" y="19849"/>
                        </a:cubicBezTo>
                        <a:close/>
                        <a:moveTo>
                          <a:pt x="12309" y="15178"/>
                        </a:moveTo>
                        <a:lnTo>
                          <a:pt x="9252" y="15178"/>
                        </a:lnTo>
                        <a:cubicBezTo>
                          <a:pt x="8679" y="15178"/>
                          <a:pt x="8211" y="14758"/>
                          <a:pt x="8211" y="14244"/>
                        </a:cubicBezTo>
                        <a:cubicBezTo>
                          <a:pt x="8211" y="13731"/>
                          <a:pt x="8679" y="13310"/>
                          <a:pt x="9252" y="13310"/>
                        </a:cubicBezTo>
                        <a:lnTo>
                          <a:pt x="12309" y="13310"/>
                        </a:lnTo>
                        <a:cubicBezTo>
                          <a:pt x="12882" y="13310"/>
                          <a:pt x="13350" y="13731"/>
                          <a:pt x="13350" y="14244"/>
                        </a:cubicBezTo>
                        <a:cubicBezTo>
                          <a:pt x="13350" y="14758"/>
                          <a:pt x="12882" y="15178"/>
                          <a:pt x="12309" y="15178"/>
                        </a:cubicBezTo>
                        <a:close/>
                        <a:moveTo>
                          <a:pt x="12309" y="10391"/>
                        </a:moveTo>
                        <a:lnTo>
                          <a:pt x="9252" y="10391"/>
                        </a:lnTo>
                        <a:cubicBezTo>
                          <a:pt x="8679" y="10391"/>
                          <a:pt x="8211" y="9971"/>
                          <a:pt x="8211" y="9457"/>
                        </a:cubicBezTo>
                        <a:cubicBezTo>
                          <a:pt x="8211" y="8944"/>
                          <a:pt x="8679" y="8523"/>
                          <a:pt x="9252" y="8523"/>
                        </a:cubicBezTo>
                        <a:lnTo>
                          <a:pt x="12309" y="8523"/>
                        </a:lnTo>
                        <a:cubicBezTo>
                          <a:pt x="12882" y="8523"/>
                          <a:pt x="13350" y="8944"/>
                          <a:pt x="13350" y="9457"/>
                        </a:cubicBezTo>
                        <a:cubicBezTo>
                          <a:pt x="13350" y="9971"/>
                          <a:pt x="12882" y="10391"/>
                          <a:pt x="12309" y="10391"/>
                        </a:cubicBezTo>
                        <a:close/>
                        <a:moveTo>
                          <a:pt x="19037" y="19849"/>
                        </a:moveTo>
                        <a:lnTo>
                          <a:pt x="15979" y="19849"/>
                        </a:lnTo>
                        <a:cubicBezTo>
                          <a:pt x="15406" y="19849"/>
                          <a:pt x="14938" y="19428"/>
                          <a:pt x="14938" y="18915"/>
                        </a:cubicBezTo>
                        <a:cubicBezTo>
                          <a:pt x="14938" y="18401"/>
                          <a:pt x="15406" y="17981"/>
                          <a:pt x="15979" y="17981"/>
                        </a:cubicBezTo>
                        <a:lnTo>
                          <a:pt x="19037" y="17981"/>
                        </a:lnTo>
                        <a:cubicBezTo>
                          <a:pt x="19609" y="17981"/>
                          <a:pt x="20078" y="18401"/>
                          <a:pt x="20078" y="18915"/>
                        </a:cubicBezTo>
                        <a:cubicBezTo>
                          <a:pt x="20078" y="19428"/>
                          <a:pt x="19609" y="19849"/>
                          <a:pt x="19037" y="19849"/>
                        </a:cubicBezTo>
                        <a:close/>
                        <a:moveTo>
                          <a:pt x="19037" y="15178"/>
                        </a:moveTo>
                        <a:lnTo>
                          <a:pt x="15979" y="15178"/>
                        </a:lnTo>
                        <a:cubicBezTo>
                          <a:pt x="15406" y="15178"/>
                          <a:pt x="14938" y="14758"/>
                          <a:pt x="14938" y="14244"/>
                        </a:cubicBezTo>
                        <a:cubicBezTo>
                          <a:pt x="14938" y="13731"/>
                          <a:pt x="15406" y="13310"/>
                          <a:pt x="15979" y="13310"/>
                        </a:cubicBezTo>
                        <a:lnTo>
                          <a:pt x="19037" y="13310"/>
                        </a:lnTo>
                        <a:cubicBezTo>
                          <a:pt x="19609" y="13310"/>
                          <a:pt x="20078" y="13731"/>
                          <a:pt x="20078" y="14244"/>
                        </a:cubicBezTo>
                        <a:cubicBezTo>
                          <a:pt x="20078" y="14758"/>
                          <a:pt x="19609" y="15178"/>
                          <a:pt x="19037" y="15178"/>
                        </a:cubicBezTo>
                        <a:close/>
                        <a:moveTo>
                          <a:pt x="19037" y="10391"/>
                        </a:moveTo>
                        <a:lnTo>
                          <a:pt x="15979" y="10391"/>
                        </a:lnTo>
                        <a:cubicBezTo>
                          <a:pt x="15406" y="10391"/>
                          <a:pt x="14938" y="9971"/>
                          <a:pt x="14938" y="9457"/>
                        </a:cubicBezTo>
                        <a:cubicBezTo>
                          <a:pt x="14938" y="8944"/>
                          <a:pt x="15406" y="8523"/>
                          <a:pt x="15979" y="8523"/>
                        </a:cubicBezTo>
                        <a:lnTo>
                          <a:pt x="19037" y="8523"/>
                        </a:lnTo>
                        <a:cubicBezTo>
                          <a:pt x="19609" y="8523"/>
                          <a:pt x="20078" y="8944"/>
                          <a:pt x="20078" y="9457"/>
                        </a:cubicBezTo>
                        <a:cubicBezTo>
                          <a:pt x="20078" y="9971"/>
                          <a:pt x="19609" y="10391"/>
                          <a:pt x="19037" y="10391"/>
                        </a:cubicBezTo>
                        <a:close/>
                        <a:moveTo>
                          <a:pt x="20169" y="5838"/>
                        </a:moveTo>
                        <a:cubicBezTo>
                          <a:pt x="20169" y="6352"/>
                          <a:pt x="19700" y="6772"/>
                          <a:pt x="19128" y="6772"/>
                        </a:cubicBezTo>
                        <a:lnTo>
                          <a:pt x="2602" y="6772"/>
                        </a:lnTo>
                        <a:cubicBezTo>
                          <a:pt x="2030" y="6772"/>
                          <a:pt x="1561" y="6352"/>
                          <a:pt x="1561" y="5838"/>
                        </a:cubicBezTo>
                        <a:lnTo>
                          <a:pt x="1561" y="2218"/>
                        </a:lnTo>
                        <a:cubicBezTo>
                          <a:pt x="1561" y="1705"/>
                          <a:pt x="2030" y="1284"/>
                          <a:pt x="2602" y="1284"/>
                        </a:cubicBezTo>
                        <a:lnTo>
                          <a:pt x="19128" y="1284"/>
                        </a:lnTo>
                        <a:cubicBezTo>
                          <a:pt x="19700" y="1284"/>
                          <a:pt x="20169" y="1705"/>
                          <a:pt x="20169" y="2218"/>
                        </a:cubicBezTo>
                        <a:lnTo>
                          <a:pt x="20169" y="5838"/>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grpSp>
          </p:grpSp>
          <p:grpSp>
            <p:nvGrpSpPr>
              <p:cNvPr id="60" name="Group"/>
              <p:cNvGrpSpPr/>
              <p:nvPr/>
            </p:nvGrpSpPr>
            <p:grpSpPr>
              <a:xfrm>
                <a:off x="2088173" y="1198518"/>
                <a:ext cx="3694192" cy="1030435"/>
                <a:chOff x="-1" y="0"/>
                <a:chExt cx="3694191" cy="1030434"/>
              </a:xfrm>
            </p:grpSpPr>
            <p:grpSp>
              <p:nvGrpSpPr>
                <p:cNvPr id="63" name="Rectangle: Rounded Corners 29"/>
                <p:cNvGrpSpPr/>
                <p:nvPr/>
              </p:nvGrpSpPr>
              <p:grpSpPr>
                <a:xfrm>
                  <a:off x="1108844" y="0"/>
                  <a:ext cx="2585346" cy="1030434"/>
                  <a:chOff x="-1" y="0"/>
                  <a:chExt cx="2585345" cy="1030433"/>
                </a:xfrm>
              </p:grpSpPr>
              <p:sp>
                <p:nvSpPr>
                  <p:cNvPr id="78" name="Rounded Rectangle"/>
                  <p:cNvSpPr/>
                  <p:nvPr/>
                </p:nvSpPr>
                <p:spPr>
                  <a:xfrm>
                    <a:off x="-1" y="0"/>
                    <a:ext cx="1543732" cy="1030433"/>
                  </a:xfrm>
                  <a:prstGeom prst="roundRect">
                    <a:avLst>
                      <a:gd name="adj" fmla="val 17206"/>
                    </a:avLst>
                  </a:prstGeom>
                  <a:solidFill>
                    <a:srgbClr val="22C00F"/>
                  </a:solidFill>
                  <a:ln/>
                </p:spPr>
                <p:style>
                  <a:lnRef idx="1">
                    <a:schemeClr val="accent5"/>
                  </a:lnRef>
                  <a:fillRef idx="3">
                    <a:schemeClr val="accent5"/>
                  </a:fillRef>
                  <a:effectRef idx="2">
                    <a:schemeClr val="accent5"/>
                  </a:effectRef>
                  <a:fontRef idx="minor">
                    <a:schemeClr val="lt1"/>
                  </a:fontRef>
                </p:style>
                <p:txBody>
                  <a:bodyPr wrap="square" lIns="38100" tIns="38100" rIns="38100" bIns="38100" numCol="1" anchor="ctr">
                    <a:noAutofit/>
                  </a:bodyPr>
                  <a:lstStyle/>
                  <a:p>
                    <a:pPr algn="l">
                      <a:spcBef>
                        <a:spcPts val="1000"/>
                      </a:spcBef>
                      <a:defRPr sz="2700">
                        <a:solidFill>
                          <a:srgbClr val="000000"/>
                        </a:solidFill>
                        <a:effectLst/>
                      </a:defRPr>
                    </a:pPr>
                    <a:r>
                      <a:rPr lang="en-GB" sz="2000" dirty="0">
                        <a:solidFill>
                          <a:srgbClr val="000000"/>
                        </a:solidFill>
                      </a:rPr>
                      <a:t>8.500 </a:t>
                    </a:r>
                    <a:r>
                      <a:rPr lang="en-GB" sz="2000" dirty="0"/>
                      <a:t>(₦’BN)</a:t>
                    </a:r>
                    <a:endParaRPr sz="2000" dirty="0"/>
                  </a:p>
                </p:txBody>
              </p:sp>
              <p:sp>
                <p:nvSpPr>
                  <p:cNvPr id="79" name="Text"/>
                  <p:cNvSpPr/>
                  <p:nvPr/>
                </p:nvSpPr>
                <p:spPr>
                  <a:xfrm>
                    <a:off x="51927" y="515203"/>
                    <a:ext cx="2533417" cy="2"/>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45718" tIns="45718" rIns="45718" bIns="45718" numCol="1" anchor="ctr">
                    <a:spAutoFit/>
                  </a:bodyPr>
                  <a:lstStyle/>
                  <a:p>
                    <a:pPr algn="l">
                      <a:spcBef>
                        <a:spcPts val="1000"/>
                      </a:spcBef>
                      <a:defRPr sz="2700">
                        <a:solidFill>
                          <a:srgbClr val="000000"/>
                        </a:solidFill>
                        <a:effectLst/>
                      </a:defRPr>
                    </a:pPr>
                    <a:endParaRPr dirty="0"/>
                  </a:p>
                </p:txBody>
              </p:sp>
            </p:grpSp>
            <p:grpSp>
              <p:nvGrpSpPr>
                <p:cNvPr id="64" name="Group"/>
                <p:cNvGrpSpPr/>
                <p:nvPr/>
              </p:nvGrpSpPr>
              <p:grpSpPr>
                <a:xfrm>
                  <a:off x="-1" y="10255"/>
                  <a:ext cx="1004617" cy="1009925"/>
                  <a:chOff x="0" y="0"/>
                  <a:chExt cx="1004615" cy="1009924"/>
                </a:xfrm>
              </p:grpSpPr>
              <p:sp>
                <p:nvSpPr>
                  <p:cNvPr id="65" name="Rectangle: Rounded Corners 28"/>
                  <p:cNvSpPr/>
                  <p:nvPr/>
                </p:nvSpPr>
                <p:spPr>
                  <a:xfrm>
                    <a:off x="0" y="0"/>
                    <a:ext cx="1004615" cy="1009924"/>
                  </a:xfrm>
                  <a:prstGeom prst="roundRect">
                    <a:avLst>
                      <a:gd name="adj" fmla="val 6667"/>
                    </a:avLst>
                  </a:prstGeom>
                  <a:solidFill>
                    <a:srgbClr val="8A6705"/>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defTabSz="914400">
                      <a:defRPr sz="1800" b="0" cap="none">
                        <a:solidFill>
                          <a:srgbClr val="FFFFFF"/>
                        </a:solidFill>
                        <a:effectLst/>
                        <a:latin typeface="Calibri"/>
                        <a:ea typeface="Calibri"/>
                        <a:cs typeface="Calibri"/>
                        <a:sym typeface="Calibri"/>
                      </a:defRPr>
                    </a:pPr>
                    <a:endParaRPr dirty="0"/>
                  </a:p>
                </p:txBody>
              </p:sp>
              <p:sp>
                <p:nvSpPr>
                  <p:cNvPr id="66" name="Freeform: Shape 78"/>
                  <p:cNvSpPr/>
                  <p:nvPr/>
                </p:nvSpPr>
                <p:spPr>
                  <a:xfrm>
                    <a:off x="166672" y="544685"/>
                    <a:ext cx="178122" cy="156842"/>
                  </a:xfrm>
                  <a:custGeom>
                    <a:avLst/>
                    <a:gdLst/>
                    <a:ahLst/>
                    <a:cxnLst>
                      <a:cxn ang="0">
                        <a:pos x="wd2" y="hd2"/>
                      </a:cxn>
                      <a:cxn ang="5400000">
                        <a:pos x="wd2" y="hd2"/>
                      </a:cxn>
                      <a:cxn ang="10800000">
                        <a:pos x="wd2" y="hd2"/>
                      </a:cxn>
                      <a:cxn ang="16200000">
                        <a:pos x="wd2" y="hd2"/>
                      </a:cxn>
                    </a:cxnLst>
                    <a:rect l="0" t="0" r="r" b="b"/>
                    <a:pathLst>
                      <a:path w="21600" h="21600" extrusionOk="0">
                        <a:moveTo>
                          <a:pt x="19421" y="0"/>
                        </a:moveTo>
                        <a:lnTo>
                          <a:pt x="0" y="0"/>
                        </a:lnTo>
                        <a:cubicBezTo>
                          <a:pt x="956" y="7858"/>
                          <a:pt x="3651" y="15283"/>
                          <a:pt x="7856" y="21600"/>
                        </a:cubicBezTo>
                        <a:lnTo>
                          <a:pt x="21600" y="5992"/>
                        </a:lnTo>
                        <a:cubicBezTo>
                          <a:pt x="20644" y="4125"/>
                          <a:pt x="19899" y="2106"/>
                          <a:pt x="19421"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67" name="Freeform: Shape 79"/>
                  <p:cNvSpPr/>
                  <p:nvPr/>
                </p:nvSpPr>
                <p:spPr>
                  <a:xfrm>
                    <a:off x="297661" y="654393"/>
                    <a:ext cx="157631" cy="178281"/>
                  </a:xfrm>
                  <a:custGeom>
                    <a:avLst/>
                    <a:gdLst/>
                    <a:ahLst/>
                    <a:cxnLst>
                      <a:cxn ang="0">
                        <a:pos x="wd2" y="hd2"/>
                      </a:cxn>
                      <a:cxn ang="5400000">
                        <a:pos x="wd2" y="hd2"/>
                      </a:cxn>
                      <a:cxn ang="10800000">
                        <a:pos x="wd2" y="hd2"/>
                      </a:cxn>
                      <a:cxn ang="16200000">
                        <a:pos x="wd2" y="hd2"/>
                      </a:cxn>
                    </a:cxnLst>
                    <a:rect l="0" t="0" r="r" b="b"/>
                    <a:pathLst>
                      <a:path w="21600" h="21600" extrusionOk="0">
                        <a:moveTo>
                          <a:pt x="15509" y="0"/>
                        </a:moveTo>
                        <a:lnTo>
                          <a:pt x="0" y="13732"/>
                        </a:lnTo>
                        <a:cubicBezTo>
                          <a:pt x="6307" y="17952"/>
                          <a:pt x="13738" y="20664"/>
                          <a:pt x="21600" y="21600"/>
                        </a:cubicBezTo>
                        <a:lnTo>
                          <a:pt x="21600" y="2196"/>
                        </a:lnTo>
                        <a:cubicBezTo>
                          <a:pt x="19462" y="1700"/>
                          <a:pt x="17431" y="974"/>
                          <a:pt x="15509"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68" name="Freeform: Shape 80"/>
                  <p:cNvSpPr/>
                  <p:nvPr/>
                </p:nvSpPr>
                <p:spPr>
                  <a:xfrm>
                    <a:off x="548133" y="164956"/>
                    <a:ext cx="286887" cy="287044"/>
                  </a:xfrm>
                  <a:custGeom>
                    <a:avLst/>
                    <a:gdLst/>
                    <a:ahLst/>
                    <a:cxnLst>
                      <a:cxn ang="0">
                        <a:pos x="wd2" y="hd2"/>
                      </a:cxn>
                      <a:cxn ang="5400000">
                        <a:pos x="wd2" y="hd2"/>
                      </a:cxn>
                      <a:cxn ang="10800000">
                        <a:pos x="wd2" y="hd2"/>
                      </a:cxn>
                      <a:cxn ang="16200000">
                        <a:pos x="wd2" y="hd2"/>
                      </a:cxn>
                    </a:cxnLst>
                    <a:rect l="0" t="0" r="r" b="b"/>
                    <a:pathLst>
                      <a:path w="21600" h="21600" extrusionOk="0">
                        <a:moveTo>
                          <a:pt x="83" y="0"/>
                        </a:moveTo>
                        <a:cubicBezTo>
                          <a:pt x="47" y="4413"/>
                          <a:pt x="12" y="10094"/>
                          <a:pt x="0" y="12075"/>
                        </a:cubicBezTo>
                        <a:cubicBezTo>
                          <a:pt x="4640" y="13332"/>
                          <a:pt x="8260" y="16962"/>
                          <a:pt x="9506" y="21600"/>
                        </a:cubicBezTo>
                        <a:lnTo>
                          <a:pt x="21600" y="21576"/>
                        </a:lnTo>
                        <a:cubicBezTo>
                          <a:pt x="20010" y="10415"/>
                          <a:pt x="11251" y="1625"/>
                          <a:pt x="83"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69" name="Freeform: Shape 81"/>
                  <p:cNvSpPr/>
                  <p:nvPr/>
                </p:nvSpPr>
                <p:spPr>
                  <a:xfrm>
                    <a:off x="350152" y="180718"/>
                    <a:ext cx="104036" cy="119800"/>
                  </a:xfrm>
                  <a:custGeom>
                    <a:avLst/>
                    <a:gdLst/>
                    <a:ahLst/>
                    <a:cxnLst>
                      <a:cxn ang="0">
                        <a:pos x="wd2" y="hd2"/>
                      </a:cxn>
                      <a:cxn ang="5400000">
                        <a:pos x="wd2" y="hd2"/>
                      </a:cxn>
                      <a:cxn ang="10800000">
                        <a:pos x="wd2" y="hd2"/>
                      </a:cxn>
                      <a:cxn ang="16200000">
                        <a:pos x="wd2" y="hd2"/>
                      </a:cxn>
                    </a:cxnLst>
                    <a:rect l="0" t="0" r="r" b="b"/>
                    <a:pathLst>
                      <a:path w="21600" h="21600" extrusionOk="0">
                        <a:moveTo>
                          <a:pt x="7789" y="0"/>
                        </a:moveTo>
                        <a:cubicBezTo>
                          <a:pt x="5138" y="824"/>
                          <a:pt x="2520" y="1791"/>
                          <a:pt x="0" y="2899"/>
                        </a:cubicBezTo>
                        <a:lnTo>
                          <a:pt x="21535" y="21600"/>
                        </a:lnTo>
                        <a:lnTo>
                          <a:pt x="21600" y="11994"/>
                        </a:lnTo>
                        <a:lnTo>
                          <a:pt x="7789"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70" name="Freeform: Shape 82"/>
                  <p:cNvSpPr/>
                  <p:nvPr/>
                </p:nvSpPr>
                <p:spPr>
                  <a:xfrm>
                    <a:off x="295297" y="209408"/>
                    <a:ext cx="149749" cy="134774"/>
                  </a:xfrm>
                  <a:custGeom>
                    <a:avLst/>
                    <a:gdLst/>
                    <a:ahLst/>
                    <a:cxnLst>
                      <a:cxn ang="0">
                        <a:pos x="wd2" y="hd2"/>
                      </a:cxn>
                      <a:cxn ang="5400000">
                        <a:pos x="wd2" y="hd2"/>
                      </a:cxn>
                      <a:cxn ang="10800000">
                        <a:pos x="wd2" y="hd2"/>
                      </a:cxn>
                      <a:cxn ang="16200000">
                        <a:pos x="wd2" y="hd2"/>
                      </a:cxn>
                    </a:cxnLst>
                    <a:rect l="0" t="0" r="r" b="b"/>
                    <a:pathLst>
                      <a:path w="21600" h="21600" extrusionOk="0">
                        <a:moveTo>
                          <a:pt x="4593" y="0"/>
                        </a:moveTo>
                        <a:cubicBezTo>
                          <a:pt x="3001" y="1061"/>
                          <a:pt x="1478" y="2223"/>
                          <a:pt x="0" y="3486"/>
                        </a:cubicBezTo>
                        <a:lnTo>
                          <a:pt x="16302" y="21600"/>
                        </a:lnTo>
                        <a:cubicBezTo>
                          <a:pt x="17985" y="20488"/>
                          <a:pt x="19758" y="19579"/>
                          <a:pt x="21600" y="18897"/>
                        </a:cubicBezTo>
                        <a:lnTo>
                          <a:pt x="4593"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71" name="Freeform: Shape 83"/>
                  <p:cNvSpPr/>
                  <p:nvPr/>
                </p:nvSpPr>
                <p:spPr>
                  <a:xfrm>
                    <a:off x="414937" y="164482"/>
                    <a:ext cx="39567" cy="47291"/>
                  </a:xfrm>
                  <a:custGeom>
                    <a:avLst/>
                    <a:gdLst/>
                    <a:ahLst/>
                    <a:cxnLst>
                      <a:cxn ang="0">
                        <a:pos x="wd2" y="hd2"/>
                      </a:cxn>
                      <a:cxn ang="5400000">
                        <a:pos x="wd2" y="hd2"/>
                      </a:cxn>
                      <a:cxn ang="10800000">
                        <a:pos x="wd2" y="hd2"/>
                      </a:cxn>
                      <a:cxn ang="16200000">
                        <a:pos x="wd2" y="hd2"/>
                      </a:cxn>
                    </a:cxnLst>
                    <a:rect l="0" t="0" r="r" b="b"/>
                    <a:pathLst>
                      <a:path w="21600" h="21600" extrusionOk="0">
                        <a:moveTo>
                          <a:pt x="0" y="3600"/>
                        </a:moveTo>
                        <a:lnTo>
                          <a:pt x="21514" y="21600"/>
                        </a:lnTo>
                        <a:lnTo>
                          <a:pt x="21600" y="0"/>
                        </a:lnTo>
                        <a:cubicBezTo>
                          <a:pt x="14285" y="864"/>
                          <a:pt x="7143" y="2016"/>
                          <a:pt x="0" y="360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72" name="Freeform: Shape 84"/>
                  <p:cNvSpPr/>
                  <p:nvPr/>
                </p:nvSpPr>
                <p:spPr>
                  <a:xfrm>
                    <a:off x="249270" y="247396"/>
                    <a:ext cx="138400" cy="138401"/>
                  </a:xfrm>
                  <a:custGeom>
                    <a:avLst/>
                    <a:gdLst/>
                    <a:ahLst/>
                    <a:cxnLst>
                      <a:cxn ang="0">
                        <a:pos x="wd2" y="hd2"/>
                      </a:cxn>
                      <a:cxn ang="5400000">
                        <a:pos x="wd2" y="hd2"/>
                      </a:cxn>
                      <a:cxn ang="10800000">
                        <a:pos x="wd2" y="hd2"/>
                      </a:cxn>
                      <a:cxn ang="16200000">
                        <a:pos x="wd2" y="hd2"/>
                      </a:cxn>
                    </a:cxnLst>
                    <a:rect l="0" t="0" r="r" b="b"/>
                    <a:pathLst>
                      <a:path w="21600" h="21600" extrusionOk="0">
                        <a:moveTo>
                          <a:pt x="4182" y="0"/>
                        </a:moveTo>
                        <a:cubicBezTo>
                          <a:pt x="3469" y="640"/>
                          <a:pt x="2755" y="1304"/>
                          <a:pt x="2067" y="1993"/>
                        </a:cubicBezTo>
                        <a:cubicBezTo>
                          <a:pt x="1353" y="2706"/>
                          <a:pt x="664" y="3444"/>
                          <a:pt x="0" y="4182"/>
                        </a:cubicBezTo>
                        <a:lnTo>
                          <a:pt x="17418" y="21600"/>
                        </a:lnTo>
                        <a:cubicBezTo>
                          <a:pt x="18672" y="20075"/>
                          <a:pt x="20050" y="18672"/>
                          <a:pt x="21600" y="17418"/>
                        </a:cubicBezTo>
                        <a:lnTo>
                          <a:pt x="4182"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73" name="Freeform: Shape 85"/>
                  <p:cNvSpPr/>
                  <p:nvPr/>
                </p:nvSpPr>
                <p:spPr>
                  <a:xfrm>
                    <a:off x="166830" y="413063"/>
                    <a:ext cx="44611" cy="37045"/>
                  </a:xfrm>
                  <a:custGeom>
                    <a:avLst/>
                    <a:gdLst/>
                    <a:ahLst/>
                    <a:cxnLst>
                      <a:cxn ang="0">
                        <a:pos x="wd2" y="hd2"/>
                      </a:cxn>
                      <a:cxn ang="5400000">
                        <a:pos x="wd2" y="hd2"/>
                      </a:cxn>
                      <a:cxn ang="10800000">
                        <a:pos x="wd2" y="hd2"/>
                      </a:cxn>
                      <a:cxn ang="16200000">
                        <a:pos x="wd2" y="hd2"/>
                      </a:cxn>
                    </a:cxnLst>
                    <a:rect l="0" t="0" r="r" b="b"/>
                    <a:pathLst>
                      <a:path w="21600" h="21600" extrusionOk="0">
                        <a:moveTo>
                          <a:pt x="3664" y="0"/>
                        </a:moveTo>
                        <a:cubicBezTo>
                          <a:pt x="2137" y="7077"/>
                          <a:pt x="916" y="14339"/>
                          <a:pt x="0" y="21600"/>
                        </a:cubicBezTo>
                        <a:lnTo>
                          <a:pt x="21600" y="21600"/>
                        </a:lnTo>
                        <a:lnTo>
                          <a:pt x="3664"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74" name="Freeform: Shape 86"/>
                  <p:cNvSpPr/>
                  <p:nvPr/>
                </p:nvSpPr>
                <p:spPr>
                  <a:xfrm>
                    <a:off x="182908" y="348436"/>
                    <a:ext cx="117751" cy="101673"/>
                  </a:xfrm>
                  <a:custGeom>
                    <a:avLst/>
                    <a:gdLst/>
                    <a:ahLst/>
                    <a:cxnLst>
                      <a:cxn ang="0">
                        <a:pos x="wd2" y="hd2"/>
                      </a:cxn>
                      <a:cxn ang="5400000">
                        <a:pos x="wd2" y="hd2"/>
                      </a:cxn>
                      <a:cxn ang="10800000">
                        <a:pos x="wd2" y="hd2"/>
                      </a:cxn>
                      <a:cxn ang="16200000">
                        <a:pos x="wd2" y="hd2"/>
                      </a:cxn>
                    </a:cxnLst>
                    <a:rect l="0" t="0" r="r" b="b"/>
                    <a:pathLst>
                      <a:path w="21600" h="21600" extrusionOk="0">
                        <a:moveTo>
                          <a:pt x="2920" y="0"/>
                        </a:moveTo>
                        <a:cubicBezTo>
                          <a:pt x="1793" y="2579"/>
                          <a:pt x="839" y="5224"/>
                          <a:pt x="0" y="7937"/>
                        </a:cubicBezTo>
                        <a:lnTo>
                          <a:pt x="11798" y="21600"/>
                        </a:lnTo>
                        <a:lnTo>
                          <a:pt x="21600" y="21600"/>
                        </a:lnTo>
                        <a:lnTo>
                          <a:pt x="2920"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75" name="Freeform: Shape 87"/>
                  <p:cNvSpPr/>
                  <p:nvPr/>
                </p:nvSpPr>
                <p:spPr>
                  <a:xfrm>
                    <a:off x="211596" y="293739"/>
                    <a:ext cx="134617" cy="149750"/>
                  </a:xfrm>
                  <a:custGeom>
                    <a:avLst/>
                    <a:gdLst/>
                    <a:ahLst/>
                    <a:cxnLst>
                      <a:cxn ang="0">
                        <a:pos x="wd2" y="hd2"/>
                      </a:cxn>
                      <a:cxn ang="5400000">
                        <a:pos x="wd2" y="hd2"/>
                      </a:cxn>
                      <a:cxn ang="10800000">
                        <a:pos x="wd2" y="hd2"/>
                      </a:cxn>
                      <a:cxn ang="16200000">
                        <a:pos x="wd2" y="hd2"/>
                      </a:cxn>
                    </a:cxnLst>
                    <a:rect l="0" t="0" r="r" b="b"/>
                    <a:pathLst>
                      <a:path w="21600" h="21600" extrusionOk="0">
                        <a:moveTo>
                          <a:pt x="3465" y="0"/>
                        </a:moveTo>
                        <a:cubicBezTo>
                          <a:pt x="2200" y="1478"/>
                          <a:pt x="1062" y="3001"/>
                          <a:pt x="0" y="4593"/>
                        </a:cubicBezTo>
                        <a:lnTo>
                          <a:pt x="18919" y="21600"/>
                        </a:lnTo>
                        <a:cubicBezTo>
                          <a:pt x="19577" y="19736"/>
                          <a:pt x="20487" y="17962"/>
                          <a:pt x="21600" y="16302"/>
                        </a:cubicBezTo>
                        <a:lnTo>
                          <a:pt x="3465"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76" name="Freeform: Shape 88"/>
                  <p:cNvSpPr/>
                  <p:nvPr/>
                </p:nvSpPr>
                <p:spPr>
                  <a:xfrm>
                    <a:off x="622376" y="591869"/>
                    <a:ext cx="174969" cy="33313"/>
                  </a:xfrm>
                  <a:prstGeom prst="rect">
                    <a:avLst/>
                  </a:pr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77" name="Freeform: Shape 89"/>
                  <p:cNvSpPr/>
                  <p:nvPr/>
                </p:nvSpPr>
                <p:spPr>
                  <a:xfrm>
                    <a:off x="578240" y="554141"/>
                    <a:ext cx="261666" cy="291615"/>
                  </a:xfrm>
                  <a:custGeom>
                    <a:avLst/>
                    <a:gdLst/>
                    <a:ahLst/>
                    <a:cxnLst>
                      <a:cxn ang="0">
                        <a:pos x="wd2" y="hd2"/>
                      </a:cxn>
                      <a:cxn ang="5400000">
                        <a:pos x="wd2" y="hd2"/>
                      </a:cxn>
                      <a:cxn ang="10800000">
                        <a:pos x="wd2" y="hd2"/>
                      </a:cxn>
                      <a:cxn ang="16200000">
                        <a:pos x="wd2" y="hd2"/>
                      </a:cxn>
                    </a:cxnLst>
                    <a:rect l="0" t="0" r="r" b="b"/>
                    <a:pathLst>
                      <a:path w="21600" h="21600" extrusionOk="0">
                        <a:moveTo>
                          <a:pt x="18737" y="0"/>
                        </a:moveTo>
                        <a:lnTo>
                          <a:pt x="2863" y="0"/>
                        </a:lnTo>
                        <a:cubicBezTo>
                          <a:pt x="1275" y="0"/>
                          <a:pt x="0" y="1144"/>
                          <a:pt x="0" y="2569"/>
                        </a:cubicBezTo>
                        <a:lnTo>
                          <a:pt x="0" y="19031"/>
                        </a:lnTo>
                        <a:cubicBezTo>
                          <a:pt x="0" y="20456"/>
                          <a:pt x="1275" y="21600"/>
                          <a:pt x="2863" y="21600"/>
                        </a:cubicBezTo>
                        <a:lnTo>
                          <a:pt x="18737" y="21600"/>
                        </a:lnTo>
                        <a:cubicBezTo>
                          <a:pt x="20325" y="21600"/>
                          <a:pt x="21600" y="20456"/>
                          <a:pt x="21600" y="19031"/>
                        </a:cubicBezTo>
                        <a:lnTo>
                          <a:pt x="21600" y="2569"/>
                        </a:lnTo>
                        <a:cubicBezTo>
                          <a:pt x="21600" y="1144"/>
                          <a:pt x="20325" y="0"/>
                          <a:pt x="18737" y="0"/>
                        </a:cubicBezTo>
                        <a:close/>
                        <a:moveTo>
                          <a:pt x="5595" y="19849"/>
                        </a:moveTo>
                        <a:lnTo>
                          <a:pt x="2537" y="19849"/>
                        </a:lnTo>
                        <a:cubicBezTo>
                          <a:pt x="1965" y="19849"/>
                          <a:pt x="1496" y="19428"/>
                          <a:pt x="1496" y="18915"/>
                        </a:cubicBezTo>
                        <a:cubicBezTo>
                          <a:pt x="1496" y="18401"/>
                          <a:pt x="1965" y="17981"/>
                          <a:pt x="2537" y="17981"/>
                        </a:cubicBezTo>
                        <a:lnTo>
                          <a:pt x="5595" y="17981"/>
                        </a:lnTo>
                        <a:cubicBezTo>
                          <a:pt x="6168" y="17981"/>
                          <a:pt x="6636" y="18401"/>
                          <a:pt x="6636" y="18915"/>
                        </a:cubicBezTo>
                        <a:cubicBezTo>
                          <a:pt x="6636" y="19428"/>
                          <a:pt x="6181" y="19849"/>
                          <a:pt x="5595" y="19849"/>
                        </a:cubicBezTo>
                        <a:close/>
                        <a:moveTo>
                          <a:pt x="5595" y="15178"/>
                        </a:moveTo>
                        <a:lnTo>
                          <a:pt x="2537" y="15178"/>
                        </a:lnTo>
                        <a:cubicBezTo>
                          <a:pt x="1965" y="15178"/>
                          <a:pt x="1496" y="14758"/>
                          <a:pt x="1496" y="14244"/>
                        </a:cubicBezTo>
                        <a:cubicBezTo>
                          <a:pt x="1496" y="13731"/>
                          <a:pt x="1965" y="13310"/>
                          <a:pt x="2537" y="13310"/>
                        </a:cubicBezTo>
                        <a:lnTo>
                          <a:pt x="5595" y="13310"/>
                        </a:lnTo>
                        <a:cubicBezTo>
                          <a:pt x="6168" y="13310"/>
                          <a:pt x="6636" y="13731"/>
                          <a:pt x="6636" y="14244"/>
                        </a:cubicBezTo>
                        <a:cubicBezTo>
                          <a:pt x="6636" y="14758"/>
                          <a:pt x="6181" y="15178"/>
                          <a:pt x="5595" y="15178"/>
                        </a:cubicBezTo>
                        <a:close/>
                        <a:moveTo>
                          <a:pt x="5595" y="10391"/>
                        </a:moveTo>
                        <a:lnTo>
                          <a:pt x="2537" y="10391"/>
                        </a:lnTo>
                        <a:cubicBezTo>
                          <a:pt x="1965" y="10391"/>
                          <a:pt x="1496" y="9971"/>
                          <a:pt x="1496" y="9457"/>
                        </a:cubicBezTo>
                        <a:cubicBezTo>
                          <a:pt x="1496" y="8944"/>
                          <a:pt x="1965" y="8523"/>
                          <a:pt x="2537" y="8523"/>
                        </a:cubicBezTo>
                        <a:lnTo>
                          <a:pt x="5595" y="8523"/>
                        </a:lnTo>
                        <a:cubicBezTo>
                          <a:pt x="6168" y="8523"/>
                          <a:pt x="6636" y="8944"/>
                          <a:pt x="6636" y="9457"/>
                        </a:cubicBezTo>
                        <a:cubicBezTo>
                          <a:pt x="6636" y="9971"/>
                          <a:pt x="6181" y="10391"/>
                          <a:pt x="5595" y="10391"/>
                        </a:cubicBezTo>
                        <a:close/>
                        <a:moveTo>
                          <a:pt x="12309" y="19849"/>
                        </a:moveTo>
                        <a:lnTo>
                          <a:pt x="9252" y="19849"/>
                        </a:lnTo>
                        <a:cubicBezTo>
                          <a:pt x="8679" y="19849"/>
                          <a:pt x="8211" y="19428"/>
                          <a:pt x="8211" y="18915"/>
                        </a:cubicBezTo>
                        <a:cubicBezTo>
                          <a:pt x="8211" y="18401"/>
                          <a:pt x="8679" y="17981"/>
                          <a:pt x="9252" y="17981"/>
                        </a:cubicBezTo>
                        <a:lnTo>
                          <a:pt x="12309" y="17981"/>
                        </a:lnTo>
                        <a:cubicBezTo>
                          <a:pt x="12882" y="17981"/>
                          <a:pt x="13350" y="18401"/>
                          <a:pt x="13350" y="18915"/>
                        </a:cubicBezTo>
                        <a:cubicBezTo>
                          <a:pt x="13350" y="19428"/>
                          <a:pt x="12882" y="19849"/>
                          <a:pt x="12309" y="19849"/>
                        </a:cubicBezTo>
                        <a:close/>
                        <a:moveTo>
                          <a:pt x="12309" y="15178"/>
                        </a:moveTo>
                        <a:lnTo>
                          <a:pt x="9252" y="15178"/>
                        </a:lnTo>
                        <a:cubicBezTo>
                          <a:pt x="8679" y="15178"/>
                          <a:pt x="8211" y="14758"/>
                          <a:pt x="8211" y="14244"/>
                        </a:cubicBezTo>
                        <a:cubicBezTo>
                          <a:pt x="8211" y="13731"/>
                          <a:pt x="8679" y="13310"/>
                          <a:pt x="9252" y="13310"/>
                        </a:cubicBezTo>
                        <a:lnTo>
                          <a:pt x="12309" y="13310"/>
                        </a:lnTo>
                        <a:cubicBezTo>
                          <a:pt x="12882" y="13310"/>
                          <a:pt x="13350" y="13731"/>
                          <a:pt x="13350" y="14244"/>
                        </a:cubicBezTo>
                        <a:cubicBezTo>
                          <a:pt x="13350" y="14758"/>
                          <a:pt x="12882" y="15178"/>
                          <a:pt x="12309" y="15178"/>
                        </a:cubicBezTo>
                        <a:close/>
                        <a:moveTo>
                          <a:pt x="12309" y="10391"/>
                        </a:moveTo>
                        <a:lnTo>
                          <a:pt x="9252" y="10391"/>
                        </a:lnTo>
                        <a:cubicBezTo>
                          <a:pt x="8679" y="10391"/>
                          <a:pt x="8211" y="9971"/>
                          <a:pt x="8211" y="9457"/>
                        </a:cubicBezTo>
                        <a:cubicBezTo>
                          <a:pt x="8211" y="8944"/>
                          <a:pt x="8679" y="8523"/>
                          <a:pt x="9252" y="8523"/>
                        </a:cubicBezTo>
                        <a:lnTo>
                          <a:pt x="12309" y="8523"/>
                        </a:lnTo>
                        <a:cubicBezTo>
                          <a:pt x="12882" y="8523"/>
                          <a:pt x="13350" y="8944"/>
                          <a:pt x="13350" y="9457"/>
                        </a:cubicBezTo>
                        <a:cubicBezTo>
                          <a:pt x="13350" y="9971"/>
                          <a:pt x="12882" y="10391"/>
                          <a:pt x="12309" y="10391"/>
                        </a:cubicBezTo>
                        <a:close/>
                        <a:moveTo>
                          <a:pt x="19037" y="19849"/>
                        </a:moveTo>
                        <a:lnTo>
                          <a:pt x="15979" y="19849"/>
                        </a:lnTo>
                        <a:cubicBezTo>
                          <a:pt x="15406" y="19849"/>
                          <a:pt x="14938" y="19428"/>
                          <a:pt x="14938" y="18915"/>
                        </a:cubicBezTo>
                        <a:cubicBezTo>
                          <a:pt x="14938" y="18401"/>
                          <a:pt x="15406" y="17981"/>
                          <a:pt x="15979" y="17981"/>
                        </a:cubicBezTo>
                        <a:lnTo>
                          <a:pt x="19037" y="17981"/>
                        </a:lnTo>
                        <a:cubicBezTo>
                          <a:pt x="19609" y="17981"/>
                          <a:pt x="20078" y="18401"/>
                          <a:pt x="20078" y="18915"/>
                        </a:cubicBezTo>
                        <a:cubicBezTo>
                          <a:pt x="20078" y="19428"/>
                          <a:pt x="19609" y="19849"/>
                          <a:pt x="19037" y="19849"/>
                        </a:cubicBezTo>
                        <a:close/>
                        <a:moveTo>
                          <a:pt x="19037" y="15178"/>
                        </a:moveTo>
                        <a:lnTo>
                          <a:pt x="15979" y="15178"/>
                        </a:lnTo>
                        <a:cubicBezTo>
                          <a:pt x="15406" y="15178"/>
                          <a:pt x="14938" y="14758"/>
                          <a:pt x="14938" y="14244"/>
                        </a:cubicBezTo>
                        <a:cubicBezTo>
                          <a:pt x="14938" y="13731"/>
                          <a:pt x="15406" y="13310"/>
                          <a:pt x="15979" y="13310"/>
                        </a:cubicBezTo>
                        <a:lnTo>
                          <a:pt x="19037" y="13310"/>
                        </a:lnTo>
                        <a:cubicBezTo>
                          <a:pt x="19609" y="13310"/>
                          <a:pt x="20078" y="13731"/>
                          <a:pt x="20078" y="14244"/>
                        </a:cubicBezTo>
                        <a:cubicBezTo>
                          <a:pt x="20078" y="14758"/>
                          <a:pt x="19609" y="15178"/>
                          <a:pt x="19037" y="15178"/>
                        </a:cubicBezTo>
                        <a:close/>
                        <a:moveTo>
                          <a:pt x="19037" y="10391"/>
                        </a:moveTo>
                        <a:lnTo>
                          <a:pt x="15979" y="10391"/>
                        </a:lnTo>
                        <a:cubicBezTo>
                          <a:pt x="15406" y="10391"/>
                          <a:pt x="14938" y="9971"/>
                          <a:pt x="14938" y="9457"/>
                        </a:cubicBezTo>
                        <a:cubicBezTo>
                          <a:pt x="14938" y="8944"/>
                          <a:pt x="15406" y="8523"/>
                          <a:pt x="15979" y="8523"/>
                        </a:cubicBezTo>
                        <a:lnTo>
                          <a:pt x="19037" y="8523"/>
                        </a:lnTo>
                        <a:cubicBezTo>
                          <a:pt x="19609" y="8523"/>
                          <a:pt x="20078" y="8944"/>
                          <a:pt x="20078" y="9457"/>
                        </a:cubicBezTo>
                        <a:cubicBezTo>
                          <a:pt x="20078" y="9971"/>
                          <a:pt x="19609" y="10391"/>
                          <a:pt x="19037" y="10391"/>
                        </a:cubicBezTo>
                        <a:close/>
                        <a:moveTo>
                          <a:pt x="20169" y="5838"/>
                        </a:moveTo>
                        <a:cubicBezTo>
                          <a:pt x="20169" y="6352"/>
                          <a:pt x="19700" y="6772"/>
                          <a:pt x="19128" y="6772"/>
                        </a:cubicBezTo>
                        <a:lnTo>
                          <a:pt x="2602" y="6772"/>
                        </a:lnTo>
                        <a:cubicBezTo>
                          <a:pt x="2030" y="6772"/>
                          <a:pt x="1561" y="6352"/>
                          <a:pt x="1561" y="5838"/>
                        </a:cubicBezTo>
                        <a:lnTo>
                          <a:pt x="1561" y="2218"/>
                        </a:lnTo>
                        <a:cubicBezTo>
                          <a:pt x="1561" y="1705"/>
                          <a:pt x="2030" y="1284"/>
                          <a:pt x="2602" y="1284"/>
                        </a:cubicBezTo>
                        <a:lnTo>
                          <a:pt x="19128" y="1284"/>
                        </a:lnTo>
                        <a:cubicBezTo>
                          <a:pt x="19700" y="1284"/>
                          <a:pt x="20169" y="1705"/>
                          <a:pt x="20169" y="2218"/>
                        </a:cubicBezTo>
                        <a:lnTo>
                          <a:pt x="20169" y="5838"/>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grpSp>
          </p:grpSp>
          <p:sp>
            <p:nvSpPr>
              <p:cNvPr id="61" name="Provision"/>
              <p:cNvSpPr/>
              <p:nvPr/>
            </p:nvSpPr>
            <p:spPr>
              <a:xfrm>
                <a:off x="-1" y="171035"/>
                <a:ext cx="1825643" cy="889729"/>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25400" cap="flat">
                <a:solidFill>
                  <a:srgbClr val="22BF00"/>
                </a:solidFill>
                <a:prstDash val="solid"/>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21918" tIns="121918" rIns="121918" bIns="121918" numCol="1" anchor="t">
                <a:spAutoFit/>
              </a:bodyPr>
              <a:lstStyle>
                <a:lvl1pPr algn="l" defTabSz="2438400">
                  <a:defRPr sz="2900" b="0">
                    <a:solidFill>
                      <a:srgbClr val="000000"/>
                    </a:solidFill>
                    <a:effectLst>
                      <a:outerShdw blurRad="12700" dist="12700" dir="18900000" rotWithShape="0">
                        <a:srgbClr val="000000">
                          <a:alpha val="24000"/>
                        </a:srgbClr>
                      </a:outerShdw>
                    </a:effectLst>
                  </a:defRPr>
                </a:lvl1pPr>
              </a:lstStyle>
              <a:p>
                <a:r>
                  <a:rPr sz="2000" dirty="0"/>
                  <a:t>Provision</a:t>
                </a:r>
              </a:p>
            </p:txBody>
          </p:sp>
          <p:sp>
            <p:nvSpPr>
              <p:cNvPr id="62" name="Actual"/>
              <p:cNvSpPr/>
              <p:nvPr/>
            </p:nvSpPr>
            <p:spPr>
              <a:xfrm>
                <a:off x="-1" y="1369554"/>
                <a:ext cx="1825643" cy="889729"/>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25400" cap="flat">
                <a:solidFill>
                  <a:schemeClr val="accent3"/>
                </a:solidFill>
                <a:prstDash val="solid"/>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21918" tIns="121918" rIns="121918" bIns="121918" numCol="1" anchor="t">
                <a:spAutoFit/>
              </a:bodyPr>
              <a:lstStyle>
                <a:lvl1pPr algn="l" defTabSz="2438400">
                  <a:defRPr sz="2900" b="0">
                    <a:solidFill>
                      <a:srgbClr val="000000"/>
                    </a:solidFill>
                    <a:effectLst>
                      <a:outerShdw blurRad="12700" dist="12700" dir="18900000" rotWithShape="0">
                        <a:srgbClr val="000000">
                          <a:alpha val="24000"/>
                        </a:srgbClr>
                      </a:outerShdw>
                    </a:effectLst>
                  </a:defRPr>
                </a:lvl1pPr>
              </a:lstStyle>
              <a:p>
                <a:r>
                  <a:rPr sz="2000" dirty="0"/>
                  <a:t>Actual</a:t>
                </a:r>
              </a:p>
            </p:txBody>
          </p:sp>
        </p:grpSp>
        <p:sp>
          <p:nvSpPr>
            <p:cNvPr id="58" name="TextBox 57"/>
            <p:cNvSpPr txBox="1"/>
            <p:nvPr/>
          </p:nvSpPr>
          <p:spPr>
            <a:xfrm>
              <a:off x="1589512" y="6420956"/>
              <a:ext cx="3660539"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r>
                <a:rPr lang="en-US" sz="2000" dirty="0">
                  <a:solidFill>
                    <a:schemeClr val="accent1">
                      <a:lumMod val="50000"/>
                    </a:schemeClr>
                  </a:solidFill>
                  <a:effectLst/>
                </a:rPr>
                <a:t>OPENING BALANCE</a:t>
              </a:r>
            </a:p>
          </p:txBody>
        </p:sp>
      </p:grpSp>
      <p:grpSp>
        <p:nvGrpSpPr>
          <p:cNvPr id="97" name="Group 96"/>
          <p:cNvGrpSpPr/>
          <p:nvPr/>
        </p:nvGrpSpPr>
        <p:grpSpPr>
          <a:xfrm>
            <a:off x="1566066" y="7338643"/>
            <a:ext cx="10510725" cy="1426639"/>
            <a:chOff x="1566066" y="7338643"/>
            <a:chExt cx="10510725" cy="1426639"/>
          </a:xfrm>
        </p:grpSpPr>
        <p:grpSp>
          <p:nvGrpSpPr>
            <p:cNvPr id="98" name="Group"/>
            <p:cNvGrpSpPr/>
            <p:nvPr/>
          </p:nvGrpSpPr>
          <p:grpSpPr>
            <a:xfrm>
              <a:off x="5408341" y="7338643"/>
              <a:ext cx="6668450" cy="1426639"/>
              <a:chOff x="-1" y="0"/>
              <a:chExt cx="6001041" cy="2239008"/>
            </a:xfrm>
          </p:grpSpPr>
          <p:grpSp>
            <p:nvGrpSpPr>
              <p:cNvPr id="100" name="Group"/>
              <p:cNvGrpSpPr/>
              <p:nvPr/>
            </p:nvGrpSpPr>
            <p:grpSpPr>
              <a:xfrm>
                <a:off x="2088173" y="0"/>
                <a:ext cx="3912867" cy="1030435"/>
                <a:chOff x="-1" y="0"/>
                <a:chExt cx="3912866" cy="1030434"/>
              </a:xfrm>
            </p:grpSpPr>
            <p:grpSp>
              <p:nvGrpSpPr>
                <p:cNvPr id="121" name="Rectangle: Rounded Corners 29"/>
                <p:cNvGrpSpPr/>
                <p:nvPr/>
              </p:nvGrpSpPr>
              <p:grpSpPr>
                <a:xfrm>
                  <a:off x="1108845" y="0"/>
                  <a:ext cx="2804020" cy="1030434"/>
                  <a:chOff x="0" y="0"/>
                  <a:chExt cx="2804019" cy="1030433"/>
                </a:xfrm>
              </p:grpSpPr>
              <p:sp>
                <p:nvSpPr>
                  <p:cNvPr id="136" name="Rounded Rectangle"/>
                  <p:cNvSpPr/>
                  <p:nvPr/>
                </p:nvSpPr>
                <p:spPr>
                  <a:xfrm>
                    <a:off x="0" y="0"/>
                    <a:ext cx="1713327" cy="1030433"/>
                  </a:xfrm>
                  <a:prstGeom prst="roundRect">
                    <a:avLst>
                      <a:gd name="adj" fmla="val 17206"/>
                    </a:avLst>
                  </a:prstGeom>
                  <a:ln/>
                </p:spPr>
                <p:style>
                  <a:lnRef idx="2">
                    <a:schemeClr val="dk1">
                      <a:shade val="50000"/>
                    </a:schemeClr>
                  </a:lnRef>
                  <a:fillRef idx="1">
                    <a:schemeClr val="dk1"/>
                  </a:fillRef>
                  <a:effectRef idx="0">
                    <a:schemeClr val="dk1"/>
                  </a:effectRef>
                  <a:fontRef idx="minor">
                    <a:schemeClr val="lt1"/>
                  </a:fontRef>
                </p:style>
                <p:txBody>
                  <a:bodyPr wrap="square" lIns="38100" tIns="38100" rIns="38100" bIns="38100" numCol="1" anchor="ctr">
                    <a:noAutofit/>
                  </a:bodyPr>
                  <a:lstStyle/>
                  <a:p>
                    <a:pPr algn="l">
                      <a:spcBef>
                        <a:spcPts val="1000"/>
                      </a:spcBef>
                      <a:defRPr sz="2700">
                        <a:solidFill>
                          <a:srgbClr val="000000"/>
                        </a:solidFill>
                        <a:effectLst/>
                      </a:defRPr>
                    </a:pPr>
                    <a:endParaRPr dirty="0"/>
                  </a:p>
                </p:txBody>
              </p:sp>
              <p:sp>
                <p:nvSpPr>
                  <p:cNvPr id="137" name="310,055 (₦’bn)"/>
                  <p:cNvSpPr/>
                  <p:nvPr/>
                </p:nvSpPr>
                <p:spPr>
                  <a:xfrm>
                    <a:off x="51926" y="201238"/>
                    <a:ext cx="2752093" cy="627935"/>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8" tIns="45718" rIns="45718" bIns="45718" numCol="1" anchor="ctr">
                    <a:spAutoFit/>
                  </a:bodyPr>
                  <a:lstStyle>
                    <a:lvl1pPr algn="l">
                      <a:spcBef>
                        <a:spcPts val="1000"/>
                      </a:spcBef>
                      <a:defRPr sz="2700">
                        <a:solidFill>
                          <a:srgbClr val="000000"/>
                        </a:solidFill>
                      </a:defRPr>
                    </a:lvl1pPr>
                  </a:lstStyle>
                  <a:p>
                    <a:pPr>
                      <a:defRPr>
                        <a:effectLst/>
                      </a:defRPr>
                    </a:pPr>
                    <a:r>
                      <a:rPr lang="en-US" sz="2000" dirty="0"/>
                      <a:t>43.850 </a:t>
                    </a:r>
                    <a:r>
                      <a:rPr sz="2000" dirty="0"/>
                      <a:t>(</a:t>
                    </a:r>
                    <a:r>
                      <a:rPr lang="en-GB" sz="2000" dirty="0"/>
                      <a:t>₦</a:t>
                    </a:r>
                    <a:r>
                      <a:rPr sz="2000" dirty="0"/>
                      <a:t>’</a:t>
                    </a:r>
                    <a:r>
                      <a:rPr lang="en-GB" sz="2000" dirty="0"/>
                      <a:t>BN</a:t>
                    </a:r>
                    <a:r>
                      <a:rPr sz="2000" dirty="0"/>
                      <a:t>)</a:t>
                    </a:r>
                  </a:p>
                </p:txBody>
              </p:sp>
            </p:grpSp>
            <p:grpSp>
              <p:nvGrpSpPr>
                <p:cNvPr id="122" name="Group"/>
                <p:cNvGrpSpPr/>
                <p:nvPr/>
              </p:nvGrpSpPr>
              <p:grpSpPr>
                <a:xfrm>
                  <a:off x="-1" y="10254"/>
                  <a:ext cx="1004617" cy="1009925"/>
                  <a:chOff x="0" y="0"/>
                  <a:chExt cx="1004615" cy="1009924"/>
                </a:xfrm>
              </p:grpSpPr>
              <p:sp>
                <p:nvSpPr>
                  <p:cNvPr id="123" name="Rectangle: Rounded Corners 28"/>
                  <p:cNvSpPr/>
                  <p:nvPr/>
                </p:nvSpPr>
                <p:spPr>
                  <a:xfrm>
                    <a:off x="0" y="0"/>
                    <a:ext cx="1004615" cy="1009924"/>
                  </a:xfrm>
                  <a:prstGeom prst="roundRect">
                    <a:avLst>
                      <a:gd name="adj" fmla="val 6667"/>
                    </a:avLst>
                  </a:prstGeom>
                  <a:solidFill>
                    <a:srgbClr val="008A3E"/>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defTabSz="914400">
                      <a:defRPr sz="1800" b="0" cap="none">
                        <a:solidFill>
                          <a:srgbClr val="FFFFFF"/>
                        </a:solidFill>
                        <a:effectLst/>
                        <a:latin typeface="Calibri"/>
                        <a:ea typeface="Calibri"/>
                        <a:cs typeface="Calibri"/>
                        <a:sym typeface="Calibri"/>
                      </a:defRPr>
                    </a:pPr>
                    <a:endParaRPr dirty="0"/>
                  </a:p>
                </p:txBody>
              </p:sp>
              <p:sp>
                <p:nvSpPr>
                  <p:cNvPr id="124" name="Freeform: Shape 78"/>
                  <p:cNvSpPr/>
                  <p:nvPr/>
                </p:nvSpPr>
                <p:spPr>
                  <a:xfrm>
                    <a:off x="166672" y="544685"/>
                    <a:ext cx="178122" cy="156842"/>
                  </a:xfrm>
                  <a:custGeom>
                    <a:avLst/>
                    <a:gdLst/>
                    <a:ahLst/>
                    <a:cxnLst>
                      <a:cxn ang="0">
                        <a:pos x="wd2" y="hd2"/>
                      </a:cxn>
                      <a:cxn ang="5400000">
                        <a:pos x="wd2" y="hd2"/>
                      </a:cxn>
                      <a:cxn ang="10800000">
                        <a:pos x="wd2" y="hd2"/>
                      </a:cxn>
                      <a:cxn ang="16200000">
                        <a:pos x="wd2" y="hd2"/>
                      </a:cxn>
                    </a:cxnLst>
                    <a:rect l="0" t="0" r="r" b="b"/>
                    <a:pathLst>
                      <a:path w="21600" h="21600" extrusionOk="0">
                        <a:moveTo>
                          <a:pt x="19421" y="0"/>
                        </a:moveTo>
                        <a:lnTo>
                          <a:pt x="0" y="0"/>
                        </a:lnTo>
                        <a:cubicBezTo>
                          <a:pt x="956" y="7858"/>
                          <a:pt x="3651" y="15283"/>
                          <a:pt x="7856" y="21600"/>
                        </a:cubicBezTo>
                        <a:lnTo>
                          <a:pt x="21600" y="5992"/>
                        </a:lnTo>
                        <a:cubicBezTo>
                          <a:pt x="20644" y="4125"/>
                          <a:pt x="19899" y="2106"/>
                          <a:pt x="19421"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25" name="Freeform: Shape 79"/>
                  <p:cNvSpPr/>
                  <p:nvPr/>
                </p:nvSpPr>
                <p:spPr>
                  <a:xfrm>
                    <a:off x="297661" y="654393"/>
                    <a:ext cx="157631" cy="178281"/>
                  </a:xfrm>
                  <a:custGeom>
                    <a:avLst/>
                    <a:gdLst/>
                    <a:ahLst/>
                    <a:cxnLst>
                      <a:cxn ang="0">
                        <a:pos x="wd2" y="hd2"/>
                      </a:cxn>
                      <a:cxn ang="5400000">
                        <a:pos x="wd2" y="hd2"/>
                      </a:cxn>
                      <a:cxn ang="10800000">
                        <a:pos x="wd2" y="hd2"/>
                      </a:cxn>
                      <a:cxn ang="16200000">
                        <a:pos x="wd2" y="hd2"/>
                      </a:cxn>
                    </a:cxnLst>
                    <a:rect l="0" t="0" r="r" b="b"/>
                    <a:pathLst>
                      <a:path w="21600" h="21600" extrusionOk="0">
                        <a:moveTo>
                          <a:pt x="15509" y="0"/>
                        </a:moveTo>
                        <a:lnTo>
                          <a:pt x="0" y="13732"/>
                        </a:lnTo>
                        <a:cubicBezTo>
                          <a:pt x="6307" y="17952"/>
                          <a:pt x="13738" y="20664"/>
                          <a:pt x="21600" y="21600"/>
                        </a:cubicBezTo>
                        <a:lnTo>
                          <a:pt x="21600" y="2196"/>
                        </a:lnTo>
                        <a:cubicBezTo>
                          <a:pt x="19462" y="1700"/>
                          <a:pt x="17431" y="974"/>
                          <a:pt x="15509"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26" name="Freeform: Shape 80"/>
                  <p:cNvSpPr/>
                  <p:nvPr/>
                </p:nvSpPr>
                <p:spPr>
                  <a:xfrm>
                    <a:off x="548133" y="164956"/>
                    <a:ext cx="286887" cy="287044"/>
                  </a:xfrm>
                  <a:custGeom>
                    <a:avLst/>
                    <a:gdLst/>
                    <a:ahLst/>
                    <a:cxnLst>
                      <a:cxn ang="0">
                        <a:pos x="wd2" y="hd2"/>
                      </a:cxn>
                      <a:cxn ang="5400000">
                        <a:pos x="wd2" y="hd2"/>
                      </a:cxn>
                      <a:cxn ang="10800000">
                        <a:pos x="wd2" y="hd2"/>
                      </a:cxn>
                      <a:cxn ang="16200000">
                        <a:pos x="wd2" y="hd2"/>
                      </a:cxn>
                    </a:cxnLst>
                    <a:rect l="0" t="0" r="r" b="b"/>
                    <a:pathLst>
                      <a:path w="21600" h="21600" extrusionOk="0">
                        <a:moveTo>
                          <a:pt x="83" y="0"/>
                        </a:moveTo>
                        <a:cubicBezTo>
                          <a:pt x="47" y="4413"/>
                          <a:pt x="12" y="10094"/>
                          <a:pt x="0" y="12075"/>
                        </a:cubicBezTo>
                        <a:cubicBezTo>
                          <a:pt x="4640" y="13332"/>
                          <a:pt x="8260" y="16962"/>
                          <a:pt x="9506" y="21600"/>
                        </a:cubicBezTo>
                        <a:lnTo>
                          <a:pt x="21600" y="21576"/>
                        </a:lnTo>
                        <a:cubicBezTo>
                          <a:pt x="20010" y="10415"/>
                          <a:pt x="11251" y="1625"/>
                          <a:pt x="83"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27" name="Freeform: Shape 81"/>
                  <p:cNvSpPr/>
                  <p:nvPr/>
                </p:nvSpPr>
                <p:spPr>
                  <a:xfrm>
                    <a:off x="350152" y="180718"/>
                    <a:ext cx="104036" cy="119800"/>
                  </a:xfrm>
                  <a:custGeom>
                    <a:avLst/>
                    <a:gdLst/>
                    <a:ahLst/>
                    <a:cxnLst>
                      <a:cxn ang="0">
                        <a:pos x="wd2" y="hd2"/>
                      </a:cxn>
                      <a:cxn ang="5400000">
                        <a:pos x="wd2" y="hd2"/>
                      </a:cxn>
                      <a:cxn ang="10800000">
                        <a:pos x="wd2" y="hd2"/>
                      </a:cxn>
                      <a:cxn ang="16200000">
                        <a:pos x="wd2" y="hd2"/>
                      </a:cxn>
                    </a:cxnLst>
                    <a:rect l="0" t="0" r="r" b="b"/>
                    <a:pathLst>
                      <a:path w="21600" h="21600" extrusionOk="0">
                        <a:moveTo>
                          <a:pt x="7789" y="0"/>
                        </a:moveTo>
                        <a:cubicBezTo>
                          <a:pt x="5138" y="824"/>
                          <a:pt x="2520" y="1791"/>
                          <a:pt x="0" y="2899"/>
                        </a:cubicBezTo>
                        <a:lnTo>
                          <a:pt x="21535" y="21600"/>
                        </a:lnTo>
                        <a:lnTo>
                          <a:pt x="21600" y="11994"/>
                        </a:lnTo>
                        <a:lnTo>
                          <a:pt x="7789"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28" name="Freeform: Shape 82"/>
                  <p:cNvSpPr/>
                  <p:nvPr/>
                </p:nvSpPr>
                <p:spPr>
                  <a:xfrm>
                    <a:off x="295297" y="209408"/>
                    <a:ext cx="149749" cy="134774"/>
                  </a:xfrm>
                  <a:custGeom>
                    <a:avLst/>
                    <a:gdLst/>
                    <a:ahLst/>
                    <a:cxnLst>
                      <a:cxn ang="0">
                        <a:pos x="wd2" y="hd2"/>
                      </a:cxn>
                      <a:cxn ang="5400000">
                        <a:pos x="wd2" y="hd2"/>
                      </a:cxn>
                      <a:cxn ang="10800000">
                        <a:pos x="wd2" y="hd2"/>
                      </a:cxn>
                      <a:cxn ang="16200000">
                        <a:pos x="wd2" y="hd2"/>
                      </a:cxn>
                    </a:cxnLst>
                    <a:rect l="0" t="0" r="r" b="b"/>
                    <a:pathLst>
                      <a:path w="21600" h="21600" extrusionOk="0">
                        <a:moveTo>
                          <a:pt x="4593" y="0"/>
                        </a:moveTo>
                        <a:cubicBezTo>
                          <a:pt x="3001" y="1061"/>
                          <a:pt x="1478" y="2223"/>
                          <a:pt x="0" y="3486"/>
                        </a:cubicBezTo>
                        <a:lnTo>
                          <a:pt x="16302" y="21600"/>
                        </a:lnTo>
                        <a:cubicBezTo>
                          <a:pt x="17985" y="20488"/>
                          <a:pt x="19758" y="19579"/>
                          <a:pt x="21600" y="18897"/>
                        </a:cubicBezTo>
                        <a:lnTo>
                          <a:pt x="4593"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29" name="Freeform: Shape 83"/>
                  <p:cNvSpPr/>
                  <p:nvPr/>
                </p:nvSpPr>
                <p:spPr>
                  <a:xfrm>
                    <a:off x="414937" y="164482"/>
                    <a:ext cx="39567" cy="47291"/>
                  </a:xfrm>
                  <a:custGeom>
                    <a:avLst/>
                    <a:gdLst/>
                    <a:ahLst/>
                    <a:cxnLst>
                      <a:cxn ang="0">
                        <a:pos x="wd2" y="hd2"/>
                      </a:cxn>
                      <a:cxn ang="5400000">
                        <a:pos x="wd2" y="hd2"/>
                      </a:cxn>
                      <a:cxn ang="10800000">
                        <a:pos x="wd2" y="hd2"/>
                      </a:cxn>
                      <a:cxn ang="16200000">
                        <a:pos x="wd2" y="hd2"/>
                      </a:cxn>
                    </a:cxnLst>
                    <a:rect l="0" t="0" r="r" b="b"/>
                    <a:pathLst>
                      <a:path w="21600" h="21600" extrusionOk="0">
                        <a:moveTo>
                          <a:pt x="0" y="3600"/>
                        </a:moveTo>
                        <a:lnTo>
                          <a:pt x="21514" y="21600"/>
                        </a:lnTo>
                        <a:lnTo>
                          <a:pt x="21600" y="0"/>
                        </a:lnTo>
                        <a:cubicBezTo>
                          <a:pt x="14285" y="864"/>
                          <a:pt x="7143" y="2016"/>
                          <a:pt x="0" y="360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30" name="Freeform: Shape 84"/>
                  <p:cNvSpPr/>
                  <p:nvPr/>
                </p:nvSpPr>
                <p:spPr>
                  <a:xfrm>
                    <a:off x="249270" y="247396"/>
                    <a:ext cx="138400" cy="138401"/>
                  </a:xfrm>
                  <a:custGeom>
                    <a:avLst/>
                    <a:gdLst/>
                    <a:ahLst/>
                    <a:cxnLst>
                      <a:cxn ang="0">
                        <a:pos x="wd2" y="hd2"/>
                      </a:cxn>
                      <a:cxn ang="5400000">
                        <a:pos x="wd2" y="hd2"/>
                      </a:cxn>
                      <a:cxn ang="10800000">
                        <a:pos x="wd2" y="hd2"/>
                      </a:cxn>
                      <a:cxn ang="16200000">
                        <a:pos x="wd2" y="hd2"/>
                      </a:cxn>
                    </a:cxnLst>
                    <a:rect l="0" t="0" r="r" b="b"/>
                    <a:pathLst>
                      <a:path w="21600" h="21600" extrusionOk="0">
                        <a:moveTo>
                          <a:pt x="4182" y="0"/>
                        </a:moveTo>
                        <a:cubicBezTo>
                          <a:pt x="3469" y="640"/>
                          <a:pt x="2755" y="1304"/>
                          <a:pt x="2067" y="1993"/>
                        </a:cubicBezTo>
                        <a:cubicBezTo>
                          <a:pt x="1353" y="2706"/>
                          <a:pt x="664" y="3444"/>
                          <a:pt x="0" y="4182"/>
                        </a:cubicBezTo>
                        <a:lnTo>
                          <a:pt x="17418" y="21600"/>
                        </a:lnTo>
                        <a:cubicBezTo>
                          <a:pt x="18672" y="20075"/>
                          <a:pt x="20050" y="18672"/>
                          <a:pt x="21600" y="17418"/>
                        </a:cubicBezTo>
                        <a:lnTo>
                          <a:pt x="4182"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31" name="Freeform: Shape 85"/>
                  <p:cNvSpPr/>
                  <p:nvPr/>
                </p:nvSpPr>
                <p:spPr>
                  <a:xfrm>
                    <a:off x="166830" y="413063"/>
                    <a:ext cx="44611" cy="37045"/>
                  </a:xfrm>
                  <a:custGeom>
                    <a:avLst/>
                    <a:gdLst/>
                    <a:ahLst/>
                    <a:cxnLst>
                      <a:cxn ang="0">
                        <a:pos x="wd2" y="hd2"/>
                      </a:cxn>
                      <a:cxn ang="5400000">
                        <a:pos x="wd2" y="hd2"/>
                      </a:cxn>
                      <a:cxn ang="10800000">
                        <a:pos x="wd2" y="hd2"/>
                      </a:cxn>
                      <a:cxn ang="16200000">
                        <a:pos x="wd2" y="hd2"/>
                      </a:cxn>
                    </a:cxnLst>
                    <a:rect l="0" t="0" r="r" b="b"/>
                    <a:pathLst>
                      <a:path w="21600" h="21600" extrusionOk="0">
                        <a:moveTo>
                          <a:pt x="3664" y="0"/>
                        </a:moveTo>
                        <a:cubicBezTo>
                          <a:pt x="2137" y="7077"/>
                          <a:pt x="916" y="14339"/>
                          <a:pt x="0" y="21600"/>
                        </a:cubicBezTo>
                        <a:lnTo>
                          <a:pt x="21600" y="21600"/>
                        </a:lnTo>
                        <a:lnTo>
                          <a:pt x="3664"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32" name="Freeform: Shape 86"/>
                  <p:cNvSpPr/>
                  <p:nvPr/>
                </p:nvSpPr>
                <p:spPr>
                  <a:xfrm>
                    <a:off x="182908" y="348436"/>
                    <a:ext cx="117751" cy="101673"/>
                  </a:xfrm>
                  <a:custGeom>
                    <a:avLst/>
                    <a:gdLst/>
                    <a:ahLst/>
                    <a:cxnLst>
                      <a:cxn ang="0">
                        <a:pos x="wd2" y="hd2"/>
                      </a:cxn>
                      <a:cxn ang="5400000">
                        <a:pos x="wd2" y="hd2"/>
                      </a:cxn>
                      <a:cxn ang="10800000">
                        <a:pos x="wd2" y="hd2"/>
                      </a:cxn>
                      <a:cxn ang="16200000">
                        <a:pos x="wd2" y="hd2"/>
                      </a:cxn>
                    </a:cxnLst>
                    <a:rect l="0" t="0" r="r" b="b"/>
                    <a:pathLst>
                      <a:path w="21600" h="21600" extrusionOk="0">
                        <a:moveTo>
                          <a:pt x="2920" y="0"/>
                        </a:moveTo>
                        <a:cubicBezTo>
                          <a:pt x="1793" y="2579"/>
                          <a:pt x="839" y="5224"/>
                          <a:pt x="0" y="7937"/>
                        </a:cubicBezTo>
                        <a:lnTo>
                          <a:pt x="11798" y="21600"/>
                        </a:lnTo>
                        <a:lnTo>
                          <a:pt x="21600" y="21600"/>
                        </a:lnTo>
                        <a:lnTo>
                          <a:pt x="2920"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33" name="Freeform: Shape 87"/>
                  <p:cNvSpPr/>
                  <p:nvPr/>
                </p:nvSpPr>
                <p:spPr>
                  <a:xfrm>
                    <a:off x="211596" y="293739"/>
                    <a:ext cx="134617" cy="149750"/>
                  </a:xfrm>
                  <a:custGeom>
                    <a:avLst/>
                    <a:gdLst/>
                    <a:ahLst/>
                    <a:cxnLst>
                      <a:cxn ang="0">
                        <a:pos x="wd2" y="hd2"/>
                      </a:cxn>
                      <a:cxn ang="5400000">
                        <a:pos x="wd2" y="hd2"/>
                      </a:cxn>
                      <a:cxn ang="10800000">
                        <a:pos x="wd2" y="hd2"/>
                      </a:cxn>
                      <a:cxn ang="16200000">
                        <a:pos x="wd2" y="hd2"/>
                      </a:cxn>
                    </a:cxnLst>
                    <a:rect l="0" t="0" r="r" b="b"/>
                    <a:pathLst>
                      <a:path w="21600" h="21600" extrusionOk="0">
                        <a:moveTo>
                          <a:pt x="3465" y="0"/>
                        </a:moveTo>
                        <a:cubicBezTo>
                          <a:pt x="2200" y="1478"/>
                          <a:pt x="1062" y="3001"/>
                          <a:pt x="0" y="4593"/>
                        </a:cubicBezTo>
                        <a:lnTo>
                          <a:pt x="18919" y="21600"/>
                        </a:lnTo>
                        <a:cubicBezTo>
                          <a:pt x="19577" y="19736"/>
                          <a:pt x="20487" y="17962"/>
                          <a:pt x="21600" y="16302"/>
                        </a:cubicBezTo>
                        <a:lnTo>
                          <a:pt x="3465"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34" name="Freeform: Shape 88"/>
                  <p:cNvSpPr/>
                  <p:nvPr/>
                </p:nvSpPr>
                <p:spPr>
                  <a:xfrm>
                    <a:off x="622376" y="591869"/>
                    <a:ext cx="174969" cy="33313"/>
                  </a:xfrm>
                  <a:prstGeom prst="rect">
                    <a:avLst/>
                  </a:pr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35" name="Freeform: Shape 89"/>
                  <p:cNvSpPr/>
                  <p:nvPr/>
                </p:nvSpPr>
                <p:spPr>
                  <a:xfrm>
                    <a:off x="578240" y="554141"/>
                    <a:ext cx="261666" cy="291615"/>
                  </a:xfrm>
                  <a:custGeom>
                    <a:avLst/>
                    <a:gdLst/>
                    <a:ahLst/>
                    <a:cxnLst>
                      <a:cxn ang="0">
                        <a:pos x="wd2" y="hd2"/>
                      </a:cxn>
                      <a:cxn ang="5400000">
                        <a:pos x="wd2" y="hd2"/>
                      </a:cxn>
                      <a:cxn ang="10800000">
                        <a:pos x="wd2" y="hd2"/>
                      </a:cxn>
                      <a:cxn ang="16200000">
                        <a:pos x="wd2" y="hd2"/>
                      </a:cxn>
                    </a:cxnLst>
                    <a:rect l="0" t="0" r="r" b="b"/>
                    <a:pathLst>
                      <a:path w="21600" h="21600" extrusionOk="0">
                        <a:moveTo>
                          <a:pt x="18737" y="0"/>
                        </a:moveTo>
                        <a:lnTo>
                          <a:pt x="2863" y="0"/>
                        </a:lnTo>
                        <a:cubicBezTo>
                          <a:pt x="1275" y="0"/>
                          <a:pt x="0" y="1144"/>
                          <a:pt x="0" y="2569"/>
                        </a:cubicBezTo>
                        <a:lnTo>
                          <a:pt x="0" y="19031"/>
                        </a:lnTo>
                        <a:cubicBezTo>
                          <a:pt x="0" y="20456"/>
                          <a:pt x="1275" y="21600"/>
                          <a:pt x="2863" y="21600"/>
                        </a:cubicBezTo>
                        <a:lnTo>
                          <a:pt x="18737" y="21600"/>
                        </a:lnTo>
                        <a:cubicBezTo>
                          <a:pt x="20325" y="21600"/>
                          <a:pt x="21600" y="20456"/>
                          <a:pt x="21600" y="19031"/>
                        </a:cubicBezTo>
                        <a:lnTo>
                          <a:pt x="21600" y="2569"/>
                        </a:lnTo>
                        <a:cubicBezTo>
                          <a:pt x="21600" y="1144"/>
                          <a:pt x="20325" y="0"/>
                          <a:pt x="18737" y="0"/>
                        </a:cubicBezTo>
                        <a:close/>
                        <a:moveTo>
                          <a:pt x="5595" y="19849"/>
                        </a:moveTo>
                        <a:lnTo>
                          <a:pt x="2537" y="19849"/>
                        </a:lnTo>
                        <a:cubicBezTo>
                          <a:pt x="1965" y="19849"/>
                          <a:pt x="1496" y="19428"/>
                          <a:pt x="1496" y="18915"/>
                        </a:cubicBezTo>
                        <a:cubicBezTo>
                          <a:pt x="1496" y="18401"/>
                          <a:pt x="1965" y="17981"/>
                          <a:pt x="2537" y="17981"/>
                        </a:cubicBezTo>
                        <a:lnTo>
                          <a:pt x="5595" y="17981"/>
                        </a:lnTo>
                        <a:cubicBezTo>
                          <a:pt x="6168" y="17981"/>
                          <a:pt x="6636" y="18401"/>
                          <a:pt x="6636" y="18915"/>
                        </a:cubicBezTo>
                        <a:cubicBezTo>
                          <a:pt x="6636" y="19428"/>
                          <a:pt x="6181" y="19849"/>
                          <a:pt x="5595" y="19849"/>
                        </a:cubicBezTo>
                        <a:close/>
                        <a:moveTo>
                          <a:pt x="5595" y="15178"/>
                        </a:moveTo>
                        <a:lnTo>
                          <a:pt x="2537" y="15178"/>
                        </a:lnTo>
                        <a:cubicBezTo>
                          <a:pt x="1965" y="15178"/>
                          <a:pt x="1496" y="14758"/>
                          <a:pt x="1496" y="14244"/>
                        </a:cubicBezTo>
                        <a:cubicBezTo>
                          <a:pt x="1496" y="13731"/>
                          <a:pt x="1965" y="13310"/>
                          <a:pt x="2537" y="13310"/>
                        </a:cubicBezTo>
                        <a:lnTo>
                          <a:pt x="5595" y="13310"/>
                        </a:lnTo>
                        <a:cubicBezTo>
                          <a:pt x="6168" y="13310"/>
                          <a:pt x="6636" y="13731"/>
                          <a:pt x="6636" y="14244"/>
                        </a:cubicBezTo>
                        <a:cubicBezTo>
                          <a:pt x="6636" y="14758"/>
                          <a:pt x="6181" y="15178"/>
                          <a:pt x="5595" y="15178"/>
                        </a:cubicBezTo>
                        <a:close/>
                        <a:moveTo>
                          <a:pt x="5595" y="10391"/>
                        </a:moveTo>
                        <a:lnTo>
                          <a:pt x="2537" y="10391"/>
                        </a:lnTo>
                        <a:cubicBezTo>
                          <a:pt x="1965" y="10391"/>
                          <a:pt x="1496" y="9971"/>
                          <a:pt x="1496" y="9457"/>
                        </a:cubicBezTo>
                        <a:cubicBezTo>
                          <a:pt x="1496" y="8944"/>
                          <a:pt x="1965" y="8523"/>
                          <a:pt x="2537" y="8523"/>
                        </a:cubicBezTo>
                        <a:lnTo>
                          <a:pt x="5595" y="8523"/>
                        </a:lnTo>
                        <a:cubicBezTo>
                          <a:pt x="6168" y="8523"/>
                          <a:pt x="6636" y="8944"/>
                          <a:pt x="6636" y="9457"/>
                        </a:cubicBezTo>
                        <a:cubicBezTo>
                          <a:pt x="6636" y="9971"/>
                          <a:pt x="6181" y="10391"/>
                          <a:pt x="5595" y="10391"/>
                        </a:cubicBezTo>
                        <a:close/>
                        <a:moveTo>
                          <a:pt x="12309" y="19849"/>
                        </a:moveTo>
                        <a:lnTo>
                          <a:pt x="9252" y="19849"/>
                        </a:lnTo>
                        <a:cubicBezTo>
                          <a:pt x="8679" y="19849"/>
                          <a:pt x="8211" y="19428"/>
                          <a:pt x="8211" y="18915"/>
                        </a:cubicBezTo>
                        <a:cubicBezTo>
                          <a:pt x="8211" y="18401"/>
                          <a:pt x="8679" y="17981"/>
                          <a:pt x="9252" y="17981"/>
                        </a:cubicBezTo>
                        <a:lnTo>
                          <a:pt x="12309" y="17981"/>
                        </a:lnTo>
                        <a:cubicBezTo>
                          <a:pt x="12882" y="17981"/>
                          <a:pt x="13350" y="18401"/>
                          <a:pt x="13350" y="18915"/>
                        </a:cubicBezTo>
                        <a:cubicBezTo>
                          <a:pt x="13350" y="19428"/>
                          <a:pt x="12882" y="19849"/>
                          <a:pt x="12309" y="19849"/>
                        </a:cubicBezTo>
                        <a:close/>
                        <a:moveTo>
                          <a:pt x="12309" y="15178"/>
                        </a:moveTo>
                        <a:lnTo>
                          <a:pt x="9252" y="15178"/>
                        </a:lnTo>
                        <a:cubicBezTo>
                          <a:pt x="8679" y="15178"/>
                          <a:pt x="8211" y="14758"/>
                          <a:pt x="8211" y="14244"/>
                        </a:cubicBezTo>
                        <a:cubicBezTo>
                          <a:pt x="8211" y="13731"/>
                          <a:pt x="8679" y="13310"/>
                          <a:pt x="9252" y="13310"/>
                        </a:cubicBezTo>
                        <a:lnTo>
                          <a:pt x="12309" y="13310"/>
                        </a:lnTo>
                        <a:cubicBezTo>
                          <a:pt x="12882" y="13310"/>
                          <a:pt x="13350" y="13731"/>
                          <a:pt x="13350" y="14244"/>
                        </a:cubicBezTo>
                        <a:cubicBezTo>
                          <a:pt x="13350" y="14758"/>
                          <a:pt x="12882" y="15178"/>
                          <a:pt x="12309" y="15178"/>
                        </a:cubicBezTo>
                        <a:close/>
                        <a:moveTo>
                          <a:pt x="12309" y="10391"/>
                        </a:moveTo>
                        <a:lnTo>
                          <a:pt x="9252" y="10391"/>
                        </a:lnTo>
                        <a:cubicBezTo>
                          <a:pt x="8679" y="10391"/>
                          <a:pt x="8211" y="9971"/>
                          <a:pt x="8211" y="9457"/>
                        </a:cubicBezTo>
                        <a:cubicBezTo>
                          <a:pt x="8211" y="8944"/>
                          <a:pt x="8679" y="8523"/>
                          <a:pt x="9252" y="8523"/>
                        </a:cubicBezTo>
                        <a:lnTo>
                          <a:pt x="12309" y="8523"/>
                        </a:lnTo>
                        <a:cubicBezTo>
                          <a:pt x="12882" y="8523"/>
                          <a:pt x="13350" y="8944"/>
                          <a:pt x="13350" y="9457"/>
                        </a:cubicBezTo>
                        <a:cubicBezTo>
                          <a:pt x="13350" y="9971"/>
                          <a:pt x="12882" y="10391"/>
                          <a:pt x="12309" y="10391"/>
                        </a:cubicBezTo>
                        <a:close/>
                        <a:moveTo>
                          <a:pt x="19037" y="19849"/>
                        </a:moveTo>
                        <a:lnTo>
                          <a:pt x="15979" y="19849"/>
                        </a:lnTo>
                        <a:cubicBezTo>
                          <a:pt x="15406" y="19849"/>
                          <a:pt x="14938" y="19428"/>
                          <a:pt x="14938" y="18915"/>
                        </a:cubicBezTo>
                        <a:cubicBezTo>
                          <a:pt x="14938" y="18401"/>
                          <a:pt x="15406" y="17981"/>
                          <a:pt x="15979" y="17981"/>
                        </a:cubicBezTo>
                        <a:lnTo>
                          <a:pt x="19037" y="17981"/>
                        </a:lnTo>
                        <a:cubicBezTo>
                          <a:pt x="19609" y="17981"/>
                          <a:pt x="20078" y="18401"/>
                          <a:pt x="20078" y="18915"/>
                        </a:cubicBezTo>
                        <a:cubicBezTo>
                          <a:pt x="20078" y="19428"/>
                          <a:pt x="19609" y="19849"/>
                          <a:pt x="19037" y="19849"/>
                        </a:cubicBezTo>
                        <a:close/>
                        <a:moveTo>
                          <a:pt x="19037" y="15178"/>
                        </a:moveTo>
                        <a:lnTo>
                          <a:pt x="15979" y="15178"/>
                        </a:lnTo>
                        <a:cubicBezTo>
                          <a:pt x="15406" y="15178"/>
                          <a:pt x="14938" y="14758"/>
                          <a:pt x="14938" y="14244"/>
                        </a:cubicBezTo>
                        <a:cubicBezTo>
                          <a:pt x="14938" y="13731"/>
                          <a:pt x="15406" y="13310"/>
                          <a:pt x="15979" y="13310"/>
                        </a:cubicBezTo>
                        <a:lnTo>
                          <a:pt x="19037" y="13310"/>
                        </a:lnTo>
                        <a:cubicBezTo>
                          <a:pt x="19609" y="13310"/>
                          <a:pt x="20078" y="13731"/>
                          <a:pt x="20078" y="14244"/>
                        </a:cubicBezTo>
                        <a:cubicBezTo>
                          <a:pt x="20078" y="14758"/>
                          <a:pt x="19609" y="15178"/>
                          <a:pt x="19037" y="15178"/>
                        </a:cubicBezTo>
                        <a:close/>
                        <a:moveTo>
                          <a:pt x="19037" y="10391"/>
                        </a:moveTo>
                        <a:lnTo>
                          <a:pt x="15979" y="10391"/>
                        </a:lnTo>
                        <a:cubicBezTo>
                          <a:pt x="15406" y="10391"/>
                          <a:pt x="14938" y="9971"/>
                          <a:pt x="14938" y="9457"/>
                        </a:cubicBezTo>
                        <a:cubicBezTo>
                          <a:pt x="14938" y="8944"/>
                          <a:pt x="15406" y="8523"/>
                          <a:pt x="15979" y="8523"/>
                        </a:cubicBezTo>
                        <a:lnTo>
                          <a:pt x="19037" y="8523"/>
                        </a:lnTo>
                        <a:cubicBezTo>
                          <a:pt x="19609" y="8523"/>
                          <a:pt x="20078" y="8944"/>
                          <a:pt x="20078" y="9457"/>
                        </a:cubicBezTo>
                        <a:cubicBezTo>
                          <a:pt x="20078" y="9971"/>
                          <a:pt x="19609" y="10391"/>
                          <a:pt x="19037" y="10391"/>
                        </a:cubicBezTo>
                        <a:close/>
                        <a:moveTo>
                          <a:pt x="20169" y="5838"/>
                        </a:moveTo>
                        <a:cubicBezTo>
                          <a:pt x="20169" y="6352"/>
                          <a:pt x="19700" y="6772"/>
                          <a:pt x="19128" y="6772"/>
                        </a:cubicBezTo>
                        <a:lnTo>
                          <a:pt x="2602" y="6772"/>
                        </a:lnTo>
                        <a:cubicBezTo>
                          <a:pt x="2030" y="6772"/>
                          <a:pt x="1561" y="6352"/>
                          <a:pt x="1561" y="5838"/>
                        </a:cubicBezTo>
                        <a:lnTo>
                          <a:pt x="1561" y="2218"/>
                        </a:lnTo>
                        <a:cubicBezTo>
                          <a:pt x="1561" y="1705"/>
                          <a:pt x="2030" y="1284"/>
                          <a:pt x="2602" y="1284"/>
                        </a:cubicBezTo>
                        <a:lnTo>
                          <a:pt x="19128" y="1284"/>
                        </a:lnTo>
                        <a:cubicBezTo>
                          <a:pt x="19700" y="1284"/>
                          <a:pt x="20169" y="1705"/>
                          <a:pt x="20169" y="2218"/>
                        </a:cubicBezTo>
                        <a:lnTo>
                          <a:pt x="20169" y="5838"/>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grpSp>
          </p:grpSp>
          <p:grpSp>
            <p:nvGrpSpPr>
              <p:cNvPr id="101" name="Group"/>
              <p:cNvGrpSpPr/>
              <p:nvPr/>
            </p:nvGrpSpPr>
            <p:grpSpPr>
              <a:xfrm>
                <a:off x="2088173" y="1198518"/>
                <a:ext cx="3694192" cy="1030435"/>
                <a:chOff x="-1" y="0"/>
                <a:chExt cx="3694191" cy="1030434"/>
              </a:xfrm>
            </p:grpSpPr>
            <p:grpSp>
              <p:nvGrpSpPr>
                <p:cNvPr id="104" name="Rectangle: Rounded Corners 29"/>
                <p:cNvGrpSpPr/>
                <p:nvPr/>
              </p:nvGrpSpPr>
              <p:grpSpPr>
                <a:xfrm>
                  <a:off x="1108844" y="0"/>
                  <a:ext cx="2585346" cy="1030434"/>
                  <a:chOff x="-1" y="0"/>
                  <a:chExt cx="2585345" cy="1030433"/>
                </a:xfrm>
              </p:grpSpPr>
              <p:sp>
                <p:nvSpPr>
                  <p:cNvPr id="119" name="Rounded Rectangle"/>
                  <p:cNvSpPr/>
                  <p:nvPr/>
                </p:nvSpPr>
                <p:spPr>
                  <a:xfrm>
                    <a:off x="-1" y="0"/>
                    <a:ext cx="1726806" cy="1030433"/>
                  </a:xfrm>
                  <a:prstGeom prst="roundRect">
                    <a:avLst>
                      <a:gd name="adj" fmla="val 17206"/>
                    </a:avLst>
                  </a:prstGeom>
                  <a:solidFill>
                    <a:srgbClr val="22C00F"/>
                  </a:solidFill>
                  <a:ln/>
                </p:spPr>
                <p:style>
                  <a:lnRef idx="1">
                    <a:schemeClr val="accent5"/>
                  </a:lnRef>
                  <a:fillRef idx="3">
                    <a:schemeClr val="accent5"/>
                  </a:fillRef>
                  <a:effectRef idx="2">
                    <a:schemeClr val="accent5"/>
                  </a:effectRef>
                  <a:fontRef idx="minor">
                    <a:schemeClr val="lt1"/>
                  </a:fontRef>
                </p:style>
                <p:txBody>
                  <a:bodyPr wrap="square" lIns="38100" tIns="38100" rIns="38100" bIns="38100" numCol="1" anchor="ctr">
                    <a:noAutofit/>
                  </a:bodyPr>
                  <a:lstStyle/>
                  <a:p>
                    <a:pPr algn="l">
                      <a:spcBef>
                        <a:spcPts val="1000"/>
                      </a:spcBef>
                      <a:defRPr sz="2700">
                        <a:solidFill>
                          <a:srgbClr val="000000"/>
                        </a:solidFill>
                        <a:effectLst/>
                      </a:defRPr>
                    </a:pPr>
                    <a:r>
                      <a:rPr lang="en-GB" sz="2000" dirty="0">
                        <a:solidFill>
                          <a:srgbClr val="000000"/>
                        </a:solidFill>
                      </a:rPr>
                      <a:t>44.452 </a:t>
                    </a:r>
                    <a:r>
                      <a:rPr lang="en-GB" sz="2000" dirty="0"/>
                      <a:t>(₦’BN)</a:t>
                    </a:r>
                    <a:endParaRPr sz="2000" dirty="0"/>
                  </a:p>
                </p:txBody>
              </p:sp>
              <p:sp>
                <p:nvSpPr>
                  <p:cNvPr id="120" name="Text"/>
                  <p:cNvSpPr/>
                  <p:nvPr/>
                </p:nvSpPr>
                <p:spPr>
                  <a:xfrm>
                    <a:off x="51927" y="515203"/>
                    <a:ext cx="2533417" cy="2"/>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45718" tIns="45718" rIns="45718" bIns="45718" numCol="1" anchor="ctr">
                    <a:spAutoFit/>
                  </a:bodyPr>
                  <a:lstStyle/>
                  <a:p>
                    <a:pPr algn="l">
                      <a:spcBef>
                        <a:spcPts val="1000"/>
                      </a:spcBef>
                      <a:defRPr sz="2700">
                        <a:solidFill>
                          <a:srgbClr val="000000"/>
                        </a:solidFill>
                        <a:effectLst/>
                      </a:defRPr>
                    </a:pPr>
                    <a:endParaRPr dirty="0"/>
                  </a:p>
                </p:txBody>
              </p:sp>
            </p:grpSp>
            <p:grpSp>
              <p:nvGrpSpPr>
                <p:cNvPr id="105" name="Group"/>
                <p:cNvGrpSpPr/>
                <p:nvPr/>
              </p:nvGrpSpPr>
              <p:grpSpPr>
                <a:xfrm>
                  <a:off x="-1" y="10255"/>
                  <a:ext cx="1004617" cy="1009925"/>
                  <a:chOff x="0" y="0"/>
                  <a:chExt cx="1004615" cy="1009924"/>
                </a:xfrm>
              </p:grpSpPr>
              <p:sp>
                <p:nvSpPr>
                  <p:cNvPr id="106" name="Rectangle: Rounded Corners 28"/>
                  <p:cNvSpPr/>
                  <p:nvPr/>
                </p:nvSpPr>
                <p:spPr>
                  <a:xfrm>
                    <a:off x="0" y="0"/>
                    <a:ext cx="1004615" cy="1009924"/>
                  </a:xfrm>
                  <a:prstGeom prst="roundRect">
                    <a:avLst>
                      <a:gd name="adj" fmla="val 6667"/>
                    </a:avLst>
                  </a:prstGeom>
                  <a:solidFill>
                    <a:srgbClr val="8A6705"/>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defTabSz="914400">
                      <a:defRPr sz="1800" b="0" cap="none">
                        <a:solidFill>
                          <a:srgbClr val="FFFFFF"/>
                        </a:solidFill>
                        <a:effectLst/>
                        <a:latin typeface="Calibri"/>
                        <a:ea typeface="Calibri"/>
                        <a:cs typeface="Calibri"/>
                        <a:sym typeface="Calibri"/>
                      </a:defRPr>
                    </a:pPr>
                    <a:endParaRPr dirty="0"/>
                  </a:p>
                </p:txBody>
              </p:sp>
              <p:sp>
                <p:nvSpPr>
                  <p:cNvPr id="107" name="Freeform: Shape 78"/>
                  <p:cNvSpPr/>
                  <p:nvPr/>
                </p:nvSpPr>
                <p:spPr>
                  <a:xfrm>
                    <a:off x="166672" y="544685"/>
                    <a:ext cx="178122" cy="156842"/>
                  </a:xfrm>
                  <a:custGeom>
                    <a:avLst/>
                    <a:gdLst/>
                    <a:ahLst/>
                    <a:cxnLst>
                      <a:cxn ang="0">
                        <a:pos x="wd2" y="hd2"/>
                      </a:cxn>
                      <a:cxn ang="5400000">
                        <a:pos x="wd2" y="hd2"/>
                      </a:cxn>
                      <a:cxn ang="10800000">
                        <a:pos x="wd2" y="hd2"/>
                      </a:cxn>
                      <a:cxn ang="16200000">
                        <a:pos x="wd2" y="hd2"/>
                      </a:cxn>
                    </a:cxnLst>
                    <a:rect l="0" t="0" r="r" b="b"/>
                    <a:pathLst>
                      <a:path w="21600" h="21600" extrusionOk="0">
                        <a:moveTo>
                          <a:pt x="19421" y="0"/>
                        </a:moveTo>
                        <a:lnTo>
                          <a:pt x="0" y="0"/>
                        </a:lnTo>
                        <a:cubicBezTo>
                          <a:pt x="956" y="7858"/>
                          <a:pt x="3651" y="15283"/>
                          <a:pt x="7856" y="21600"/>
                        </a:cubicBezTo>
                        <a:lnTo>
                          <a:pt x="21600" y="5992"/>
                        </a:lnTo>
                        <a:cubicBezTo>
                          <a:pt x="20644" y="4125"/>
                          <a:pt x="19899" y="2106"/>
                          <a:pt x="19421"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08" name="Freeform: Shape 79"/>
                  <p:cNvSpPr/>
                  <p:nvPr/>
                </p:nvSpPr>
                <p:spPr>
                  <a:xfrm>
                    <a:off x="297661" y="654393"/>
                    <a:ext cx="157631" cy="178281"/>
                  </a:xfrm>
                  <a:custGeom>
                    <a:avLst/>
                    <a:gdLst/>
                    <a:ahLst/>
                    <a:cxnLst>
                      <a:cxn ang="0">
                        <a:pos x="wd2" y="hd2"/>
                      </a:cxn>
                      <a:cxn ang="5400000">
                        <a:pos x="wd2" y="hd2"/>
                      </a:cxn>
                      <a:cxn ang="10800000">
                        <a:pos x="wd2" y="hd2"/>
                      </a:cxn>
                      <a:cxn ang="16200000">
                        <a:pos x="wd2" y="hd2"/>
                      </a:cxn>
                    </a:cxnLst>
                    <a:rect l="0" t="0" r="r" b="b"/>
                    <a:pathLst>
                      <a:path w="21600" h="21600" extrusionOk="0">
                        <a:moveTo>
                          <a:pt x="15509" y="0"/>
                        </a:moveTo>
                        <a:lnTo>
                          <a:pt x="0" y="13732"/>
                        </a:lnTo>
                        <a:cubicBezTo>
                          <a:pt x="6307" y="17952"/>
                          <a:pt x="13738" y="20664"/>
                          <a:pt x="21600" y="21600"/>
                        </a:cubicBezTo>
                        <a:lnTo>
                          <a:pt x="21600" y="2196"/>
                        </a:lnTo>
                        <a:cubicBezTo>
                          <a:pt x="19462" y="1700"/>
                          <a:pt x="17431" y="974"/>
                          <a:pt x="15509"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09" name="Freeform: Shape 80"/>
                  <p:cNvSpPr/>
                  <p:nvPr/>
                </p:nvSpPr>
                <p:spPr>
                  <a:xfrm>
                    <a:off x="548133" y="164956"/>
                    <a:ext cx="286887" cy="287044"/>
                  </a:xfrm>
                  <a:custGeom>
                    <a:avLst/>
                    <a:gdLst/>
                    <a:ahLst/>
                    <a:cxnLst>
                      <a:cxn ang="0">
                        <a:pos x="wd2" y="hd2"/>
                      </a:cxn>
                      <a:cxn ang="5400000">
                        <a:pos x="wd2" y="hd2"/>
                      </a:cxn>
                      <a:cxn ang="10800000">
                        <a:pos x="wd2" y="hd2"/>
                      </a:cxn>
                      <a:cxn ang="16200000">
                        <a:pos x="wd2" y="hd2"/>
                      </a:cxn>
                    </a:cxnLst>
                    <a:rect l="0" t="0" r="r" b="b"/>
                    <a:pathLst>
                      <a:path w="21600" h="21600" extrusionOk="0">
                        <a:moveTo>
                          <a:pt x="83" y="0"/>
                        </a:moveTo>
                        <a:cubicBezTo>
                          <a:pt x="47" y="4413"/>
                          <a:pt x="12" y="10094"/>
                          <a:pt x="0" y="12075"/>
                        </a:cubicBezTo>
                        <a:cubicBezTo>
                          <a:pt x="4640" y="13332"/>
                          <a:pt x="8260" y="16962"/>
                          <a:pt x="9506" y="21600"/>
                        </a:cubicBezTo>
                        <a:lnTo>
                          <a:pt x="21600" y="21576"/>
                        </a:lnTo>
                        <a:cubicBezTo>
                          <a:pt x="20010" y="10415"/>
                          <a:pt x="11251" y="1625"/>
                          <a:pt x="83"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10" name="Freeform: Shape 81"/>
                  <p:cNvSpPr/>
                  <p:nvPr/>
                </p:nvSpPr>
                <p:spPr>
                  <a:xfrm>
                    <a:off x="350152" y="180718"/>
                    <a:ext cx="104036" cy="119800"/>
                  </a:xfrm>
                  <a:custGeom>
                    <a:avLst/>
                    <a:gdLst/>
                    <a:ahLst/>
                    <a:cxnLst>
                      <a:cxn ang="0">
                        <a:pos x="wd2" y="hd2"/>
                      </a:cxn>
                      <a:cxn ang="5400000">
                        <a:pos x="wd2" y="hd2"/>
                      </a:cxn>
                      <a:cxn ang="10800000">
                        <a:pos x="wd2" y="hd2"/>
                      </a:cxn>
                      <a:cxn ang="16200000">
                        <a:pos x="wd2" y="hd2"/>
                      </a:cxn>
                    </a:cxnLst>
                    <a:rect l="0" t="0" r="r" b="b"/>
                    <a:pathLst>
                      <a:path w="21600" h="21600" extrusionOk="0">
                        <a:moveTo>
                          <a:pt x="7789" y="0"/>
                        </a:moveTo>
                        <a:cubicBezTo>
                          <a:pt x="5138" y="824"/>
                          <a:pt x="2520" y="1791"/>
                          <a:pt x="0" y="2899"/>
                        </a:cubicBezTo>
                        <a:lnTo>
                          <a:pt x="21535" y="21600"/>
                        </a:lnTo>
                        <a:lnTo>
                          <a:pt x="21600" y="11994"/>
                        </a:lnTo>
                        <a:lnTo>
                          <a:pt x="7789"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11" name="Freeform: Shape 82"/>
                  <p:cNvSpPr/>
                  <p:nvPr/>
                </p:nvSpPr>
                <p:spPr>
                  <a:xfrm>
                    <a:off x="295297" y="209408"/>
                    <a:ext cx="149749" cy="134774"/>
                  </a:xfrm>
                  <a:custGeom>
                    <a:avLst/>
                    <a:gdLst/>
                    <a:ahLst/>
                    <a:cxnLst>
                      <a:cxn ang="0">
                        <a:pos x="wd2" y="hd2"/>
                      </a:cxn>
                      <a:cxn ang="5400000">
                        <a:pos x="wd2" y="hd2"/>
                      </a:cxn>
                      <a:cxn ang="10800000">
                        <a:pos x="wd2" y="hd2"/>
                      </a:cxn>
                      <a:cxn ang="16200000">
                        <a:pos x="wd2" y="hd2"/>
                      </a:cxn>
                    </a:cxnLst>
                    <a:rect l="0" t="0" r="r" b="b"/>
                    <a:pathLst>
                      <a:path w="21600" h="21600" extrusionOk="0">
                        <a:moveTo>
                          <a:pt x="4593" y="0"/>
                        </a:moveTo>
                        <a:cubicBezTo>
                          <a:pt x="3001" y="1061"/>
                          <a:pt x="1478" y="2223"/>
                          <a:pt x="0" y="3486"/>
                        </a:cubicBezTo>
                        <a:lnTo>
                          <a:pt x="16302" y="21600"/>
                        </a:lnTo>
                        <a:cubicBezTo>
                          <a:pt x="17985" y="20488"/>
                          <a:pt x="19758" y="19579"/>
                          <a:pt x="21600" y="18897"/>
                        </a:cubicBezTo>
                        <a:lnTo>
                          <a:pt x="4593"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12" name="Freeform: Shape 83"/>
                  <p:cNvSpPr/>
                  <p:nvPr/>
                </p:nvSpPr>
                <p:spPr>
                  <a:xfrm>
                    <a:off x="414937" y="164482"/>
                    <a:ext cx="39567" cy="47291"/>
                  </a:xfrm>
                  <a:custGeom>
                    <a:avLst/>
                    <a:gdLst/>
                    <a:ahLst/>
                    <a:cxnLst>
                      <a:cxn ang="0">
                        <a:pos x="wd2" y="hd2"/>
                      </a:cxn>
                      <a:cxn ang="5400000">
                        <a:pos x="wd2" y="hd2"/>
                      </a:cxn>
                      <a:cxn ang="10800000">
                        <a:pos x="wd2" y="hd2"/>
                      </a:cxn>
                      <a:cxn ang="16200000">
                        <a:pos x="wd2" y="hd2"/>
                      </a:cxn>
                    </a:cxnLst>
                    <a:rect l="0" t="0" r="r" b="b"/>
                    <a:pathLst>
                      <a:path w="21600" h="21600" extrusionOk="0">
                        <a:moveTo>
                          <a:pt x="0" y="3600"/>
                        </a:moveTo>
                        <a:lnTo>
                          <a:pt x="21514" y="21600"/>
                        </a:lnTo>
                        <a:lnTo>
                          <a:pt x="21600" y="0"/>
                        </a:lnTo>
                        <a:cubicBezTo>
                          <a:pt x="14285" y="864"/>
                          <a:pt x="7143" y="2016"/>
                          <a:pt x="0" y="360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13" name="Freeform: Shape 84"/>
                  <p:cNvSpPr/>
                  <p:nvPr/>
                </p:nvSpPr>
                <p:spPr>
                  <a:xfrm>
                    <a:off x="249270" y="247396"/>
                    <a:ext cx="138400" cy="138401"/>
                  </a:xfrm>
                  <a:custGeom>
                    <a:avLst/>
                    <a:gdLst/>
                    <a:ahLst/>
                    <a:cxnLst>
                      <a:cxn ang="0">
                        <a:pos x="wd2" y="hd2"/>
                      </a:cxn>
                      <a:cxn ang="5400000">
                        <a:pos x="wd2" y="hd2"/>
                      </a:cxn>
                      <a:cxn ang="10800000">
                        <a:pos x="wd2" y="hd2"/>
                      </a:cxn>
                      <a:cxn ang="16200000">
                        <a:pos x="wd2" y="hd2"/>
                      </a:cxn>
                    </a:cxnLst>
                    <a:rect l="0" t="0" r="r" b="b"/>
                    <a:pathLst>
                      <a:path w="21600" h="21600" extrusionOk="0">
                        <a:moveTo>
                          <a:pt x="4182" y="0"/>
                        </a:moveTo>
                        <a:cubicBezTo>
                          <a:pt x="3469" y="640"/>
                          <a:pt x="2755" y="1304"/>
                          <a:pt x="2067" y="1993"/>
                        </a:cubicBezTo>
                        <a:cubicBezTo>
                          <a:pt x="1353" y="2706"/>
                          <a:pt x="664" y="3444"/>
                          <a:pt x="0" y="4182"/>
                        </a:cubicBezTo>
                        <a:lnTo>
                          <a:pt x="17418" y="21600"/>
                        </a:lnTo>
                        <a:cubicBezTo>
                          <a:pt x="18672" y="20075"/>
                          <a:pt x="20050" y="18672"/>
                          <a:pt x="21600" y="17418"/>
                        </a:cubicBezTo>
                        <a:lnTo>
                          <a:pt x="4182"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14" name="Freeform: Shape 85"/>
                  <p:cNvSpPr/>
                  <p:nvPr/>
                </p:nvSpPr>
                <p:spPr>
                  <a:xfrm>
                    <a:off x="166830" y="413063"/>
                    <a:ext cx="44611" cy="37045"/>
                  </a:xfrm>
                  <a:custGeom>
                    <a:avLst/>
                    <a:gdLst/>
                    <a:ahLst/>
                    <a:cxnLst>
                      <a:cxn ang="0">
                        <a:pos x="wd2" y="hd2"/>
                      </a:cxn>
                      <a:cxn ang="5400000">
                        <a:pos x="wd2" y="hd2"/>
                      </a:cxn>
                      <a:cxn ang="10800000">
                        <a:pos x="wd2" y="hd2"/>
                      </a:cxn>
                      <a:cxn ang="16200000">
                        <a:pos x="wd2" y="hd2"/>
                      </a:cxn>
                    </a:cxnLst>
                    <a:rect l="0" t="0" r="r" b="b"/>
                    <a:pathLst>
                      <a:path w="21600" h="21600" extrusionOk="0">
                        <a:moveTo>
                          <a:pt x="3664" y="0"/>
                        </a:moveTo>
                        <a:cubicBezTo>
                          <a:pt x="2137" y="7077"/>
                          <a:pt x="916" y="14339"/>
                          <a:pt x="0" y="21600"/>
                        </a:cubicBezTo>
                        <a:lnTo>
                          <a:pt x="21600" y="21600"/>
                        </a:lnTo>
                        <a:lnTo>
                          <a:pt x="3664"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15" name="Freeform: Shape 86"/>
                  <p:cNvSpPr/>
                  <p:nvPr/>
                </p:nvSpPr>
                <p:spPr>
                  <a:xfrm>
                    <a:off x="182908" y="348436"/>
                    <a:ext cx="117751" cy="101673"/>
                  </a:xfrm>
                  <a:custGeom>
                    <a:avLst/>
                    <a:gdLst/>
                    <a:ahLst/>
                    <a:cxnLst>
                      <a:cxn ang="0">
                        <a:pos x="wd2" y="hd2"/>
                      </a:cxn>
                      <a:cxn ang="5400000">
                        <a:pos x="wd2" y="hd2"/>
                      </a:cxn>
                      <a:cxn ang="10800000">
                        <a:pos x="wd2" y="hd2"/>
                      </a:cxn>
                      <a:cxn ang="16200000">
                        <a:pos x="wd2" y="hd2"/>
                      </a:cxn>
                    </a:cxnLst>
                    <a:rect l="0" t="0" r="r" b="b"/>
                    <a:pathLst>
                      <a:path w="21600" h="21600" extrusionOk="0">
                        <a:moveTo>
                          <a:pt x="2920" y="0"/>
                        </a:moveTo>
                        <a:cubicBezTo>
                          <a:pt x="1793" y="2579"/>
                          <a:pt x="839" y="5224"/>
                          <a:pt x="0" y="7937"/>
                        </a:cubicBezTo>
                        <a:lnTo>
                          <a:pt x="11798" y="21600"/>
                        </a:lnTo>
                        <a:lnTo>
                          <a:pt x="21600" y="21600"/>
                        </a:lnTo>
                        <a:lnTo>
                          <a:pt x="2920"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16" name="Freeform: Shape 87"/>
                  <p:cNvSpPr/>
                  <p:nvPr/>
                </p:nvSpPr>
                <p:spPr>
                  <a:xfrm>
                    <a:off x="211596" y="293739"/>
                    <a:ext cx="134617" cy="149750"/>
                  </a:xfrm>
                  <a:custGeom>
                    <a:avLst/>
                    <a:gdLst/>
                    <a:ahLst/>
                    <a:cxnLst>
                      <a:cxn ang="0">
                        <a:pos x="wd2" y="hd2"/>
                      </a:cxn>
                      <a:cxn ang="5400000">
                        <a:pos x="wd2" y="hd2"/>
                      </a:cxn>
                      <a:cxn ang="10800000">
                        <a:pos x="wd2" y="hd2"/>
                      </a:cxn>
                      <a:cxn ang="16200000">
                        <a:pos x="wd2" y="hd2"/>
                      </a:cxn>
                    </a:cxnLst>
                    <a:rect l="0" t="0" r="r" b="b"/>
                    <a:pathLst>
                      <a:path w="21600" h="21600" extrusionOk="0">
                        <a:moveTo>
                          <a:pt x="3465" y="0"/>
                        </a:moveTo>
                        <a:cubicBezTo>
                          <a:pt x="2200" y="1478"/>
                          <a:pt x="1062" y="3001"/>
                          <a:pt x="0" y="4593"/>
                        </a:cubicBezTo>
                        <a:lnTo>
                          <a:pt x="18919" y="21600"/>
                        </a:lnTo>
                        <a:cubicBezTo>
                          <a:pt x="19577" y="19736"/>
                          <a:pt x="20487" y="17962"/>
                          <a:pt x="21600" y="16302"/>
                        </a:cubicBezTo>
                        <a:lnTo>
                          <a:pt x="3465"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17" name="Freeform: Shape 88"/>
                  <p:cNvSpPr/>
                  <p:nvPr/>
                </p:nvSpPr>
                <p:spPr>
                  <a:xfrm>
                    <a:off x="622376" y="591869"/>
                    <a:ext cx="174969" cy="33313"/>
                  </a:xfrm>
                  <a:prstGeom prst="rect">
                    <a:avLst/>
                  </a:pr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18" name="Freeform: Shape 89"/>
                  <p:cNvSpPr/>
                  <p:nvPr/>
                </p:nvSpPr>
                <p:spPr>
                  <a:xfrm>
                    <a:off x="578240" y="554141"/>
                    <a:ext cx="261666" cy="291615"/>
                  </a:xfrm>
                  <a:custGeom>
                    <a:avLst/>
                    <a:gdLst/>
                    <a:ahLst/>
                    <a:cxnLst>
                      <a:cxn ang="0">
                        <a:pos x="wd2" y="hd2"/>
                      </a:cxn>
                      <a:cxn ang="5400000">
                        <a:pos x="wd2" y="hd2"/>
                      </a:cxn>
                      <a:cxn ang="10800000">
                        <a:pos x="wd2" y="hd2"/>
                      </a:cxn>
                      <a:cxn ang="16200000">
                        <a:pos x="wd2" y="hd2"/>
                      </a:cxn>
                    </a:cxnLst>
                    <a:rect l="0" t="0" r="r" b="b"/>
                    <a:pathLst>
                      <a:path w="21600" h="21600" extrusionOk="0">
                        <a:moveTo>
                          <a:pt x="18737" y="0"/>
                        </a:moveTo>
                        <a:lnTo>
                          <a:pt x="2863" y="0"/>
                        </a:lnTo>
                        <a:cubicBezTo>
                          <a:pt x="1275" y="0"/>
                          <a:pt x="0" y="1144"/>
                          <a:pt x="0" y="2569"/>
                        </a:cubicBezTo>
                        <a:lnTo>
                          <a:pt x="0" y="19031"/>
                        </a:lnTo>
                        <a:cubicBezTo>
                          <a:pt x="0" y="20456"/>
                          <a:pt x="1275" y="21600"/>
                          <a:pt x="2863" y="21600"/>
                        </a:cubicBezTo>
                        <a:lnTo>
                          <a:pt x="18737" y="21600"/>
                        </a:lnTo>
                        <a:cubicBezTo>
                          <a:pt x="20325" y="21600"/>
                          <a:pt x="21600" y="20456"/>
                          <a:pt x="21600" y="19031"/>
                        </a:cubicBezTo>
                        <a:lnTo>
                          <a:pt x="21600" y="2569"/>
                        </a:lnTo>
                        <a:cubicBezTo>
                          <a:pt x="21600" y="1144"/>
                          <a:pt x="20325" y="0"/>
                          <a:pt x="18737" y="0"/>
                        </a:cubicBezTo>
                        <a:close/>
                        <a:moveTo>
                          <a:pt x="5595" y="19849"/>
                        </a:moveTo>
                        <a:lnTo>
                          <a:pt x="2537" y="19849"/>
                        </a:lnTo>
                        <a:cubicBezTo>
                          <a:pt x="1965" y="19849"/>
                          <a:pt x="1496" y="19428"/>
                          <a:pt x="1496" y="18915"/>
                        </a:cubicBezTo>
                        <a:cubicBezTo>
                          <a:pt x="1496" y="18401"/>
                          <a:pt x="1965" y="17981"/>
                          <a:pt x="2537" y="17981"/>
                        </a:cubicBezTo>
                        <a:lnTo>
                          <a:pt x="5595" y="17981"/>
                        </a:lnTo>
                        <a:cubicBezTo>
                          <a:pt x="6168" y="17981"/>
                          <a:pt x="6636" y="18401"/>
                          <a:pt x="6636" y="18915"/>
                        </a:cubicBezTo>
                        <a:cubicBezTo>
                          <a:pt x="6636" y="19428"/>
                          <a:pt x="6181" y="19849"/>
                          <a:pt x="5595" y="19849"/>
                        </a:cubicBezTo>
                        <a:close/>
                        <a:moveTo>
                          <a:pt x="5595" y="15178"/>
                        </a:moveTo>
                        <a:lnTo>
                          <a:pt x="2537" y="15178"/>
                        </a:lnTo>
                        <a:cubicBezTo>
                          <a:pt x="1965" y="15178"/>
                          <a:pt x="1496" y="14758"/>
                          <a:pt x="1496" y="14244"/>
                        </a:cubicBezTo>
                        <a:cubicBezTo>
                          <a:pt x="1496" y="13731"/>
                          <a:pt x="1965" y="13310"/>
                          <a:pt x="2537" y="13310"/>
                        </a:cubicBezTo>
                        <a:lnTo>
                          <a:pt x="5595" y="13310"/>
                        </a:lnTo>
                        <a:cubicBezTo>
                          <a:pt x="6168" y="13310"/>
                          <a:pt x="6636" y="13731"/>
                          <a:pt x="6636" y="14244"/>
                        </a:cubicBezTo>
                        <a:cubicBezTo>
                          <a:pt x="6636" y="14758"/>
                          <a:pt x="6181" y="15178"/>
                          <a:pt x="5595" y="15178"/>
                        </a:cubicBezTo>
                        <a:close/>
                        <a:moveTo>
                          <a:pt x="5595" y="10391"/>
                        </a:moveTo>
                        <a:lnTo>
                          <a:pt x="2537" y="10391"/>
                        </a:lnTo>
                        <a:cubicBezTo>
                          <a:pt x="1965" y="10391"/>
                          <a:pt x="1496" y="9971"/>
                          <a:pt x="1496" y="9457"/>
                        </a:cubicBezTo>
                        <a:cubicBezTo>
                          <a:pt x="1496" y="8944"/>
                          <a:pt x="1965" y="8523"/>
                          <a:pt x="2537" y="8523"/>
                        </a:cubicBezTo>
                        <a:lnTo>
                          <a:pt x="5595" y="8523"/>
                        </a:lnTo>
                        <a:cubicBezTo>
                          <a:pt x="6168" y="8523"/>
                          <a:pt x="6636" y="8944"/>
                          <a:pt x="6636" y="9457"/>
                        </a:cubicBezTo>
                        <a:cubicBezTo>
                          <a:pt x="6636" y="9971"/>
                          <a:pt x="6181" y="10391"/>
                          <a:pt x="5595" y="10391"/>
                        </a:cubicBezTo>
                        <a:close/>
                        <a:moveTo>
                          <a:pt x="12309" y="19849"/>
                        </a:moveTo>
                        <a:lnTo>
                          <a:pt x="9252" y="19849"/>
                        </a:lnTo>
                        <a:cubicBezTo>
                          <a:pt x="8679" y="19849"/>
                          <a:pt x="8211" y="19428"/>
                          <a:pt x="8211" y="18915"/>
                        </a:cubicBezTo>
                        <a:cubicBezTo>
                          <a:pt x="8211" y="18401"/>
                          <a:pt x="8679" y="17981"/>
                          <a:pt x="9252" y="17981"/>
                        </a:cubicBezTo>
                        <a:lnTo>
                          <a:pt x="12309" y="17981"/>
                        </a:lnTo>
                        <a:cubicBezTo>
                          <a:pt x="12882" y="17981"/>
                          <a:pt x="13350" y="18401"/>
                          <a:pt x="13350" y="18915"/>
                        </a:cubicBezTo>
                        <a:cubicBezTo>
                          <a:pt x="13350" y="19428"/>
                          <a:pt x="12882" y="19849"/>
                          <a:pt x="12309" y="19849"/>
                        </a:cubicBezTo>
                        <a:close/>
                        <a:moveTo>
                          <a:pt x="12309" y="15178"/>
                        </a:moveTo>
                        <a:lnTo>
                          <a:pt x="9252" y="15178"/>
                        </a:lnTo>
                        <a:cubicBezTo>
                          <a:pt x="8679" y="15178"/>
                          <a:pt x="8211" y="14758"/>
                          <a:pt x="8211" y="14244"/>
                        </a:cubicBezTo>
                        <a:cubicBezTo>
                          <a:pt x="8211" y="13731"/>
                          <a:pt x="8679" y="13310"/>
                          <a:pt x="9252" y="13310"/>
                        </a:cubicBezTo>
                        <a:lnTo>
                          <a:pt x="12309" y="13310"/>
                        </a:lnTo>
                        <a:cubicBezTo>
                          <a:pt x="12882" y="13310"/>
                          <a:pt x="13350" y="13731"/>
                          <a:pt x="13350" y="14244"/>
                        </a:cubicBezTo>
                        <a:cubicBezTo>
                          <a:pt x="13350" y="14758"/>
                          <a:pt x="12882" y="15178"/>
                          <a:pt x="12309" y="15178"/>
                        </a:cubicBezTo>
                        <a:close/>
                        <a:moveTo>
                          <a:pt x="12309" y="10391"/>
                        </a:moveTo>
                        <a:lnTo>
                          <a:pt x="9252" y="10391"/>
                        </a:lnTo>
                        <a:cubicBezTo>
                          <a:pt x="8679" y="10391"/>
                          <a:pt x="8211" y="9971"/>
                          <a:pt x="8211" y="9457"/>
                        </a:cubicBezTo>
                        <a:cubicBezTo>
                          <a:pt x="8211" y="8944"/>
                          <a:pt x="8679" y="8523"/>
                          <a:pt x="9252" y="8523"/>
                        </a:cubicBezTo>
                        <a:lnTo>
                          <a:pt x="12309" y="8523"/>
                        </a:lnTo>
                        <a:cubicBezTo>
                          <a:pt x="12882" y="8523"/>
                          <a:pt x="13350" y="8944"/>
                          <a:pt x="13350" y="9457"/>
                        </a:cubicBezTo>
                        <a:cubicBezTo>
                          <a:pt x="13350" y="9971"/>
                          <a:pt x="12882" y="10391"/>
                          <a:pt x="12309" y="10391"/>
                        </a:cubicBezTo>
                        <a:close/>
                        <a:moveTo>
                          <a:pt x="19037" y="19849"/>
                        </a:moveTo>
                        <a:lnTo>
                          <a:pt x="15979" y="19849"/>
                        </a:lnTo>
                        <a:cubicBezTo>
                          <a:pt x="15406" y="19849"/>
                          <a:pt x="14938" y="19428"/>
                          <a:pt x="14938" y="18915"/>
                        </a:cubicBezTo>
                        <a:cubicBezTo>
                          <a:pt x="14938" y="18401"/>
                          <a:pt x="15406" y="17981"/>
                          <a:pt x="15979" y="17981"/>
                        </a:cubicBezTo>
                        <a:lnTo>
                          <a:pt x="19037" y="17981"/>
                        </a:lnTo>
                        <a:cubicBezTo>
                          <a:pt x="19609" y="17981"/>
                          <a:pt x="20078" y="18401"/>
                          <a:pt x="20078" y="18915"/>
                        </a:cubicBezTo>
                        <a:cubicBezTo>
                          <a:pt x="20078" y="19428"/>
                          <a:pt x="19609" y="19849"/>
                          <a:pt x="19037" y="19849"/>
                        </a:cubicBezTo>
                        <a:close/>
                        <a:moveTo>
                          <a:pt x="19037" y="15178"/>
                        </a:moveTo>
                        <a:lnTo>
                          <a:pt x="15979" y="15178"/>
                        </a:lnTo>
                        <a:cubicBezTo>
                          <a:pt x="15406" y="15178"/>
                          <a:pt x="14938" y="14758"/>
                          <a:pt x="14938" y="14244"/>
                        </a:cubicBezTo>
                        <a:cubicBezTo>
                          <a:pt x="14938" y="13731"/>
                          <a:pt x="15406" y="13310"/>
                          <a:pt x="15979" y="13310"/>
                        </a:cubicBezTo>
                        <a:lnTo>
                          <a:pt x="19037" y="13310"/>
                        </a:lnTo>
                        <a:cubicBezTo>
                          <a:pt x="19609" y="13310"/>
                          <a:pt x="20078" y="13731"/>
                          <a:pt x="20078" y="14244"/>
                        </a:cubicBezTo>
                        <a:cubicBezTo>
                          <a:pt x="20078" y="14758"/>
                          <a:pt x="19609" y="15178"/>
                          <a:pt x="19037" y="15178"/>
                        </a:cubicBezTo>
                        <a:close/>
                        <a:moveTo>
                          <a:pt x="19037" y="10391"/>
                        </a:moveTo>
                        <a:lnTo>
                          <a:pt x="15979" y="10391"/>
                        </a:lnTo>
                        <a:cubicBezTo>
                          <a:pt x="15406" y="10391"/>
                          <a:pt x="14938" y="9971"/>
                          <a:pt x="14938" y="9457"/>
                        </a:cubicBezTo>
                        <a:cubicBezTo>
                          <a:pt x="14938" y="8944"/>
                          <a:pt x="15406" y="8523"/>
                          <a:pt x="15979" y="8523"/>
                        </a:cubicBezTo>
                        <a:lnTo>
                          <a:pt x="19037" y="8523"/>
                        </a:lnTo>
                        <a:cubicBezTo>
                          <a:pt x="19609" y="8523"/>
                          <a:pt x="20078" y="8944"/>
                          <a:pt x="20078" y="9457"/>
                        </a:cubicBezTo>
                        <a:cubicBezTo>
                          <a:pt x="20078" y="9971"/>
                          <a:pt x="19609" y="10391"/>
                          <a:pt x="19037" y="10391"/>
                        </a:cubicBezTo>
                        <a:close/>
                        <a:moveTo>
                          <a:pt x="20169" y="5838"/>
                        </a:moveTo>
                        <a:cubicBezTo>
                          <a:pt x="20169" y="6352"/>
                          <a:pt x="19700" y="6772"/>
                          <a:pt x="19128" y="6772"/>
                        </a:cubicBezTo>
                        <a:lnTo>
                          <a:pt x="2602" y="6772"/>
                        </a:lnTo>
                        <a:cubicBezTo>
                          <a:pt x="2030" y="6772"/>
                          <a:pt x="1561" y="6352"/>
                          <a:pt x="1561" y="5838"/>
                        </a:cubicBezTo>
                        <a:lnTo>
                          <a:pt x="1561" y="2218"/>
                        </a:lnTo>
                        <a:cubicBezTo>
                          <a:pt x="1561" y="1705"/>
                          <a:pt x="2030" y="1284"/>
                          <a:pt x="2602" y="1284"/>
                        </a:cubicBezTo>
                        <a:lnTo>
                          <a:pt x="19128" y="1284"/>
                        </a:lnTo>
                        <a:cubicBezTo>
                          <a:pt x="19700" y="1284"/>
                          <a:pt x="20169" y="1705"/>
                          <a:pt x="20169" y="2218"/>
                        </a:cubicBezTo>
                        <a:lnTo>
                          <a:pt x="20169" y="5838"/>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grpSp>
          </p:grpSp>
          <p:sp>
            <p:nvSpPr>
              <p:cNvPr id="102" name="Provision"/>
              <p:cNvSpPr/>
              <p:nvPr/>
            </p:nvSpPr>
            <p:spPr>
              <a:xfrm>
                <a:off x="-1" y="171035"/>
                <a:ext cx="1825643" cy="869454"/>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25400" cap="flat">
                <a:solidFill>
                  <a:srgbClr val="22BF00"/>
                </a:solidFill>
                <a:prstDash val="solid"/>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21918" tIns="121918" rIns="121918" bIns="121918" numCol="1" anchor="t">
                <a:spAutoFit/>
              </a:bodyPr>
              <a:lstStyle>
                <a:lvl1pPr algn="l" defTabSz="2438400">
                  <a:defRPr sz="2900" b="0">
                    <a:solidFill>
                      <a:srgbClr val="000000"/>
                    </a:solidFill>
                    <a:effectLst>
                      <a:outerShdw blurRad="12700" dist="12700" dir="18900000" rotWithShape="0">
                        <a:srgbClr val="000000">
                          <a:alpha val="24000"/>
                        </a:srgbClr>
                      </a:outerShdw>
                    </a:effectLst>
                  </a:defRPr>
                </a:lvl1pPr>
              </a:lstStyle>
              <a:p>
                <a:r>
                  <a:rPr sz="2000" dirty="0"/>
                  <a:t>Provision</a:t>
                </a:r>
              </a:p>
            </p:txBody>
          </p:sp>
          <p:sp>
            <p:nvSpPr>
              <p:cNvPr id="103" name="Actual"/>
              <p:cNvSpPr/>
              <p:nvPr/>
            </p:nvSpPr>
            <p:spPr>
              <a:xfrm>
                <a:off x="-1" y="1369554"/>
                <a:ext cx="1825643" cy="869454"/>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25400" cap="flat">
                <a:solidFill>
                  <a:schemeClr val="accent3"/>
                </a:solidFill>
                <a:prstDash val="solid"/>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21918" tIns="121918" rIns="121918" bIns="121918" numCol="1" anchor="t">
                <a:spAutoFit/>
              </a:bodyPr>
              <a:lstStyle>
                <a:lvl1pPr algn="l" defTabSz="2438400">
                  <a:defRPr sz="2900" b="0">
                    <a:solidFill>
                      <a:srgbClr val="000000"/>
                    </a:solidFill>
                    <a:effectLst>
                      <a:outerShdw blurRad="12700" dist="12700" dir="18900000" rotWithShape="0">
                        <a:srgbClr val="000000">
                          <a:alpha val="24000"/>
                        </a:srgbClr>
                      </a:outerShdw>
                    </a:effectLst>
                  </a:defRPr>
                </a:lvl1pPr>
              </a:lstStyle>
              <a:p>
                <a:r>
                  <a:rPr sz="2000" dirty="0"/>
                  <a:t>Actual</a:t>
                </a:r>
              </a:p>
            </p:txBody>
          </p:sp>
        </p:grpSp>
        <p:sp>
          <p:nvSpPr>
            <p:cNvPr id="99" name="TextBox 98"/>
            <p:cNvSpPr txBox="1"/>
            <p:nvPr/>
          </p:nvSpPr>
          <p:spPr>
            <a:xfrm>
              <a:off x="1566066" y="8026568"/>
              <a:ext cx="3797161"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r>
                <a:rPr lang="en-US" sz="2000" dirty="0">
                  <a:solidFill>
                    <a:schemeClr val="accent1">
                      <a:lumMod val="50000"/>
                    </a:schemeClr>
                  </a:solidFill>
                  <a:effectLst/>
                </a:rPr>
                <a:t>FEDERAL TRANSFERS</a:t>
              </a:r>
            </a:p>
          </p:txBody>
        </p:sp>
      </p:grpSp>
      <p:grpSp>
        <p:nvGrpSpPr>
          <p:cNvPr id="138" name="Group 137"/>
          <p:cNvGrpSpPr/>
          <p:nvPr/>
        </p:nvGrpSpPr>
        <p:grpSpPr>
          <a:xfrm>
            <a:off x="1566066" y="9073649"/>
            <a:ext cx="10808107" cy="1410325"/>
            <a:chOff x="1566066" y="9073649"/>
            <a:chExt cx="10808107" cy="1410325"/>
          </a:xfrm>
        </p:grpSpPr>
        <p:grpSp>
          <p:nvGrpSpPr>
            <p:cNvPr id="139" name="Group"/>
            <p:cNvGrpSpPr/>
            <p:nvPr/>
          </p:nvGrpSpPr>
          <p:grpSpPr>
            <a:xfrm>
              <a:off x="5217081" y="9073649"/>
              <a:ext cx="7157092" cy="1410325"/>
              <a:chOff x="-1" y="0"/>
              <a:chExt cx="6001040" cy="2255572"/>
            </a:xfrm>
          </p:grpSpPr>
          <p:grpSp>
            <p:nvGrpSpPr>
              <p:cNvPr id="141" name="Group"/>
              <p:cNvGrpSpPr/>
              <p:nvPr/>
            </p:nvGrpSpPr>
            <p:grpSpPr>
              <a:xfrm>
                <a:off x="2088173" y="0"/>
                <a:ext cx="3912866" cy="1030435"/>
                <a:chOff x="-1" y="0"/>
                <a:chExt cx="3912865" cy="1030434"/>
              </a:xfrm>
            </p:grpSpPr>
            <p:grpSp>
              <p:nvGrpSpPr>
                <p:cNvPr id="162" name="Rectangle: Rounded Corners 29"/>
                <p:cNvGrpSpPr/>
                <p:nvPr/>
              </p:nvGrpSpPr>
              <p:grpSpPr>
                <a:xfrm>
                  <a:off x="1108845" y="0"/>
                  <a:ext cx="2804019" cy="1030434"/>
                  <a:chOff x="0" y="0"/>
                  <a:chExt cx="2804018" cy="1030433"/>
                </a:xfrm>
              </p:grpSpPr>
              <p:sp>
                <p:nvSpPr>
                  <p:cNvPr id="177" name="Rounded Rectangle"/>
                  <p:cNvSpPr/>
                  <p:nvPr/>
                </p:nvSpPr>
                <p:spPr>
                  <a:xfrm>
                    <a:off x="0" y="0"/>
                    <a:ext cx="1844095" cy="1030433"/>
                  </a:xfrm>
                  <a:prstGeom prst="roundRect">
                    <a:avLst>
                      <a:gd name="adj" fmla="val 17206"/>
                    </a:avLst>
                  </a:prstGeom>
                  <a:ln/>
                </p:spPr>
                <p:style>
                  <a:lnRef idx="2">
                    <a:schemeClr val="dk1">
                      <a:shade val="50000"/>
                    </a:schemeClr>
                  </a:lnRef>
                  <a:fillRef idx="1">
                    <a:schemeClr val="dk1"/>
                  </a:fillRef>
                  <a:effectRef idx="0">
                    <a:schemeClr val="dk1"/>
                  </a:effectRef>
                  <a:fontRef idx="minor">
                    <a:schemeClr val="lt1"/>
                  </a:fontRef>
                </p:style>
                <p:txBody>
                  <a:bodyPr wrap="square" lIns="38100" tIns="38100" rIns="38100" bIns="38100" numCol="1" anchor="ctr">
                    <a:noAutofit/>
                  </a:bodyPr>
                  <a:lstStyle/>
                  <a:p>
                    <a:pPr algn="l">
                      <a:spcBef>
                        <a:spcPts val="1000"/>
                      </a:spcBef>
                      <a:defRPr sz="2700">
                        <a:solidFill>
                          <a:srgbClr val="000000"/>
                        </a:solidFill>
                        <a:effectLst/>
                      </a:defRPr>
                    </a:pPr>
                    <a:endParaRPr dirty="0"/>
                  </a:p>
                </p:txBody>
              </p:sp>
              <p:sp>
                <p:nvSpPr>
                  <p:cNvPr id="178" name="310,055 (₦’bn)"/>
                  <p:cNvSpPr/>
                  <p:nvPr/>
                </p:nvSpPr>
                <p:spPr>
                  <a:xfrm>
                    <a:off x="51925" y="195257"/>
                    <a:ext cx="2752093" cy="639897"/>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8" tIns="45718" rIns="45718" bIns="45718" numCol="1" anchor="ctr">
                    <a:spAutoFit/>
                  </a:bodyPr>
                  <a:lstStyle>
                    <a:lvl1pPr algn="l">
                      <a:spcBef>
                        <a:spcPts val="1000"/>
                      </a:spcBef>
                      <a:defRPr sz="2700">
                        <a:solidFill>
                          <a:srgbClr val="000000"/>
                        </a:solidFill>
                      </a:defRPr>
                    </a:lvl1pPr>
                  </a:lstStyle>
                  <a:p>
                    <a:pPr>
                      <a:defRPr>
                        <a:effectLst/>
                      </a:defRPr>
                    </a:pPr>
                    <a:r>
                      <a:rPr lang="en-US" sz="2000" dirty="0"/>
                      <a:t>180.954 </a:t>
                    </a:r>
                    <a:r>
                      <a:rPr sz="2000" dirty="0"/>
                      <a:t>(</a:t>
                    </a:r>
                    <a:r>
                      <a:rPr lang="en-GB" sz="2000" dirty="0"/>
                      <a:t>₦</a:t>
                    </a:r>
                    <a:r>
                      <a:rPr sz="2000" dirty="0"/>
                      <a:t>’</a:t>
                    </a:r>
                    <a:r>
                      <a:rPr lang="en-GB" sz="2000" dirty="0"/>
                      <a:t>BN</a:t>
                    </a:r>
                    <a:r>
                      <a:rPr sz="2000" dirty="0"/>
                      <a:t>)</a:t>
                    </a:r>
                  </a:p>
                </p:txBody>
              </p:sp>
            </p:grpSp>
            <p:grpSp>
              <p:nvGrpSpPr>
                <p:cNvPr id="163" name="Group"/>
                <p:cNvGrpSpPr/>
                <p:nvPr/>
              </p:nvGrpSpPr>
              <p:grpSpPr>
                <a:xfrm>
                  <a:off x="-1" y="10254"/>
                  <a:ext cx="1004617" cy="1009925"/>
                  <a:chOff x="0" y="0"/>
                  <a:chExt cx="1004615" cy="1009924"/>
                </a:xfrm>
              </p:grpSpPr>
              <p:sp>
                <p:nvSpPr>
                  <p:cNvPr id="164" name="Rectangle: Rounded Corners 28"/>
                  <p:cNvSpPr/>
                  <p:nvPr/>
                </p:nvSpPr>
                <p:spPr>
                  <a:xfrm>
                    <a:off x="0" y="0"/>
                    <a:ext cx="1004615" cy="1009924"/>
                  </a:xfrm>
                  <a:prstGeom prst="roundRect">
                    <a:avLst>
                      <a:gd name="adj" fmla="val 6667"/>
                    </a:avLst>
                  </a:prstGeom>
                  <a:solidFill>
                    <a:srgbClr val="008A3E"/>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defTabSz="914400">
                      <a:defRPr sz="1800" b="0" cap="none">
                        <a:solidFill>
                          <a:srgbClr val="FFFFFF"/>
                        </a:solidFill>
                        <a:effectLst/>
                        <a:latin typeface="Calibri"/>
                        <a:ea typeface="Calibri"/>
                        <a:cs typeface="Calibri"/>
                        <a:sym typeface="Calibri"/>
                      </a:defRPr>
                    </a:pPr>
                    <a:endParaRPr dirty="0"/>
                  </a:p>
                </p:txBody>
              </p:sp>
              <p:sp>
                <p:nvSpPr>
                  <p:cNvPr id="165" name="Freeform: Shape 78"/>
                  <p:cNvSpPr/>
                  <p:nvPr/>
                </p:nvSpPr>
                <p:spPr>
                  <a:xfrm>
                    <a:off x="166672" y="544685"/>
                    <a:ext cx="178122" cy="156842"/>
                  </a:xfrm>
                  <a:custGeom>
                    <a:avLst/>
                    <a:gdLst/>
                    <a:ahLst/>
                    <a:cxnLst>
                      <a:cxn ang="0">
                        <a:pos x="wd2" y="hd2"/>
                      </a:cxn>
                      <a:cxn ang="5400000">
                        <a:pos x="wd2" y="hd2"/>
                      </a:cxn>
                      <a:cxn ang="10800000">
                        <a:pos x="wd2" y="hd2"/>
                      </a:cxn>
                      <a:cxn ang="16200000">
                        <a:pos x="wd2" y="hd2"/>
                      </a:cxn>
                    </a:cxnLst>
                    <a:rect l="0" t="0" r="r" b="b"/>
                    <a:pathLst>
                      <a:path w="21600" h="21600" extrusionOk="0">
                        <a:moveTo>
                          <a:pt x="19421" y="0"/>
                        </a:moveTo>
                        <a:lnTo>
                          <a:pt x="0" y="0"/>
                        </a:lnTo>
                        <a:cubicBezTo>
                          <a:pt x="956" y="7858"/>
                          <a:pt x="3651" y="15283"/>
                          <a:pt x="7856" y="21600"/>
                        </a:cubicBezTo>
                        <a:lnTo>
                          <a:pt x="21600" y="5992"/>
                        </a:lnTo>
                        <a:cubicBezTo>
                          <a:pt x="20644" y="4125"/>
                          <a:pt x="19899" y="2106"/>
                          <a:pt x="19421"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66" name="Freeform: Shape 79"/>
                  <p:cNvSpPr/>
                  <p:nvPr/>
                </p:nvSpPr>
                <p:spPr>
                  <a:xfrm>
                    <a:off x="297661" y="654393"/>
                    <a:ext cx="157631" cy="178281"/>
                  </a:xfrm>
                  <a:custGeom>
                    <a:avLst/>
                    <a:gdLst/>
                    <a:ahLst/>
                    <a:cxnLst>
                      <a:cxn ang="0">
                        <a:pos x="wd2" y="hd2"/>
                      </a:cxn>
                      <a:cxn ang="5400000">
                        <a:pos x="wd2" y="hd2"/>
                      </a:cxn>
                      <a:cxn ang="10800000">
                        <a:pos x="wd2" y="hd2"/>
                      </a:cxn>
                      <a:cxn ang="16200000">
                        <a:pos x="wd2" y="hd2"/>
                      </a:cxn>
                    </a:cxnLst>
                    <a:rect l="0" t="0" r="r" b="b"/>
                    <a:pathLst>
                      <a:path w="21600" h="21600" extrusionOk="0">
                        <a:moveTo>
                          <a:pt x="15509" y="0"/>
                        </a:moveTo>
                        <a:lnTo>
                          <a:pt x="0" y="13732"/>
                        </a:lnTo>
                        <a:cubicBezTo>
                          <a:pt x="6307" y="17952"/>
                          <a:pt x="13738" y="20664"/>
                          <a:pt x="21600" y="21600"/>
                        </a:cubicBezTo>
                        <a:lnTo>
                          <a:pt x="21600" y="2196"/>
                        </a:lnTo>
                        <a:cubicBezTo>
                          <a:pt x="19462" y="1700"/>
                          <a:pt x="17431" y="974"/>
                          <a:pt x="15509"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67" name="Freeform: Shape 80"/>
                  <p:cNvSpPr/>
                  <p:nvPr/>
                </p:nvSpPr>
                <p:spPr>
                  <a:xfrm>
                    <a:off x="548133" y="164956"/>
                    <a:ext cx="286887" cy="287044"/>
                  </a:xfrm>
                  <a:custGeom>
                    <a:avLst/>
                    <a:gdLst/>
                    <a:ahLst/>
                    <a:cxnLst>
                      <a:cxn ang="0">
                        <a:pos x="wd2" y="hd2"/>
                      </a:cxn>
                      <a:cxn ang="5400000">
                        <a:pos x="wd2" y="hd2"/>
                      </a:cxn>
                      <a:cxn ang="10800000">
                        <a:pos x="wd2" y="hd2"/>
                      </a:cxn>
                      <a:cxn ang="16200000">
                        <a:pos x="wd2" y="hd2"/>
                      </a:cxn>
                    </a:cxnLst>
                    <a:rect l="0" t="0" r="r" b="b"/>
                    <a:pathLst>
                      <a:path w="21600" h="21600" extrusionOk="0">
                        <a:moveTo>
                          <a:pt x="83" y="0"/>
                        </a:moveTo>
                        <a:cubicBezTo>
                          <a:pt x="47" y="4413"/>
                          <a:pt x="12" y="10094"/>
                          <a:pt x="0" y="12075"/>
                        </a:cubicBezTo>
                        <a:cubicBezTo>
                          <a:pt x="4640" y="13332"/>
                          <a:pt x="8260" y="16962"/>
                          <a:pt x="9506" y="21600"/>
                        </a:cubicBezTo>
                        <a:lnTo>
                          <a:pt x="21600" y="21576"/>
                        </a:lnTo>
                        <a:cubicBezTo>
                          <a:pt x="20010" y="10415"/>
                          <a:pt x="11251" y="1625"/>
                          <a:pt x="83"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68" name="Freeform: Shape 81"/>
                  <p:cNvSpPr/>
                  <p:nvPr/>
                </p:nvSpPr>
                <p:spPr>
                  <a:xfrm>
                    <a:off x="350152" y="180718"/>
                    <a:ext cx="104036" cy="119800"/>
                  </a:xfrm>
                  <a:custGeom>
                    <a:avLst/>
                    <a:gdLst/>
                    <a:ahLst/>
                    <a:cxnLst>
                      <a:cxn ang="0">
                        <a:pos x="wd2" y="hd2"/>
                      </a:cxn>
                      <a:cxn ang="5400000">
                        <a:pos x="wd2" y="hd2"/>
                      </a:cxn>
                      <a:cxn ang="10800000">
                        <a:pos x="wd2" y="hd2"/>
                      </a:cxn>
                      <a:cxn ang="16200000">
                        <a:pos x="wd2" y="hd2"/>
                      </a:cxn>
                    </a:cxnLst>
                    <a:rect l="0" t="0" r="r" b="b"/>
                    <a:pathLst>
                      <a:path w="21600" h="21600" extrusionOk="0">
                        <a:moveTo>
                          <a:pt x="7789" y="0"/>
                        </a:moveTo>
                        <a:cubicBezTo>
                          <a:pt x="5138" y="824"/>
                          <a:pt x="2520" y="1791"/>
                          <a:pt x="0" y="2899"/>
                        </a:cubicBezTo>
                        <a:lnTo>
                          <a:pt x="21535" y="21600"/>
                        </a:lnTo>
                        <a:lnTo>
                          <a:pt x="21600" y="11994"/>
                        </a:lnTo>
                        <a:lnTo>
                          <a:pt x="7789"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69" name="Freeform: Shape 82"/>
                  <p:cNvSpPr/>
                  <p:nvPr/>
                </p:nvSpPr>
                <p:spPr>
                  <a:xfrm>
                    <a:off x="295297" y="209408"/>
                    <a:ext cx="149749" cy="134774"/>
                  </a:xfrm>
                  <a:custGeom>
                    <a:avLst/>
                    <a:gdLst/>
                    <a:ahLst/>
                    <a:cxnLst>
                      <a:cxn ang="0">
                        <a:pos x="wd2" y="hd2"/>
                      </a:cxn>
                      <a:cxn ang="5400000">
                        <a:pos x="wd2" y="hd2"/>
                      </a:cxn>
                      <a:cxn ang="10800000">
                        <a:pos x="wd2" y="hd2"/>
                      </a:cxn>
                      <a:cxn ang="16200000">
                        <a:pos x="wd2" y="hd2"/>
                      </a:cxn>
                    </a:cxnLst>
                    <a:rect l="0" t="0" r="r" b="b"/>
                    <a:pathLst>
                      <a:path w="21600" h="21600" extrusionOk="0">
                        <a:moveTo>
                          <a:pt x="4593" y="0"/>
                        </a:moveTo>
                        <a:cubicBezTo>
                          <a:pt x="3001" y="1061"/>
                          <a:pt x="1478" y="2223"/>
                          <a:pt x="0" y="3486"/>
                        </a:cubicBezTo>
                        <a:lnTo>
                          <a:pt x="16302" y="21600"/>
                        </a:lnTo>
                        <a:cubicBezTo>
                          <a:pt x="17985" y="20488"/>
                          <a:pt x="19758" y="19579"/>
                          <a:pt x="21600" y="18897"/>
                        </a:cubicBezTo>
                        <a:lnTo>
                          <a:pt x="4593"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70" name="Freeform: Shape 83"/>
                  <p:cNvSpPr/>
                  <p:nvPr/>
                </p:nvSpPr>
                <p:spPr>
                  <a:xfrm>
                    <a:off x="414937" y="164482"/>
                    <a:ext cx="39567" cy="47291"/>
                  </a:xfrm>
                  <a:custGeom>
                    <a:avLst/>
                    <a:gdLst/>
                    <a:ahLst/>
                    <a:cxnLst>
                      <a:cxn ang="0">
                        <a:pos x="wd2" y="hd2"/>
                      </a:cxn>
                      <a:cxn ang="5400000">
                        <a:pos x="wd2" y="hd2"/>
                      </a:cxn>
                      <a:cxn ang="10800000">
                        <a:pos x="wd2" y="hd2"/>
                      </a:cxn>
                      <a:cxn ang="16200000">
                        <a:pos x="wd2" y="hd2"/>
                      </a:cxn>
                    </a:cxnLst>
                    <a:rect l="0" t="0" r="r" b="b"/>
                    <a:pathLst>
                      <a:path w="21600" h="21600" extrusionOk="0">
                        <a:moveTo>
                          <a:pt x="0" y="3600"/>
                        </a:moveTo>
                        <a:lnTo>
                          <a:pt x="21514" y="21600"/>
                        </a:lnTo>
                        <a:lnTo>
                          <a:pt x="21600" y="0"/>
                        </a:lnTo>
                        <a:cubicBezTo>
                          <a:pt x="14285" y="864"/>
                          <a:pt x="7143" y="2016"/>
                          <a:pt x="0" y="360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71" name="Freeform: Shape 84"/>
                  <p:cNvSpPr/>
                  <p:nvPr/>
                </p:nvSpPr>
                <p:spPr>
                  <a:xfrm>
                    <a:off x="249270" y="247396"/>
                    <a:ext cx="138400" cy="138401"/>
                  </a:xfrm>
                  <a:custGeom>
                    <a:avLst/>
                    <a:gdLst/>
                    <a:ahLst/>
                    <a:cxnLst>
                      <a:cxn ang="0">
                        <a:pos x="wd2" y="hd2"/>
                      </a:cxn>
                      <a:cxn ang="5400000">
                        <a:pos x="wd2" y="hd2"/>
                      </a:cxn>
                      <a:cxn ang="10800000">
                        <a:pos x="wd2" y="hd2"/>
                      </a:cxn>
                      <a:cxn ang="16200000">
                        <a:pos x="wd2" y="hd2"/>
                      </a:cxn>
                    </a:cxnLst>
                    <a:rect l="0" t="0" r="r" b="b"/>
                    <a:pathLst>
                      <a:path w="21600" h="21600" extrusionOk="0">
                        <a:moveTo>
                          <a:pt x="4182" y="0"/>
                        </a:moveTo>
                        <a:cubicBezTo>
                          <a:pt x="3469" y="640"/>
                          <a:pt x="2755" y="1304"/>
                          <a:pt x="2067" y="1993"/>
                        </a:cubicBezTo>
                        <a:cubicBezTo>
                          <a:pt x="1353" y="2706"/>
                          <a:pt x="664" y="3444"/>
                          <a:pt x="0" y="4182"/>
                        </a:cubicBezTo>
                        <a:lnTo>
                          <a:pt x="17418" y="21600"/>
                        </a:lnTo>
                        <a:cubicBezTo>
                          <a:pt x="18672" y="20075"/>
                          <a:pt x="20050" y="18672"/>
                          <a:pt x="21600" y="17418"/>
                        </a:cubicBezTo>
                        <a:lnTo>
                          <a:pt x="4182"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72" name="Freeform: Shape 85"/>
                  <p:cNvSpPr/>
                  <p:nvPr/>
                </p:nvSpPr>
                <p:spPr>
                  <a:xfrm>
                    <a:off x="166830" y="413063"/>
                    <a:ext cx="44611" cy="37045"/>
                  </a:xfrm>
                  <a:custGeom>
                    <a:avLst/>
                    <a:gdLst/>
                    <a:ahLst/>
                    <a:cxnLst>
                      <a:cxn ang="0">
                        <a:pos x="wd2" y="hd2"/>
                      </a:cxn>
                      <a:cxn ang="5400000">
                        <a:pos x="wd2" y="hd2"/>
                      </a:cxn>
                      <a:cxn ang="10800000">
                        <a:pos x="wd2" y="hd2"/>
                      </a:cxn>
                      <a:cxn ang="16200000">
                        <a:pos x="wd2" y="hd2"/>
                      </a:cxn>
                    </a:cxnLst>
                    <a:rect l="0" t="0" r="r" b="b"/>
                    <a:pathLst>
                      <a:path w="21600" h="21600" extrusionOk="0">
                        <a:moveTo>
                          <a:pt x="3664" y="0"/>
                        </a:moveTo>
                        <a:cubicBezTo>
                          <a:pt x="2137" y="7077"/>
                          <a:pt x="916" y="14339"/>
                          <a:pt x="0" y="21600"/>
                        </a:cubicBezTo>
                        <a:lnTo>
                          <a:pt x="21600" y="21600"/>
                        </a:lnTo>
                        <a:lnTo>
                          <a:pt x="3664"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73" name="Freeform: Shape 86"/>
                  <p:cNvSpPr/>
                  <p:nvPr/>
                </p:nvSpPr>
                <p:spPr>
                  <a:xfrm>
                    <a:off x="182908" y="348436"/>
                    <a:ext cx="117751" cy="101673"/>
                  </a:xfrm>
                  <a:custGeom>
                    <a:avLst/>
                    <a:gdLst/>
                    <a:ahLst/>
                    <a:cxnLst>
                      <a:cxn ang="0">
                        <a:pos x="wd2" y="hd2"/>
                      </a:cxn>
                      <a:cxn ang="5400000">
                        <a:pos x="wd2" y="hd2"/>
                      </a:cxn>
                      <a:cxn ang="10800000">
                        <a:pos x="wd2" y="hd2"/>
                      </a:cxn>
                      <a:cxn ang="16200000">
                        <a:pos x="wd2" y="hd2"/>
                      </a:cxn>
                    </a:cxnLst>
                    <a:rect l="0" t="0" r="r" b="b"/>
                    <a:pathLst>
                      <a:path w="21600" h="21600" extrusionOk="0">
                        <a:moveTo>
                          <a:pt x="2920" y="0"/>
                        </a:moveTo>
                        <a:cubicBezTo>
                          <a:pt x="1793" y="2579"/>
                          <a:pt x="839" y="5224"/>
                          <a:pt x="0" y="7937"/>
                        </a:cubicBezTo>
                        <a:lnTo>
                          <a:pt x="11798" y="21600"/>
                        </a:lnTo>
                        <a:lnTo>
                          <a:pt x="21600" y="21600"/>
                        </a:lnTo>
                        <a:lnTo>
                          <a:pt x="2920"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74" name="Freeform: Shape 87"/>
                  <p:cNvSpPr/>
                  <p:nvPr/>
                </p:nvSpPr>
                <p:spPr>
                  <a:xfrm>
                    <a:off x="211596" y="293739"/>
                    <a:ext cx="134617" cy="149750"/>
                  </a:xfrm>
                  <a:custGeom>
                    <a:avLst/>
                    <a:gdLst/>
                    <a:ahLst/>
                    <a:cxnLst>
                      <a:cxn ang="0">
                        <a:pos x="wd2" y="hd2"/>
                      </a:cxn>
                      <a:cxn ang="5400000">
                        <a:pos x="wd2" y="hd2"/>
                      </a:cxn>
                      <a:cxn ang="10800000">
                        <a:pos x="wd2" y="hd2"/>
                      </a:cxn>
                      <a:cxn ang="16200000">
                        <a:pos x="wd2" y="hd2"/>
                      </a:cxn>
                    </a:cxnLst>
                    <a:rect l="0" t="0" r="r" b="b"/>
                    <a:pathLst>
                      <a:path w="21600" h="21600" extrusionOk="0">
                        <a:moveTo>
                          <a:pt x="3465" y="0"/>
                        </a:moveTo>
                        <a:cubicBezTo>
                          <a:pt x="2200" y="1478"/>
                          <a:pt x="1062" y="3001"/>
                          <a:pt x="0" y="4593"/>
                        </a:cubicBezTo>
                        <a:lnTo>
                          <a:pt x="18919" y="21600"/>
                        </a:lnTo>
                        <a:cubicBezTo>
                          <a:pt x="19577" y="19736"/>
                          <a:pt x="20487" y="17962"/>
                          <a:pt x="21600" y="16302"/>
                        </a:cubicBezTo>
                        <a:lnTo>
                          <a:pt x="3465"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75" name="Freeform: Shape 88"/>
                  <p:cNvSpPr/>
                  <p:nvPr/>
                </p:nvSpPr>
                <p:spPr>
                  <a:xfrm>
                    <a:off x="622376" y="591869"/>
                    <a:ext cx="174969" cy="33313"/>
                  </a:xfrm>
                  <a:prstGeom prst="rect">
                    <a:avLst/>
                  </a:pr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76" name="Freeform: Shape 89"/>
                  <p:cNvSpPr/>
                  <p:nvPr/>
                </p:nvSpPr>
                <p:spPr>
                  <a:xfrm>
                    <a:off x="578240" y="554141"/>
                    <a:ext cx="261666" cy="291615"/>
                  </a:xfrm>
                  <a:custGeom>
                    <a:avLst/>
                    <a:gdLst/>
                    <a:ahLst/>
                    <a:cxnLst>
                      <a:cxn ang="0">
                        <a:pos x="wd2" y="hd2"/>
                      </a:cxn>
                      <a:cxn ang="5400000">
                        <a:pos x="wd2" y="hd2"/>
                      </a:cxn>
                      <a:cxn ang="10800000">
                        <a:pos x="wd2" y="hd2"/>
                      </a:cxn>
                      <a:cxn ang="16200000">
                        <a:pos x="wd2" y="hd2"/>
                      </a:cxn>
                    </a:cxnLst>
                    <a:rect l="0" t="0" r="r" b="b"/>
                    <a:pathLst>
                      <a:path w="21600" h="21600" extrusionOk="0">
                        <a:moveTo>
                          <a:pt x="18737" y="0"/>
                        </a:moveTo>
                        <a:lnTo>
                          <a:pt x="2863" y="0"/>
                        </a:lnTo>
                        <a:cubicBezTo>
                          <a:pt x="1275" y="0"/>
                          <a:pt x="0" y="1144"/>
                          <a:pt x="0" y="2569"/>
                        </a:cubicBezTo>
                        <a:lnTo>
                          <a:pt x="0" y="19031"/>
                        </a:lnTo>
                        <a:cubicBezTo>
                          <a:pt x="0" y="20456"/>
                          <a:pt x="1275" y="21600"/>
                          <a:pt x="2863" y="21600"/>
                        </a:cubicBezTo>
                        <a:lnTo>
                          <a:pt x="18737" y="21600"/>
                        </a:lnTo>
                        <a:cubicBezTo>
                          <a:pt x="20325" y="21600"/>
                          <a:pt x="21600" y="20456"/>
                          <a:pt x="21600" y="19031"/>
                        </a:cubicBezTo>
                        <a:lnTo>
                          <a:pt x="21600" y="2569"/>
                        </a:lnTo>
                        <a:cubicBezTo>
                          <a:pt x="21600" y="1144"/>
                          <a:pt x="20325" y="0"/>
                          <a:pt x="18737" y="0"/>
                        </a:cubicBezTo>
                        <a:close/>
                        <a:moveTo>
                          <a:pt x="5595" y="19849"/>
                        </a:moveTo>
                        <a:lnTo>
                          <a:pt x="2537" y="19849"/>
                        </a:lnTo>
                        <a:cubicBezTo>
                          <a:pt x="1965" y="19849"/>
                          <a:pt x="1496" y="19428"/>
                          <a:pt x="1496" y="18915"/>
                        </a:cubicBezTo>
                        <a:cubicBezTo>
                          <a:pt x="1496" y="18401"/>
                          <a:pt x="1965" y="17981"/>
                          <a:pt x="2537" y="17981"/>
                        </a:cubicBezTo>
                        <a:lnTo>
                          <a:pt x="5595" y="17981"/>
                        </a:lnTo>
                        <a:cubicBezTo>
                          <a:pt x="6168" y="17981"/>
                          <a:pt x="6636" y="18401"/>
                          <a:pt x="6636" y="18915"/>
                        </a:cubicBezTo>
                        <a:cubicBezTo>
                          <a:pt x="6636" y="19428"/>
                          <a:pt x="6181" y="19849"/>
                          <a:pt x="5595" y="19849"/>
                        </a:cubicBezTo>
                        <a:close/>
                        <a:moveTo>
                          <a:pt x="5595" y="15178"/>
                        </a:moveTo>
                        <a:lnTo>
                          <a:pt x="2537" y="15178"/>
                        </a:lnTo>
                        <a:cubicBezTo>
                          <a:pt x="1965" y="15178"/>
                          <a:pt x="1496" y="14758"/>
                          <a:pt x="1496" y="14244"/>
                        </a:cubicBezTo>
                        <a:cubicBezTo>
                          <a:pt x="1496" y="13731"/>
                          <a:pt x="1965" y="13310"/>
                          <a:pt x="2537" y="13310"/>
                        </a:cubicBezTo>
                        <a:lnTo>
                          <a:pt x="5595" y="13310"/>
                        </a:lnTo>
                        <a:cubicBezTo>
                          <a:pt x="6168" y="13310"/>
                          <a:pt x="6636" y="13731"/>
                          <a:pt x="6636" y="14244"/>
                        </a:cubicBezTo>
                        <a:cubicBezTo>
                          <a:pt x="6636" y="14758"/>
                          <a:pt x="6181" y="15178"/>
                          <a:pt x="5595" y="15178"/>
                        </a:cubicBezTo>
                        <a:close/>
                        <a:moveTo>
                          <a:pt x="5595" y="10391"/>
                        </a:moveTo>
                        <a:lnTo>
                          <a:pt x="2537" y="10391"/>
                        </a:lnTo>
                        <a:cubicBezTo>
                          <a:pt x="1965" y="10391"/>
                          <a:pt x="1496" y="9971"/>
                          <a:pt x="1496" y="9457"/>
                        </a:cubicBezTo>
                        <a:cubicBezTo>
                          <a:pt x="1496" y="8944"/>
                          <a:pt x="1965" y="8523"/>
                          <a:pt x="2537" y="8523"/>
                        </a:cubicBezTo>
                        <a:lnTo>
                          <a:pt x="5595" y="8523"/>
                        </a:lnTo>
                        <a:cubicBezTo>
                          <a:pt x="6168" y="8523"/>
                          <a:pt x="6636" y="8944"/>
                          <a:pt x="6636" y="9457"/>
                        </a:cubicBezTo>
                        <a:cubicBezTo>
                          <a:pt x="6636" y="9971"/>
                          <a:pt x="6181" y="10391"/>
                          <a:pt x="5595" y="10391"/>
                        </a:cubicBezTo>
                        <a:close/>
                        <a:moveTo>
                          <a:pt x="12309" y="19849"/>
                        </a:moveTo>
                        <a:lnTo>
                          <a:pt x="9252" y="19849"/>
                        </a:lnTo>
                        <a:cubicBezTo>
                          <a:pt x="8679" y="19849"/>
                          <a:pt x="8211" y="19428"/>
                          <a:pt x="8211" y="18915"/>
                        </a:cubicBezTo>
                        <a:cubicBezTo>
                          <a:pt x="8211" y="18401"/>
                          <a:pt x="8679" y="17981"/>
                          <a:pt x="9252" y="17981"/>
                        </a:cubicBezTo>
                        <a:lnTo>
                          <a:pt x="12309" y="17981"/>
                        </a:lnTo>
                        <a:cubicBezTo>
                          <a:pt x="12882" y="17981"/>
                          <a:pt x="13350" y="18401"/>
                          <a:pt x="13350" y="18915"/>
                        </a:cubicBezTo>
                        <a:cubicBezTo>
                          <a:pt x="13350" y="19428"/>
                          <a:pt x="12882" y="19849"/>
                          <a:pt x="12309" y="19849"/>
                        </a:cubicBezTo>
                        <a:close/>
                        <a:moveTo>
                          <a:pt x="12309" y="15178"/>
                        </a:moveTo>
                        <a:lnTo>
                          <a:pt x="9252" y="15178"/>
                        </a:lnTo>
                        <a:cubicBezTo>
                          <a:pt x="8679" y="15178"/>
                          <a:pt x="8211" y="14758"/>
                          <a:pt x="8211" y="14244"/>
                        </a:cubicBezTo>
                        <a:cubicBezTo>
                          <a:pt x="8211" y="13731"/>
                          <a:pt x="8679" y="13310"/>
                          <a:pt x="9252" y="13310"/>
                        </a:cubicBezTo>
                        <a:lnTo>
                          <a:pt x="12309" y="13310"/>
                        </a:lnTo>
                        <a:cubicBezTo>
                          <a:pt x="12882" y="13310"/>
                          <a:pt x="13350" y="13731"/>
                          <a:pt x="13350" y="14244"/>
                        </a:cubicBezTo>
                        <a:cubicBezTo>
                          <a:pt x="13350" y="14758"/>
                          <a:pt x="12882" y="15178"/>
                          <a:pt x="12309" y="15178"/>
                        </a:cubicBezTo>
                        <a:close/>
                        <a:moveTo>
                          <a:pt x="12309" y="10391"/>
                        </a:moveTo>
                        <a:lnTo>
                          <a:pt x="9252" y="10391"/>
                        </a:lnTo>
                        <a:cubicBezTo>
                          <a:pt x="8679" y="10391"/>
                          <a:pt x="8211" y="9971"/>
                          <a:pt x="8211" y="9457"/>
                        </a:cubicBezTo>
                        <a:cubicBezTo>
                          <a:pt x="8211" y="8944"/>
                          <a:pt x="8679" y="8523"/>
                          <a:pt x="9252" y="8523"/>
                        </a:cubicBezTo>
                        <a:lnTo>
                          <a:pt x="12309" y="8523"/>
                        </a:lnTo>
                        <a:cubicBezTo>
                          <a:pt x="12882" y="8523"/>
                          <a:pt x="13350" y="8944"/>
                          <a:pt x="13350" y="9457"/>
                        </a:cubicBezTo>
                        <a:cubicBezTo>
                          <a:pt x="13350" y="9971"/>
                          <a:pt x="12882" y="10391"/>
                          <a:pt x="12309" y="10391"/>
                        </a:cubicBezTo>
                        <a:close/>
                        <a:moveTo>
                          <a:pt x="19037" y="19849"/>
                        </a:moveTo>
                        <a:lnTo>
                          <a:pt x="15979" y="19849"/>
                        </a:lnTo>
                        <a:cubicBezTo>
                          <a:pt x="15406" y="19849"/>
                          <a:pt x="14938" y="19428"/>
                          <a:pt x="14938" y="18915"/>
                        </a:cubicBezTo>
                        <a:cubicBezTo>
                          <a:pt x="14938" y="18401"/>
                          <a:pt x="15406" y="17981"/>
                          <a:pt x="15979" y="17981"/>
                        </a:cubicBezTo>
                        <a:lnTo>
                          <a:pt x="19037" y="17981"/>
                        </a:lnTo>
                        <a:cubicBezTo>
                          <a:pt x="19609" y="17981"/>
                          <a:pt x="20078" y="18401"/>
                          <a:pt x="20078" y="18915"/>
                        </a:cubicBezTo>
                        <a:cubicBezTo>
                          <a:pt x="20078" y="19428"/>
                          <a:pt x="19609" y="19849"/>
                          <a:pt x="19037" y="19849"/>
                        </a:cubicBezTo>
                        <a:close/>
                        <a:moveTo>
                          <a:pt x="19037" y="15178"/>
                        </a:moveTo>
                        <a:lnTo>
                          <a:pt x="15979" y="15178"/>
                        </a:lnTo>
                        <a:cubicBezTo>
                          <a:pt x="15406" y="15178"/>
                          <a:pt x="14938" y="14758"/>
                          <a:pt x="14938" y="14244"/>
                        </a:cubicBezTo>
                        <a:cubicBezTo>
                          <a:pt x="14938" y="13731"/>
                          <a:pt x="15406" y="13310"/>
                          <a:pt x="15979" y="13310"/>
                        </a:cubicBezTo>
                        <a:lnTo>
                          <a:pt x="19037" y="13310"/>
                        </a:lnTo>
                        <a:cubicBezTo>
                          <a:pt x="19609" y="13310"/>
                          <a:pt x="20078" y="13731"/>
                          <a:pt x="20078" y="14244"/>
                        </a:cubicBezTo>
                        <a:cubicBezTo>
                          <a:pt x="20078" y="14758"/>
                          <a:pt x="19609" y="15178"/>
                          <a:pt x="19037" y="15178"/>
                        </a:cubicBezTo>
                        <a:close/>
                        <a:moveTo>
                          <a:pt x="19037" y="10391"/>
                        </a:moveTo>
                        <a:lnTo>
                          <a:pt x="15979" y="10391"/>
                        </a:lnTo>
                        <a:cubicBezTo>
                          <a:pt x="15406" y="10391"/>
                          <a:pt x="14938" y="9971"/>
                          <a:pt x="14938" y="9457"/>
                        </a:cubicBezTo>
                        <a:cubicBezTo>
                          <a:pt x="14938" y="8944"/>
                          <a:pt x="15406" y="8523"/>
                          <a:pt x="15979" y="8523"/>
                        </a:cubicBezTo>
                        <a:lnTo>
                          <a:pt x="19037" y="8523"/>
                        </a:lnTo>
                        <a:cubicBezTo>
                          <a:pt x="19609" y="8523"/>
                          <a:pt x="20078" y="8944"/>
                          <a:pt x="20078" y="9457"/>
                        </a:cubicBezTo>
                        <a:cubicBezTo>
                          <a:pt x="20078" y="9971"/>
                          <a:pt x="19609" y="10391"/>
                          <a:pt x="19037" y="10391"/>
                        </a:cubicBezTo>
                        <a:close/>
                        <a:moveTo>
                          <a:pt x="20169" y="5838"/>
                        </a:moveTo>
                        <a:cubicBezTo>
                          <a:pt x="20169" y="6352"/>
                          <a:pt x="19700" y="6772"/>
                          <a:pt x="19128" y="6772"/>
                        </a:cubicBezTo>
                        <a:lnTo>
                          <a:pt x="2602" y="6772"/>
                        </a:lnTo>
                        <a:cubicBezTo>
                          <a:pt x="2030" y="6772"/>
                          <a:pt x="1561" y="6352"/>
                          <a:pt x="1561" y="5838"/>
                        </a:cubicBezTo>
                        <a:lnTo>
                          <a:pt x="1561" y="2218"/>
                        </a:lnTo>
                        <a:cubicBezTo>
                          <a:pt x="1561" y="1705"/>
                          <a:pt x="2030" y="1284"/>
                          <a:pt x="2602" y="1284"/>
                        </a:cubicBezTo>
                        <a:lnTo>
                          <a:pt x="19128" y="1284"/>
                        </a:lnTo>
                        <a:cubicBezTo>
                          <a:pt x="19700" y="1284"/>
                          <a:pt x="20169" y="1705"/>
                          <a:pt x="20169" y="2218"/>
                        </a:cubicBezTo>
                        <a:lnTo>
                          <a:pt x="20169" y="5838"/>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grpSp>
          </p:grpSp>
          <p:grpSp>
            <p:nvGrpSpPr>
              <p:cNvPr id="142" name="Group"/>
              <p:cNvGrpSpPr/>
              <p:nvPr/>
            </p:nvGrpSpPr>
            <p:grpSpPr>
              <a:xfrm>
                <a:off x="2088173" y="1198518"/>
                <a:ext cx="3694192" cy="1020181"/>
                <a:chOff x="-1" y="0"/>
                <a:chExt cx="3694191" cy="1020180"/>
              </a:xfrm>
            </p:grpSpPr>
            <p:grpSp>
              <p:nvGrpSpPr>
                <p:cNvPr id="145" name="Rectangle: Rounded Corners 29"/>
                <p:cNvGrpSpPr/>
                <p:nvPr/>
              </p:nvGrpSpPr>
              <p:grpSpPr>
                <a:xfrm>
                  <a:off x="1108844" y="0"/>
                  <a:ext cx="2585346" cy="925824"/>
                  <a:chOff x="-1" y="0"/>
                  <a:chExt cx="2585345" cy="925823"/>
                </a:xfrm>
              </p:grpSpPr>
              <p:sp>
                <p:nvSpPr>
                  <p:cNvPr id="160" name="Rounded Rectangle"/>
                  <p:cNvSpPr/>
                  <p:nvPr/>
                </p:nvSpPr>
                <p:spPr>
                  <a:xfrm>
                    <a:off x="-1" y="0"/>
                    <a:ext cx="1806422" cy="925823"/>
                  </a:xfrm>
                  <a:prstGeom prst="roundRect">
                    <a:avLst>
                      <a:gd name="adj" fmla="val 17206"/>
                    </a:avLst>
                  </a:prstGeom>
                  <a:solidFill>
                    <a:srgbClr val="FFC000"/>
                  </a:solidFill>
                  <a:ln/>
                </p:spPr>
                <p:style>
                  <a:lnRef idx="1">
                    <a:schemeClr val="accent5"/>
                  </a:lnRef>
                  <a:fillRef idx="3">
                    <a:schemeClr val="accent5"/>
                  </a:fillRef>
                  <a:effectRef idx="2">
                    <a:schemeClr val="accent5"/>
                  </a:effectRef>
                  <a:fontRef idx="minor">
                    <a:schemeClr val="lt1"/>
                  </a:fontRef>
                </p:style>
                <p:txBody>
                  <a:bodyPr wrap="square" lIns="38100" tIns="38100" rIns="38100" bIns="38100" numCol="1" anchor="ctr">
                    <a:noAutofit/>
                  </a:bodyPr>
                  <a:lstStyle/>
                  <a:p>
                    <a:pPr algn="l">
                      <a:spcBef>
                        <a:spcPts val="1000"/>
                      </a:spcBef>
                      <a:defRPr sz="2700">
                        <a:solidFill>
                          <a:srgbClr val="000000"/>
                        </a:solidFill>
                        <a:effectLst/>
                      </a:defRPr>
                    </a:pPr>
                    <a:r>
                      <a:rPr lang="en-GB" sz="2000" dirty="0">
                        <a:solidFill>
                          <a:srgbClr val="000000"/>
                        </a:solidFill>
                      </a:rPr>
                      <a:t>128.200 </a:t>
                    </a:r>
                    <a:r>
                      <a:rPr lang="en-GB" sz="2000" dirty="0"/>
                      <a:t>(₦’BN)</a:t>
                    </a:r>
                    <a:endParaRPr sz="2000" dirty="0"/>
                  </a:p>
                </p:txBody>
              </p:sp>
              <p:sp>
                <p:nvSpPr>
                  <p:cNvPr id="161" name="Text"/>
                  <p:cNvSpPr/>
                  <p:nvPr/>
                </p:nvSpPr>
                <p:spPr>
                  <a:xfrm>
                    <a:off x="51927" y="515203"/>
                    <a:ext cx="2533417" cy="2"/>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45718" tIns="45718" rIns="45718" bIns="45718" numCol="1" anchor="ctr">
                    <a:spAutoFit/>
                  </a:bodyPr>
                  <a:lstStyle/>
                  <a:p>
                    <a:pPr algn="l">
                      <a:spcBef>
                        <a:spcPts val="1000"/>
                      </a:spcBef>
                      <a:defRPr sz="2700">
                        <a:solidFill>
                          <a:srgbClr val="000000"/>
                        </a:solidFill>
                        <a:effectLst/>
                      </a:defRPr>
                    </a:pPr>
                    <a:endParaRPr dirty="0"/>
                  </a:p>
                </p:txBody>
              </p:sp>
            </p:grpSp>
            <p:grpSp>
              <p:nvGrpSpPr>
                <p:cNvPr id="146" name="Group"/>
                <p:cNvGrpSpPr/>
                <p:nvPr/>
              </p:nvGrpSpPr>
              <p:grpSpPr>
                <a:xfrm>
                  <a:off x="-1" y="10255"/>
                  <a:ext cx="1004617" cy="1009925"/>
                  <a:chOff x="0" y="0"/>
                  <a:chExt cx="1004615" cy="1009924"/>
                </a:xfrm>
              </p:grpSpPr>
              <p:sp>
                <p:nvSpPr>
                  <p:cNvPr id="147" name="Rectangle: Rounded Corners 28"/>
                  <p:cNvSpPr/>
                  <p:nvPr/>
                </p:nvSpPr>
                <p:spPr>
                  <a:xfrm>
                    <a:off x="0" y="0"/>
                    <a:ext cx="1004615" cy="1009924"/>
                  </a:xfrm>
                  <a:prstGeom prst="roundRect">
                    <a:avLst>
                      <a:gd name="adj" fmla="val 6667"/>
                    </a:avLst>
                  </a:prstGeom>
                  <a:solidFill>
                    <a:srgbClr val="8A6705"/>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defTabSz="914400">
                      <a:defRPr sz="1800" b="0" cap="none">
                        <a:solidFill>
                          <a:srgbClr val="FFFFFF"/>
                        </a:solidFill>
                        <a:effectLst/>
                        <a:latin typeface="Calibri"/>
                        <a:ea typeface="Calibri"/>
                        <a:cs typeface="Calibri"/>
                        <a:sym typeface="Calibri"/>
                      </a:defRPr>
                    </a:pPr>
                    <a:endParaRPr dirty="0"/>
                  </a:p>
                </p:txBody>
              </p:sp>
              <p:sp>
                <p:nvSpPr>
                  <p:cNvPr id="148" name="Freeform: Shape 78"/>
                  <p:cNvSpPr/>
                  <p:nvPr/>
                </p:nvSpPr>
                <p:spPr>
                  <a:xfrm>
                    <a:off x="166672" y="544685"/>
                    <a:ext cx="178122" cy="156842"/>
                  </a:xfrm>
                  <a:custGeom>
                    <a:avLst/>
                    <a:gdLst/>
                    <a:ahLst/>
                    <a:cxnLst>
                      <a:cxn ang="0">
                        <a:pos x="wd2" y="hd2"/>
                      </a:cxn>
                      <a:cxn ang="5400000">
                        <a:pos x="wd2" y="hd2"/>
                      </a:cxn>
                      <a:cxn ang="10800000">
                        <a:pos x="wd2" y="hd2"/>
                      </a:cxn>
                      <a:cxn ang="16200000">
                        <a:pos x="wd2" y="hd2"/>
                      </a:cxn>
                    </a:cxnLst>
                    <a:rect l="0" t="0" r="r" b="b"/>
                    <a:pathLst>
                      <a:path w="21600" h="21600" extrusionOk="0">
                        <a:moveTo>
                          <a:pt x="19421" y="0"/>
                        </a:moveTo>
                        <a:lnTo>
                          <a:pt x="0" y="0"/>
                        </a:lnTo>
                        <a:cubicBezTo>
                          <a:pt x="956" y="7858"/>
                          <a:pt x="3651" y="15283"/>
                          <a:pt x="7856" y="21600"/>
                        </a:cubicBezTo>
                        <a:lnTo>
                          <a:pt x="21600" y="5992"/>
                        </a:lnTo>
                        <a:cubicBezTo>
                          <a:pt x="20644" y="4125"/>
                          <a:pt x="19899" y="2106"/>
                          <a:pt x="19421"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49" name="Freeform: Shape 79"/>
                  <p:cNvSpPr/>
                  <p:nvPr/>
                </p:nvSpPr>
                <p:spPr>
                  <a:xfrm>
                    <a:off x="297661" y="654393"/>
                    <a:ext cx="157631" cy="178281"/>
                  </a:xfrm>
                  <a:custGeom>
                    <a:avLst/>
                    <a:gdLst/>
                    <a:ahLst/>
                    <a:cxnLst>
                      <a:cxn ang="0">
                        <a:pos x="wd2" y="hd2"/>
                      </a:cxn>
                      <a:cxn ang="5400000">
                        <a:pos x="wd2" y="hd2"/>
                      </a:cxn>
                      <a:cxn ang="10800000">
                        <a:pos x="wd2" y="hd2"/>
                      </a:cxn>
                      <a:cxn ang="16200000">
                        <a:pos x="wd2" y="hd2"/>
                      </a:cxn>
                    </a:cxnLst>
                    <a:rect l="0" t="0" r="r" b="b"/>
                    <a:pathLst>
                      <a:path w="21600" h="21600" extrusionOk="0">
                        <a:moveTo>
                          <a:pt x="15509" y="0"/>
                        </a:moveTo>
                        <a:lnTo>
                          <a:pt x="0" y="13732"/>
                        </a:lnTo>
                        <a:cubicBezTo>
                          <a:pt x="6307" y="17952"/>
                          <a:pt x="13738" y="20664"/>
                          <a:pt x="21600" y="21600"/>
                        </a:cubicBezTo>
                        <a:lnTo>
                          <a:pt x="21600" y="2196"/>
                        </a:lnTo>
                        <a:cubicBezTo>
                          <a:pt x="19462" y="1700"/>
                          <a:pt x="17431" y="974"/>
                          <a:pt x="15509"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50" name="Freeform: Shape 80"/>
                  <p:cNvSpPr/>
                  <p:nvPr/>
                </p:nvSpPr>
                <p:spPr>
                  <a:xfrm>
                    <a:off x="548133" y="164956"/>
                    <a:ext cx="286887" cy="287044"/>
                  </a:xfrm>
                  <a:custGeom>
                    <a:avLst/>
                    <a:gdLst/>
                    <a:ahLst/>
                    <a:cxnLst>
                      <a:cxn ang="0">
                        <a:pos x="wd2" y="hd2"/>
                      </a:cxn>
                      <a:cxn ang="5400000">
                        <a:pos x="wd2" y="hd2"/>
                      </a:cxn>
                      <a:cxn ang="10800000">
                        <a:pos x="wd2" y="hd2"/>
                      </a:cxn>
                      <a:cxn ang="16200000">
                        <a:pos x="wd2" y="hd2"/>
                      </a:cxn>
                    </a:cxnLst>
                    <a:rect l="0" t="0" r="r" b="b"/>
                    <a:pathLst>
                      <a:path w="21600" h="21600" extrusionOk="0">
                        <a:moveTo>
                          <a:pt x="83" y="0"/>
                        </a:moveTo>
                        <a:cubicBezTo>
                          <a:pt x="47" y="4413"/>
                          <a:pt x="12" y="10094"/>
                          <a:pt x="0" y="12075"/>
                        </a:cubicBezTo>
                        <a:cubicBezTo>
                          <a:pt x="4640" y="13332"/>
                          <a:pt x="8260" y="16962"/>
                          <a:pt x="9506" y="21600"/>
                        </a:cubicBezTo>
                        <a:lnTo>
                          <a:pt x="21600" y="21576"/>
                        </a:lnTo>
                        <a:cubicBezTo>
                          <a:pt x="20010" y="10415"/>
                          <a:pt x="11251" y="1625"/>
                          <a:pt x="83"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51" name="Freeform: Shape 81"/>
                  <p:cNvSpPr/>
                  <p:nvPr/>
                </p:nvSpPr>
                <p:spPr>
                  <a:xfrm>
                    <a:off x="350152" y="180718"/>
                    <a:ext cx="104036" cy="119800"/>
                  </a:xfrm>
                  <a:custGeom>
                    <a:avLst/>
                    <a:gdLst/>
                    <a:ahLst/>
                    <a:cxnLst>
                      <a:cxn ang="0">
                        <a:pos x="wd2" y="hd2"/>
                      </a:cxn>
                      <a:cxn ang="5400000">
                        <a:pos x="wd2" y="hd2"/>
                      </a:cxn>
                      <a:cxn ang="10800000">
                        <a:pos x="wd2" y="hd2"/>
                      </a:cxn>
                      <a:cxn ang="16200000">
                        <a:pos x="wd2" y="hd2"/>
                      </a:cxn>
                    </a:cxnLst>
                    <a:rect l="0" t="0" r="r" b="b"/>
                    <a:pathLst>
                      <a:path w="21600" h="21600" extrusionOk="0">
                        <a:moveTo>
                          <a:pt x="7789" y="0"/>
                        </a:moveTo>
                        <a:cubicBezTo>
                          <a:pt x="5138" y="824"/>
                          <a:pt x="2520" y="1791"/>
                          <a:pt x="0" y="2899"/>
                        </a:cubicBezTo>
                        <a:lnTo>
                          <a:pt x="21535" y="21600"/>
                        </a:lnTo>
                        <a:lnTo>
                          <a:pt x="21600" y="11994"/>
                        </a:lnTo>
                        <a:lnTo>
                          <a:pt x="7789"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52" name="Freeform: Shape 82"/>
                  <p:cNvSpPr/>
                  <p:nvPr/>
                </p:nvSpPr>
                <p:spPr>
                  <a:xfrm>
                    <a:off x="295297" y="209408"/>
                    <a:ext cx="149749" cy="134774"/>
                  </a:xfrm>
                  <a:custGeom>
                    <a:avLst/>
                    <a:gdLst/>
                    <a:ahLst/>
                    <a:cxnLst>
                      <a:cxn ang="0">
                        <a:pos x="wd2" y="hd2"/>
                      </a:cxn>
                      <a:cxn ang="5400000">
                        <a:pos x="wd2" y="hd2"/>
                      </a:cxn>
                      <a:cxn ang="10800000">
                        <a:pos x="wd2" y="hd2"/>
                      </a:cxn>
                      <a:cxn ang="16200000">
                        <a:pos x="wd2" y="hd2"/>
                      </a:cxn>
                    </a:cxnLst>
                    <a:rect l="0" t="0" r="r" b="b"/>
                    <a:pathLst>
                      <a:path w="21600" h="21600" extrusionOk="0">
                        <a:moveTo>
                          <a:pt x="4593" y="0"/>
                        </a:moveTo>
                        <a:cubicBezTo>
                          <a:pt x="3001" y="1061"/>
                          <a:pt x="1478" y="2223"/>
                          <a:pt x="0" y="3486"/>
                        </a:cubicBezTo>
                        <a:lnTo>
                          <a:pt x="16302" y="21600"/>
                        </a:lnTo>
                        <a:cubicBezTo>
                          <a:pt x="17985" y="20488"/>
                          <a:pt x="19758" y="19579"/>
                          <a:pt x="21600" y="18897"/>
                        </a:cubicBezTo>
                        <a:lnTo>
                          <a:pt x="4593"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53" name="Freeform: Shape 83"/>
                  <p:cNvSpPr/>
                  <p:nvPr/>
                </p:nvSpPr>
                <p:spPr>
                  <a:xfrm>
                    <a:off x="414937" y="164482"/>
                    <a:ext cx="39567" cy="47291"/>
                  </a:xfrm>
                  <a:custGeom>
                    <a:avLst/>
                    <a:gdLst/>
                    <a:ahLst/>
                    <a:cxnLst>
                      <a:cxn ang="0">
                        <a:pos x="wd2" y="hd2"/>
                      </a:cxn>
                      <a:cxn ang="5400000">
                        <a:pos x="wd2" y="hd2"/>
                      </a:cxn>
                      <a:cxn ang="10800000">
                        <a:pos x="wd2" y="hd2"/>
                      </a:cxn>
                      <a:cxn ang="16200000">
                        <a:pos x="wd2" y="hd2"/>
                      </a:cxn>
                    </a:cxnLst>
                    <a:rect l="0" t="0" r="r" b="b"/>
                    <a:pathLst>
                      <a:path w="21600" h="21600" extrusionOk="0">
                        <a:moveTo>
                          <a:pt x="0" y="3600"/>
                        </a:moveTo>
                        <a:lnTo>
                          <a:pt x="21514" y="21600"/>
                        </a:lnTo>
                        <a:lnTo>
                          <a:pt x="21600" y="0"/>
                        </a:lnTo>
                        <a:cubicBezTo>
                          <a:pt x="14285" y="864"/>
                          <a:pt x="7143" y="2016"/>
                          <a:pt x="0" y="360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54" name="Freeform: Shape 84"/>
                  <p:cNvSpPr/>
                  <p:nvPr/>
                </p:nvSpPr>
                <p:spPr>
                  <a:xfrm>
                    <a:off x="249270" y="247396"/>
                    <a:ext cx="138400" cy="138401"/>
                  </a:xfrm>
                  <a:custGeom>
                    <a:avLst/>
                    <a:gdLst/>
                    <a:ahLst/>
                    <a:cxnLst>
                      <a:cxn ang="0">
                        <a:pos x="wd2" y="hd2"/>
                      </a:cxn>
                      <a:cxn ang="5400000">
                        <a:pos x="wd2" y="hd2"/>
                      </a:cxn>
                      <a:cxn ang="10800000">
                        <a:pos x="wd2" y="hd2"/>
                      </a:cxn>
                      <a:cxn ang="16200000">
                        <a:pos x="wd2" y="hd2"/>
                      </a:cxn>
                    </a:cxnLst>
                    <a:rect l="0" t="0" r="r" b="b"/>
                    <a:pathLst>
                      <a:path w="21600" h="21600" extrusionOk="0">
                        <a:moveTo>
                          <a:pt x="4182" y="0"/>
                        </a:moveTo>
                        <a:cubicBezTo>
                          <a:pt x="3469" y="640"/>
                          <a:pt x="2755" y="1304"/>
                          <a:pt x="2067" y="1993"/>
                        </a:cubicBezTo>
                        <a:cubicBezTo>
                          <a:pt x="1353" y="2706"/>
                          <a:pt x="664" y="3444"/>
                          <a:pt x="0" y="4182"/>
                        </a:cubicBezTo>
                        <a:lnTo>
                          <a:pt x="17418" y="21600"/>
                        </a:lnTo>
                        <a:cubicBezTo>
                          <a:pt x="18672" y="20075"/>
                          <a:pt x="20050" y="18672"/>
                          <a:pt x="21600" y="17418"/>
                        </a:cubicBezTo>
                        <a:lnTo>
                          <a:pt x="4182"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55" name="Freeform: Shape 85"/>
                  <p:cNvSpPr/>
                  <p:nvPr/>
                </p:nvSpPr>
                <p:spPr>
                  <a:xfrm>
                    <a:off x="166830" y="413063"/>
                    <a:ext cx="44611" cy="37045"/>
                  </a:xfrm>
                  <a:custGeom>
                    <a:avLst/>
                    <a:gdLst/>
                    <a:ahLst/>
                    <a:cxnLst>
                      <a:cxn ang="0">
                        <a:pos x="wd2" y="hd2"/>
                      </a:cxn>
                      <a:cxn ang="5400000">
                        <a:pos x="wd2" y="hd2"/>
                      </a:cxn>
                      <a:cxn ang="10800000">
                        <a:pos x="wd2" y="hd2"/>
                      </a:cxn>
                      <a:cxn ang="16200000">
                        <a:pos x="wd2" y="hd2"/>
                      </a:cxn>
                    </a:cxnLst>
                    <a:rect l="0" t="0" r="r" b="b"/>
                    <a:pathLst>
                      <a:path w="21600" h="21600" extrusionOk="0">
                        <a:moveTo>
                          <a:pt x="3664" y="0"/>
                        </a:moveTo>
                        <a:cubicBezTo>
                          <a:pt x="2137" y="7077"/>
                          <a:pt x="916" y="14339"/>
                          <a:pt x="0" y="21600"/>
                        </a:cubicBezTo>
                        <a:lnTo>
                          <a:pt x="21600" y="21600"/>
                        </a:lnTo>
                        <a:lnTo>
                          <a:pt x="3664"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56" name="Freeform: Shape 86"/>
                  <p:cNvSpPr/>
                  <p:nvPr/>
                </p:nvSpPr>
                <p:spPr>
                  <a:xfrm>
                    <a:off x="182908" y="348436"/>
                    <a:ext cx="117751" cy="101673"/>
                  </a:xfrm>
                  <a:custGeom>
                    <a:avLst/>
                    <a:gdLst/>
                    <a:ahLst/>
                    <a:cxnLst>
                      <a:cxn ang="0">
                        <a:pos x="wd2" y="hd2"/>
                      </a:cxn>
                      <a:cxn ang="5400000">
                        <a:pos x="wd2" y="hd2"/>
                      </a:cxn>
                      <a:cxn ang="10800000">
                        <a:pos x="wd2" y="hd2"/>
                      </a:cxn>
                      <a:cxn ang="16200000">
                        <a:pos x="wd2" y="hd2"/>
                      </a:cxn>
                    </a:cxnLst>
                    <a:rect l="0" t="0" r="r" b="b"/>
                    <a:pathLst>
                      <a:path w="21600" h="21600" extrusionOk="0">
                        <a:moveTo>
                          <a:pt x="2920" y="0"/>
                        </a:moveTo>
                        <a:cubicBezTo>
                          <a:pt x="1793" y="2579"/>
                          <a:pt x="839" y="5224"/>
                          <a:pt x="0" y="7937"/>
                        </a:cubicBezTo>
                        <a:lnTo>
                          <a:pt x="11798" y="21600"/>
                        </a:lnTo>
                        <a:lnTo>
                          <a:pt x="21600" y="21600"/>
                        </a:lnTo>
                        <a:lnTo>
                          <a:pt x="2920"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57" name="Freeform: Shape 87"/>
                  <p:cNvSpPr/>
                  <p:nvPr/>
                </p:nvSpPr>
                <p:spPr>
                  <a:xfrm>
                    <a:off x="211596" y="293739"/>
                    <a:ext cx="134617" cy="149750"/>
                  </a:xfrm>
                  <a:custGeom>
                    <a:avLst/>
                    <a:gdLst/>
                    <a:ahLst/>
                    <a:cxnLst>
                      <a:cxn ang="0">
                        <a:pos x="wd2" y="hd2"/>
                      </a:cxn>
                      <a:cxn ang="5400000">
                        <a:pos x="wd2" y="hd2"/>
                      </a:cxn>
                      <a:cxn ang="10800000">
                        <a:pos x="wd2" y="hd2"/>
                      </a:cxn>
                      <a:cxn ang="16200000">
                        <a:pos x="wd2" y="hd2"/>
                      </a:cxn>
                    </a:cxnLst>
                    <a:rect l="0" t="0" r="r" b="b"/>
                    <a:pathLst>
                      <a:path w="21600" h="21600" extrusionOk="0">
                        <a:moveTo>
                          <a:pt x="3465" y="0"/>
                        </a:moveTo>
                        <a:cubicBezTo>
                          <a:pt x="2200" y="1478"/>
                          <a:pt x="1062" y="3001"/>
                          <a:pt x="0" y="4593"/>
                        </a:cubicBezTo>
                        <a:lnTo>
                          <a:pt x="18919" y="21600"/>
                        </a:lnTo>
                        <a:cubicBezTo>
                          <a:pt x="19577" y="19736"/>
                          <a:pt x="20487" y="17962"/>
                          <a:pt x="21600" y="16302"/>
                        </a:cubicBezTo>
                        <a:lnTo>
                          <a:pt x="3465"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58" name="Freeform: Shape 88"/>
                  <p:cNvSpPr/>
                  <p:nvPr/>
                </p:nvSpPr>
                <p:spPr>
                  <a:xfrm>
                    <a:off x="622376" y="591869"/>
                    <a:ext cx="174969" cy="33313"/>
                  </a:xfrm>
                  <a:prstGeom prst="rect">
                    <a:avLst/>
                  </a:pr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59" name="Freeform: Shape 89"/>
                  <p:cNvSpPr/>
                  <p:nvPr/>
                </p:nvSpPr>
                <p:spPr>
                  <a:xfrm>
                    <a:off x="578240" y="554141"/>
                    <a:ext cx="261666" cy="291615"/>
                  </a:xfrm>
                  <a:custGeom>
                    <a:avLst/>
                    <a:gdLst/>
                    <a:ahLst/>
                    <a:cxnLst>
                      <a:cxn ang="0">
                        <a:pos x="wd2" y="hd2"/>
                      </a:cxn>
                      <a:cxn ang="5400000">
                        <a:pos x="wd2" y="hd2"/>
                      </a:cxn>
                      <a:cxn ang="10800000">
                        <a:pos x="wd2" y="hd2"/>
                      </a:cxn>
                      <a:cxn ang="16200000">
                        <a:pos x="wd2" y="hd2"/>
                      </a:cxn>
                    </a:cxnLst>
                    <a:rect l="0" t="0" r="r" b="b"/>
                    <a:pathLst>
                      <a:path w="21600" h="21600" extrusionOk="0">
                        <a:moveTo>
                          <a:pt x="18737" y="0"/>
                        </a:moveTo>
                        <a:lnTo>
                          <a:pt x="2863" y="0"/>
                        </a:lnTo>
                        <a:cubicBezTo>
                          <a:pt x="1275" y="0"/>
                          <a:pt x="0" y="1144"/>
                          <a:pt x="0" y="2569"/>
                        </a:cubicBezTo>
                        <a:lnTo>
                          <a:pt x="0" y="19031"/>
                        </a:lnTo>
                        <a:cubicBezTo>
                          <a:pt x="0" y="20456"/>
                          <a:pt x="1275" y="21600"/>
                          <a:pt x="2863" y="21600"/>
                        </a:cubicBezTo>
                        <a:lnTo>
                          <a:pt x="18737" y="21600"/>
                        </a:lnTo>
                        <a:cubicBezTo>
                          <a:pt x="20325" y="21600"/>
                          <a:pt x="21600" y="20456"/>
                          <a:pt x="21600" y="19031"/>
                        </a:cubicBezTo>
                        <a:lnTo>
                          <a:pt x="21600" y="2569"/>
                        </a:lnTo>
                        <a:cubicBezTo>
                          <a:pt x="21600" y="1144"/>
                          <a:pt x="20325" y="0"/>
                          <a:pt x="18737" y="0"/>
                        </a:cubicBezTo>
                        <a:close/>
                        <a:moveTo>
                          <a:pt x="5595" y="19849"/>
                        </a:moveTo>
                        <a:lnTo>
                          <a:pt x="2537" y="19849"/>
                        </a:lnTo>
                        <a:cubicBezTo>
                          <a:pt x="1965" y="19849"/>
                          <a:pt x="1496" y="19428"/>
                          <a:pt x="1496" y="18915"/>
                        </a:cubicBezTo>
                        <a:cubicBezTo>
                          <a:pt x="1496" y="18401"/>
                          <a:pt x="1965" y="17981"/>
                          <a:pt x="2537" y="17981"/>
                        </a:cubicBezTo>
                        <a:lnTo>
                          <a:pt x="5595" y="17981"/>
                        </a:lnTo>
                        <a:cubicBezTo>
                          <a:pt x="6168" y="17981"/>
                          <a:pt x="6636" y="18401"/>
                          <a:pt x="6636" y="18915"/>
                        </a:cubicBezTo>
                        <a:cubicBezTo>
                          <a:pt x="6636" y="19428"/>
                          <a:pt x="6181" y="19849"/>
                          <a:pt x="5595" y="19849"/>
                        </a:cubicBezTo>
                        <a:close/>
                        <a:moveTo>
                          <a:pt x="5595" y="15178"/>
                        </a:moveTo>
                        <a:lnTo>
                          <a:pt x="2537" y="15178"/>
                        </a:lnTo>
                        <a:cubicBezTo>
                          <a:pt x="1965" y="15178"/>
                          <a:pt x="1496" y="14758"/>
                          <a:pt x="1496" y="14244"/>
                        </a:cubicBezTo>
                        <a:cubicBezTo>
                          <a:pt x="1496" y="13731"/>
                          <a:pt x="1965" y="13310"/>
                          <a:pt x="2537" y="13310"/>
                        </a:cubicBezTo>
                        <a:lnTo>
                          <a:pt x="5595" y="13310"/>
                        </a:lnTo>
                        <a:cubicBezTo>
                          <a:pt x="6168" y="13310"/>
                          <a:pt x="6636" y="13731"/>
                          <a:pt x="6636" y="14244"/>
                        </a:cubicBezTo>
                        <a:cubicBezTo>
                          <a:pt x="6636" y="14758"/>
                          <a:pt x="6181" y="15178"/>
                          <a:pt x="5595" y="15178"/>
                        </a:cubicBezTo>
                        <a:close/>
                        <a:moveTo>
                          <a:pt x="5595" y="10391"/>
                        </a:moveTo>
                        <a:lnTo>
                          <a:pt x="2537" y="10391"/>
                        </a:lnTo>
                        <a:cubicBezTo>
                          <a:pt x="1965" y="10391"/>
                          <a:pt x="1496" y="9971"/>
                          <a:pt x="1496" y="9457"/>
                        </a:cubicBezTo>
                        <a:cubicBezTo>
                          <a:pt x="1496" y="8944"/>
                          <a:pt x="1965" y="8523"/>
                          <a:pt x="2537" y="8523"/>
                        </a:cubicBezTo>
                        <a:lnTo>
                          <a:pt x="5595" y="8523"/>
                        </a:lnTo>
                        <a:cubicBezTo>
                          <a:pt x="6168" y="8523"/>
                          <a:pt x="6636" y="8944"/>
                          <a:pt x="6636" y="9457"/>
                        </a:cubicBezTo>
                        <a:cubicBezTo>
                          <a:pt x="6636" y="9971"/>
                          <a:pt x="6181" y="10391"/>
                          <a:pt x="5595" y="10391"/>
                        </a:cubicBezTo>
                        <a:close/>
                        <a:moveTo>
                          <a:pt x="12309" y="19849"/>
                        </a:moveTo>
                        <a:lnTo>
                          <a:pt x="9252" y="19849"/>
                        </a:lnTo>
                        <a:cubicBezTo>
                          <a:pt x="8679" y="19849"/>
                          <a:pt x="8211" y="19428"/>
                          <a:pt x="8211" y="18915"/>
                        </a:cubicBezTo>
                        <a:cubicBezTo>
                          <a:pt x="8211" y="18401"/>
                          <a:pt x="8679" y="17981"/>
                          <a:pt x="9252" y="17981"/>
                        </a:cubicBezTo>
                        <a:lnTo>
                          <a:pt x="12309" y="17981"/>
                        </a:lnTo>
                        <a:cubicBezTo>
                          <a:pt x="12882" y="17981"/>
                          <a:pt x="13350" y="18401"/>
                          <a:pt x="13350" y="18915"/>
                        </a:cubicBezTo>
                        <a:cubicBezTo>
                          <a:pt x="13350" y="19428"/>
                          <a:pt x="12882" y="19849"/>
                          <a:pt x="12309" y="19849"/>
                        </a:cubicBezTo>
                        <a:close/>
                        <a:moveTo>
                          <a:pt x="12309" y="15178"/>
                        </a:moveTo>
                        <a:lnTo>
                          <a:pt x="9252" y="15178"/>
                        </a:lnTo>
                        <a:cubicBezTo>
                          <a:pt x="8679" y="15178"/>
                          <a:pt x="8211" y="14758"/>
                          <a:pt x="8211" y="14244"/>
                        </a:cubicBezTo>
                        <a:cubicBezTo>
                          <a:pt x="8211" y="13731"/>
                          <a:pt x="8679" y="13310"/>
                          <a:pt x="9252" y="13310"/>
                        </a:cubicBezTo>
                        <a:lnTo>
                          <a:pt x="12309" y="13310"/>
                        </a:lnTo>
                        <a:cubicBezTo>
                          <a:pt x="12882" y="13310"/>
                          <a:pt x="13350" y="13731"/>
                          <a:pt x="13350" y="14244"/>
                        </a:cubicBezTo>
                        <a:cubicBezTo>
                          <a:pt x="13350" y="14758"/>
                          <a:pt x="12882" y="15178"/>
                          <a:pt x="12309" y="15178"/>
                        </a:cubicBezTo>
                        <a:close/>
                        <a:moveTo>
                          <a:pt x="12309" y="10391"/>
                        </a:moveTo>
                        <a:lnTo>
                          <a:pt x="9252" y="10391"/>
                        </a:lnTo>
                        <a:cubicBezTo>
                          <a:pt x="8679" y="10391"/>
                          <a:pt x="8211" y="9971"/>
                          <a:pt x="8211" y="9457"/>
                        </a:cubicBezTo>
                        <a:cubicBezTo>
                          <a:pt x="8211" y="8944"/>
                          <a:pt x="8679" y="8523"/>
                          <a:pt x="9252" y="8523"/>
                        </a:cubicBezTo>
                        <a:lnTo>
                          <a:pt x="12309" y="8523"/>
                        </a:lnTo>
                        <a:cubicBezTo>
                          <a:pt x="12882" y="8523"/>
                          <a:pt x="13350" y="8944"/>
                          <a:pt x="13350" y="9457"/>
                        </a:cubicBezTo>
                        <a:cubicBezTo>
                          <a:pt x="13350" y="9971"/>
                          <a:pt x="12882" y="10391"/>
                          <a:pt x="12309" y="10391"/>
                        </a:cubicBezTo>
                        <a:close/>
                        <a:moveTo>
                          <a:pt x="19037" y="19849"/>
                        </a:moveTo>
                        <a:lnTo>
                          <a:pt x="15979" y="19849"/>
                        </a:lnTo>
                        <a:cubicBezTo>
                          <a:pt x="15406" y="19849"/>
                          <a:pt x="14938" y="19428"/>
                          <a:pt x="14938" y="18915"/>
                        </a:cubicBezTo>
                        <a:cubicBezTo>
                          <a:pt x="14938" y="18401"/>
                          <a:pt x="15406" y="17981"/>
                          <a:pt x="15979" y="17981"/>
                        </a:cubicBezTo>
                        <a:lnTo>
                          <a:pt x="19037" y="17981"/>
                        </a:lnTo>
                        <a:cubicBezTo>
                          <a:pt x="19609" y="17981"/>
                          <a:pt x="20078" y="18401"/>
                          <a:pt x="20078" y="18915"/>
                        </a:cubicBezTo>
                        <a:cubicBezTo>
                          <a:pt x="20078" y="19428"/>
                          <a:pt x="19609" y="19849"/>
                          <a:pt x="19037" y="19849"/>
                        </a:cubicBezTo>
                        <a:close/>
                        <a:moveTo>
                          <a:pt x="19037" y="15178"/>
                        </a:moveTo>
                        <a:lnTo>
                          <a:pt x="15979" y="15178"/>
                        </a:lnTo>
                        <a:cubicBezTo>
                          <a:pt x="15406" y="15178"/>
                          <a:pt x="14938" y="14758"/>
                          <a:pt x="14938" y="14244"/>
                        </a:cubicBezTo>
                        <a:cubicBezTo>
                          <a:pt x="14938" y="13731"/>
                          <a:pt x="15406" y="13310"/>
                          <a:pt x="15979" y="13310"/>
                        </a:cubicBezTo>
                        <a:lnTo>
                          <a:pt x="19037" y="13310"/>
                        </a:lnTo>
                        <a:cubicBezTo>
                          <a:pt x="19609" y="13310"/>
                          <a:pt x="20078" y="13731"/>
                          <a:pt x="20078" y="14244"/>
                        </a:cubicBezTo>
                        <a:cubicBezTo>
                          <a:pt x="20078" y="14758"/>
                          <a:pt x="19609" y="15178"/>
                          <a:pt x="19037" y="15178"/>
                        </a:cubicBezTo>
                        <a:close/>
                        <a:moveTo>
                          <a:pt x="19037" y="10391"/>
                        </a:moveTo>
                        <a:lnTo>
                          <a:pt x="15979" y="10391"/>
                        </a:lnTo>
                        <a:cubicBezTo>
                          <a:pt x="15406" y="10391"/>
                          <a:pt x="14938" y="9971"/>
                          <a:pt x="14938" y="9457"/>
                        </a:cubicBezTo>
                        <a:cubicBezTo>
                          <a:pt x="14938" y="8944"/>
                          <a:pt x="15406" y="8523"/>
                          <a:pt x="15979" y="8523"/>
                        </a:cubicBezTo>
                        <a:lnTo>
                          <a:pt x="19037" y="8523"/>
                        </a:lnTo>
                        <a:cubicBezTo>
                          <a:pt x="19609" y="8523"/>
                          <a:pt x="20078" y="8944"/>
                          <a:pt x="20078" y="9457"/>
                        </a:cubicBezTo>
                        <a:cubicBezTo>
                          <a:pt x="20078" y="9971"/>
                          <a:pt x="19609" y="10391"/>
                          <a:pt x="19037" y="10391"/>
                        </a:cubicBezTo>
                        <a:close/>
                        <a:moveTo>
                          <a:pt x="20169" y="5838"/>
                        </a:moveTo>
                        <a:cubicBezTo>
                          <a:pt x="20169" y="6352"/>
                          <a:pt x="19700" y="6772"/>
                          <a:pt x="19128" y="6772"/>
                        </a:cubicBezTo>
                        <a:lnTo>
                          <a:pt x="2602" y="6772"/>
                        </a:lnTo>
                        <a:cubicBezTo>
                          <a:pt x="2030" y="6772"/>
                          <a:pt x="1561" y="6352"/>
                          <a:pt x="1561" y="5838"/>
                        </a:cubicBezTo>
                        <a:lnTo>
                          <a:pt x="1561" y="2218"/>
                        </a:lnTo>
                        <a:cubicBezTo>
                          <a:pt x="1561" y="1705"/>
                          <a:pt x="2030" y="1284"/>
                          <a:pt x="2602" y="1284"/>
                        </a:cubicBezTo>
                        <a:lnTo>
                          <a:pt x="19128" y="1284"/>
                        </a:lnTo>
                        <a:cubicBezTo>
                          <a:pt x="19700" y="1284"/>
                          <a:pt x="20169" y="1705"/>
                          <a:pt x="20169" y="2218"/>
                        </a:cubicBezTo>
                        <a:lnTo>
                          <a:pt x="20169" y="5838"/>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grpSp>
          </p:grpSp>
          <p:sp>
            <p:nvSpPr>
              <p:cNvPr id="143" name="Provision"/>
              <p:cNvSpPr/>
              <p:nvPr/>
            </p:nvSpPr>
            <p:spPr>
              <a:xfrm>
                <a:off x="-1" y="171035"/>
                <a:ext cx="1825643" cy="886018"/>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25400" cap="flat">
                <a:solidFill>
                  <a:srgbClr val="22BF00"/>
                </a:solidFill>
                <a:prstDash val="solid"/>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21918" tIns="121918" rIns="121918" bIns="121918" numCol="1" anchor="t">
                <a:spAutoFit/>
              </a:bodyPr>
              <a:lstStyle>
                <a:lvl1pPr algn="l" defTabSz="2438400">
                  <a:defRPr sz="2900" b="0">
                    <a:solidFill>
                      <a:srgbClr val="000000"/>
                    </a:solidFill>
                    <a:effectLst>
                      <a:outerShdw blurRad="12700" dist="12700" dir="18900000" rotWithShape="0">
                        <a:srgbClr val="000000">
                          <a:alpha val="24000"/>
                        </a:srgbClr>
                      </a:outerShdw>
                    </a:effectLst>
                  </a:defRPr>
                </a:lvl1pPr>
              </a:lstStyle>
              <a:p>
                <a:r>
                  <a:rPr sz="2000" dirty="0"/>
                  <a:t>Provision</a:t>
                </a:r>
              </a:p>
            </p:txBody>
          </p:sp>
          <p:sp>
            <p:nvSpPr>
              <p:cNvPr id="144" name="Actual"/>
              <p:cNvSpPr/>
              <p:nvPr/>
            </p:nvSpPr>
            <p:spPr>
              <a:xfrm>
                <a:off x="-1" y="1369554"/>
                <a:ext cx="1825643" cy="886018"/>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25400" cap="flat">
                <a:solidFill>
                  <a:schemeClr val="accent3"/>
                </a:solidFill>
                <a:prstDash val="solid"/>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21918" tIns="121918" rIns="121918" bIns="121918" numCol="1" anchor="t">
                <a:spAutoFit/>
              </a:bodyPr>
              <a:lstStyle>
                <a:lvl1pPr algn="l" defTabSz="2438400">
                  <a:defRPr sz="2900" b="0">
                    <a:solidFill>
                      <a:srgbClr val="000000"/>
                    </a:solidFill>
                    <a:effectLst>
                      <a:outerShdw blurRad="12700" dist="12700" dir="18900000" rotWithShape="0">
                        <a:srgbClr val="000000">
                          <a:alpha val="24000"/>
                        </a:srgbClr>
                      </a:outerShdw>
                    </a:effectLst>
                  </a:defRPr>
                </a:lvl1pPr>
              </a:lstStyle>
              <a:p>
                <a:r>
                  <a:rPr sz="2000" dirty="0"/>
                  <a:t>Actual</a:t>
                </a:r>
              </a:p>
            </p:txBody>
          </p:sp>
        </p:grpSp>
        <p:sp>
          <p:nvSpPr>
            <p:cNvPr id="140" name="TextBox 139"/>
            <p:cNvSpPr txBox="1"/>
            <p:nvPr/>
          </p:nvSpPr>
          <p:spPr>
            <a:xfrm>
              <a:off x="1566066" y="9553891"/>
              <a:ext cx="3568992" cy="70788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r>
                <a:rPr lang="en-US" sz="2000" dirty="0">
                  <a:solidFill>
                    <a:schemeClr val="accent1">
                      <a:lumMod val="50000"/>
                    </a:schemeClr>
                  </a:solidFill>
                  <a:effectLst/>
                </a:rPr>
                <a:t>INTERNALLY GENERATED REVENUE (IGR)</a:t>
              </a:r>
            </a:p>
          </p:txBody>
        </p:sp>
      </p:grpSp>
      <p:grpSp>
        <p:nvGrpSpPr>
          <p:cNvPr id="179" name="Group 178"/>
          <p:cNvGrpSpPr/>
          <p:nvPr/>
        </p:nvGrpSpPr>
        <p:grpSpPr>
          <a:xfrm>
            <a:off x="1697980" y="10811079"/>
            <a:ext cx="10360289" cy="1387852"/>
            <a:chOff x="-1174319" y="6657016"/>
            <a:chExt cx="10803209" cy="1603267"/>
          </a:xfrm>
        </p:grpSpPr>
        <p:grpSp>
          <p:nvGrpSpPr>
            <p:cNvPr id="180" name="Group"/>
            <p:cNvGrpSpPr/>
            <p:nvPr/>
          </p:nvGrpSpPr>
          <p:grpSpPr>
            <a:xfrm>
              <a:off x="2675351" y="6657016"/>
              <a:ext cx="6953539" cy="1603267"/>
              <a:chOff x="-1" y="0"/>
              <a:chExt cx="6001041" cy="2279449"/>
            </a:xfrm>
          </p:grpSpPr>
          <p:grpSp>
            <p:nvGrpSpPr>
              <p:cNvPr id="182" name="Group"/>
              <p:cNvGrpSpPr/>
              <p:nvPr/>
            </p:nvGrpSpPr>
            <p:grpSpPr>
              <a:xfrm>
                <a:off x="2088173" y="0"/>
                <a:ext cx="3912867" cy="1030435"/>
                <a:chOff x="-1" y="0"/>
                <a:chExt cx="3912866" cy="1030434"/>
              </a:xfrm>
            </p:grpSpPr>
            <p:grpSp>
              <p:nvGrpSpPr>
                <p:cNvPr id="203" name="Rectangle: Rounded Corners 29"/>
                <p:cNvGrpSpPr/>
                <p:nvPr/>
              </p:nvGrpSpPr>
              <p:grpSpPr>
                <a:xfrm>
                  <a:off x="1108846" y="0"/>
                  <a:ext cx="2804019" cy="1030434"/>
                  <a:chOff x="1" y="0"/>
                  <a:chExt cx="2804018" cy="1030433"/>
                </a:xfrm>
              </p:grpSpPr>
              <p:sp>
                <p:nvSpPr>
                  <p:cNvPr id="218" name="Rounded Rectangle"/>
                  <p:cNvSpPr/>
                  <p:nvPr/>
                </p:nvSpPr>
                <p:spPr>
                  <a:xfrm>
                    <a:off x="1" y="0"/>
                    <a:ext cx="1743473" cy="1030433"/>
                  </a:xfrm>
                  <a:prstGeom prst="roundRect">
                    <a:avLst>
                      <a:gd name="adj" fmla="val 17206"/>
                    </a:avLst>
                  </a:prstGeom>
                  <a:ln/>
                </p:spPr>
                <p:style>
                  <a:lnRef idx="2">
                    <a:schemeClr val="dk1">
                      <a:shade val="50000"/>
                    </a:schemeClr>
                  </a:lnRef>
                  <a:fillRef idx="1">
                    <a:schemeClr val="dk1"/>
                  </a:fillRef>
                  <a:effectRef idx="0">
                    <a:schemeClr val="dk1"/>
                  </a:effectRef>
                  <a:fontRef idx="minor">
                    <a:schemeClr val="lt1"/>
                  </a:fontRef>
                </p:style>
                <p:txBody>
                  <a:bodyPr wrap="square" lIns="38100" tIns="38100" rIns="38100" bIns="38100" numCol="1" anchor="ctr">
                    <a:noAutofit/>
                  </a:bodyPr>
                  <a:lstStyle/>
                  <a:p>
                    <a:pPr algn="l">
                      <a:spcBef>
                        <a:spcPts val="1000"/>
                      </a:spcBef>
                      <a:defRPr sz="2700">
                        <a:solidFill>
                          <a:srgbClr val="000000"/>
                        </a:solidFill>
                        <a:effectLst/>
                      </a:defRPr>
                    </a:pPr>
                    <a:endParaRPr dirty="0"/>
                  </a:p>
                </p:txBody>
              </p:sp>
              <p:sp>
                <p:nvSpPr>
                  <p:cNvPr id="219" name="310,055 (₦’bn)"/>
                  <p:cNvSpPr/>
                  <p:nvPr/>
                </p:nvSpPr>
                <p:spPr>
                  <a:xfrm>
                    <a:off x="51926" y="186634"/>
                    <a:ext cx="2752093" cy="657143"/>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8" tIns="45718" rIns="45718" bIns="45718" numCol="1" anchor="ctr">
                    <a:spAutoFit/>
                  </a:bodyPr>
                  <a:lstStyle>
                    <a:lvl1pPr algn="l">
                      <a:spcBef>
                        <a:spcPts val="1000"/>
                      </a:spcBef>
                      <a:defRPr sz="2700">
                        <a:solidFill>
                          <a:srgbClr val="000000"/>
                        </a:solidFill>
                      </a:defRPr>
                    </a:lvl1pPr>
                  </a:lstStyle>
                  <a:p>
                    <a:pPr>
                      <a:defRPr>
                        <a:effectLst/>
                      </a:defRPr>
                    </a:pPr>
                    <a:r>
                      <a:rPr lang="en-US" sz="2000" dirty="0"/>
                      <a:t>15.828 </a:t>
                    </a:r>
                    <a:r>
                      <a:rPr sz="2000" dirty="0"/>
                      <a:t>(</a:t>
                    </a:r>
                    <a:r>
                      <a:rPr lang="en-GB" sz="2000" dirty="0"/>
                      <a:t>₦</a:t>
                    </a:r>
                    <a:r>
                      <a:rPr sz="2000" dirty="0"/>
                      <a:t>’</a:t>
                    </a:r>
                    <a:r>
                      <a:rPr lang="en-GB" sz="2000" dirty="0"/>
                      <a:t>BN</a:t>
                    </a:r>
                    <a:r>
                      <a:rPr sz="2000" dirty="0"/>
                      <a:t>)</a:t>
                    </a:r>
                  </a:p>
                </p:txBody>
              </p:sp>
            </p:grpSp>
            <p:grpSp>
              <p:nvGrpSpPr>
                <p:cNvPr id="204" name="Group"/>
                <p:cNvGrpSpPr/>
                <p:nvPr/>
              </p:nvGrpSpPr>
              <p:grpSpPr>
                <a:xfrm>
                  <a:off x="-1" y="10254"/>
                  <a:ext cx="1004617" cy="1009925"/>
                  <a:chOff x="0" y="0"/>
                  <a:chExt cx="1004615" cy="1009924"/>
                </a:xfrm>
              </p:grpSpPr>
              <p:sp>
                <p:nvSpPr>
                  <p:cNvPr id="205" name="Rectangle: Rounded Corners 28"/>
                  <p:cNvSpPr/>
                  <p:nvPr/>
                </p:nvSpPr>
                <p:spPr>
                  <a:xfrm>
                    <a:off x="0" y="0"/>
                    <a:ext cx="1004615" cy="1009924"/>
                  </a:xfrm>
                  <a:prstGeom prst="roundRect">
                    <a:avLst>
                      <a:gd name="adj" fmla="val 6667"/>
                    </a:avLst>
                  </a:prstGeom>
                  <a:solidFill>
                    <a:srgbClr val="008A3E"/>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defTabSz="914400">
                      <a:defRPr sz="1800" b="0" cap="none">
                        <a:solidFill>
                          <a:srgbClr val="FFFFFF"/>
                        </a:solidFill>
                        <a:effectLst/>
                        <a:latin typeface="Calibri"/>
                        <a:ea typeface="Calibri"/>
                        <a:cs typeface="Calibri"/>
                        <a:sym typeface="Calibri"/>
                      </a:defRPr>
                    </a:pPr>
                    <a:endParaRPr dirty="0"/>
                  </a:p>
                </p:txBody>
              </p:sp>
              <p:sp>
                <p:nvSpPr>
                  <p:cNvPr id="206" name="Freeform: Shape 78"/>
                  <p:cNvSpPr/>
                  <p:nvPr/>
                </p:nvSpPr>
                <p:spPr>
                  <a:xfrm>
                    <a:off x="166672" y="544685"/>
                    <a:ext cx="178122" cy="156842"/>
                  </a:xfrm>
                  <a:custGeom>
                    <a:avLst/>
                    <a:gdLst/>
                    <a:ahLst/>
                    <a:cxnLst>
                      <a:cxn ang="0">
                        <a:pos x="wd2" y="hd2"/>
                      </a:cxn>
                      <a:cxn ang="5400000">
                        <a:pos x="wd2" y="hd2"/>
                      </a:cxn>
                      <a:cxn ang="10800000">
                        <a:pos x="wd2" y="hd2"/>
                      </a:cxn>
                      <a:cxn ang="16200000">
                        <a:pos x="wd2" y="hd2"/>
                      </a:cxn>
                    </a:cxnLst>
                    <a:rect l="0" t="0" r="r" b="b"/>
                    <a:pathLst>
                      <a:path w="21600" h="21600" extrusionOk="0">
                        <a:moveTo>
                          <a:pt x="19421" y="0"/>
                        </a:moveTo>
                        <a:lnTo>
                          <a:pt x="0" y="0"/>
                        </a:lnTo>
                        <a:cubicBezTo>
                          <a:pt x="956" y="7858"/>
                          <a:pt x="3651" y="15283"/>
                          <a:pt x="7856" y="21600"/>
                        </a:cubicBezTo>
                        <a:lnTo>
                          <a:pt x="21600" y="5992"/>
                        </a:lnTo>
                        <a:cubicBezTo>
                          <a:pt x="20644" y="4125"/>
                          <a:pt x="19899" y="2106"/>
                          <a:pt x="19421"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07" name="Freeform: Shape 79"/>
                  <p:cNvSpPr/>
                  <p:nvPr/>
                </p:nvSpPr>
                <p:spPr>
                  <a:xfrm>
                    <a:off x="297661" y="654393"/>
                    <a:ext cx="157631" cy="178281"/>
                  </a:xfrm>
                  <a:custGeom>
                    <a:avLst/>
                    <a:gdLst/>
                    <a:ahLst/>
                    <a:cxnLst>
                      <a:cxn ang="0">
                        <a:pos x="wd2" y="hd2"/>
                      </a:cxn>
                      <a:cxn ang="5400000">
                        <a:pos x="wd2" y="hd2"/>
                      </a:cxn>
                      <a:cxn ang="10800000">
                        <a:pos x="wd2" y="hd2"/>
                      </a:cxn>
                      <a:cxn ang="16200000">
                        <a:pos x="wd2" y="hd2"/>
                      </a:cxn>
                    </a:cxnLst>
                    <a:rect l="0" t="0" r="r" b="b"/>
                    <a:pathLst>
                      <a:path w="21600" h="21600" extrusionOk="0">
                        <a:moveTo>
                          <a:pt x="15509" y="0"/>
                        </a:moveTo>
                        <a:lnTo>
                          <a:pt x="0" y="13732"/>
                        </a:lnTo>
                        <a:cubicBezTo>
                          <a:pt x="6307" y="17952"/>
                          <a:pt x="13738" y="20664"/>
                          <a:pt x="21600" y="21600"/>
                        </a:cubicBezTo>
                        <a:lnTo>
                          <a:pt x="21600" y="2196"/>
                        </a:lnTo>
                        <a:cubicBezTo>
                          <a:pt x="19462" y="1700"/>
                          <a:pt x="17431" y="974"/>
                          <a:pt x="15509"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08" name="Freeform: Shape 80"/>
                  <p:cNvSpPr/>
                  <p:nvPr/>
                </p:nvSpPr>
                <p:spPr>
                  <a:xfrm>
                    <a:off x="548133" y="164956"/>
                    <a:ext cx="286887" cy="287044"/>
                  </a:xfrm>
                  <a:custGeom>
                    <a:avLst/>
                    <a:gdLst/>
                    <a:ahLst/>
                    <a:cxnLst>
                      <a:cxn ang="0">
                        <a:pos x="wd2" y="hd2"/>
                      </a:cxn>
                      <a:cxn ang="5400000">
                        <a:pos x="wd2" y="hd2"/>
                      </a:cxn>
                      <a:cxn ang="10800000">
                        <a:pos x="wd2" y="hd2"/>
                      </a:cxn>
                      <a:cxn ang="16200000">
                        <a:pos x="wd2" y="hd2"/>
                      </a:cxn>
                    </a:cxnLst>
                    <a:rect l="0" t="0" r="r" b="b"/>
                    <a:pathLst>
                      <a:path w="21600" h="21600" extrusionOk="0">
                        <a:moveTo>
                          <a:pt x="83" y="0"/>
                        </a:moveTo>
                        <a:cubicBezTo>
                          <a:pt x="47" y="4413"/>
                          <a:pt x="12" y="10094"/>
                          <a:pt x="0" y="12075"/>
                        </a:cubicBezTo>
                        <a:cubicBezTo>
                          <a:pt x="4640" y="13332"/>
                          <a:pt x="8260" y="16962"/>
                          <a:pt x="9506" y="21600"/>
                        </a:cubicBezTo>
                        <a:lnTo>
                          <a:pt x="21600" y="21576"/>
                        </a:lnTo>
                        <a:cubicBezTo>
                          <a:pt x="20010" y="10415"/>
                          <a:pt x="11251" y="1625"/>
                          <a:pt x="83"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09" name="Freeform: Shape 81"/>
                  <p:cNvSpPr/>
                  <p:nvPr/>
                </p:nvSpPr>
                <p:spPr>
                  <a:xfrm>
                    <a:off x="350152" y="180718"/>
                    <a:ext cx="104036" cy="119800"/>
                  </a:xfrm>
                  <a:custGeom>
                    <a:avLst/>
                    <a:gdLst/>
                    <a:ahLst/>
                    <a:cxnLst>
                      <a:cxn ang="0">
                        <a:pos x="wd2" y="hd2"/>
                      </a:cxn>
                      <a:cxn ang="5400000">
                        <a:pos x="wd2" y="hd2"/>
                      </a:cxn>
                      <a:cxn ang="10800000">
                        <a:pos x="wd2" y="hd2"/>
                      </a:cxn>
                      <a:cxn ang="16200000">
                        <a:pos x="wd2" y="hd2"/>
                      </a:cxn>
                    </a:cxnLst>
                    <a:rect l="0" t="0" r="r" b="b"/>
                    <a:pathLst>
                      <a:path w="21600" h="21600" extrusionOk="0">
                        <a:moveTo>
                          <a:pt x="7789" y="0"/>
                        </a:moveTo>
                        <a:cubicBezTo>
                          <a:pt x="5138" y="824"/>
                          <a:pt x="2520" y="1791"/>
                          <a:pt x="0" y="2899"/>
                        </a:cubicBezTo>
                        <a:lnTo>
                          <a:pt x="21535" y="21600"/>
                        </a:lnTo>
                        <a:lnTo>
                          <a:pt x="21600" y="11994"/>
                        </a:lnTo>
                        <a:lnTo>
                          <a:pt x="7789"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10" name="Freeform: Shape 82"/>
                  <p:cNvSpPr/>
                  <p:nvPr/>
                </p:nvSpPr>
                <p:spPr>
                  <a:xfrm>
                    <a:off x="295297" y="209408"/>
                    <a:ext cx="149749" cy="134774"/>
                  </a:xfrm>
                  <a:custGeom>
                    <a:avLst/>
                    <a:gdLst/>
                    <a:ahLst/>
                    <a:cxnLst>
                      <a:cxn ang="0">
                        <a:pos x="wd2" y="hd2"/>
                      </a:cxn>
                      <a:cxn ang="5400000">
                        <a:pos x="wd2" y="hd2"/>
                      </a:cxn>
                      <a:cxn ang="10800000">
                        <a:pos x="wd2" y="hd2"/>
                      </a:cxn>
                      <a:cxn ang="16200000">
                        <a:pos x="wd2" y="hd2"/>
                      </a:cxn>
                    </a:cxnLst>
                    <a:rect l="0" t="0" r="r" b="b"/>
                    <a:pathLst>
                      <a:path w="21600" h="21600" extrusionOk="0">
                        <a:moveTo>
                          <a:pt x="4593" y="0"/>
                        </a:moveTo>
                        <a:cubicBezTo>
                          <a:pt x="3001" y="1061"/>
                          <a:pt x="1478" y="2223"/>
                          <a:pt x="0" y="3486"/>
                        </a:cubicBezTo>
                        <a:lnTo>
                          <a:pt x="16302" y="21600"/>
                        </a:lnTo>
                        <a:cubicBezTo>
                          <a:pt x="17985" y="20488"/>
                          <a:pt x="19758" y="19579"/>
                          <a:pt x="21600" y="18897"/>
                        </a:cubicBezTo>
                        <a:lnTo>
                          <a:pt x="4593"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11" name="Freeform: Shape 83"/>
                  <p:cNvSpPr/>
                  <p:nvPr/>
                </p:nvSpPr>
                <p:spPr>
                  <a:xfrm>
                    <a:off x="414937" y="164482"/>
                    <a:ext cx="39567" cy="47291"/>
                  </a:xfrm>
                  <a:custGeom>
                    <a:avLst/>
                    <a:gdLst/>
                    <a:ahLst/>
                    <a:cxnLst>
                      <a:cxn ang="0">
                        <a:pos x="wd2" y="hd2"/>
                      </a:cxn>
                      <a:cxn ang="5400000">
                        <a:pos x="wd2" y="hd2"/>
                      </a:cxn>
                      <a:cxn ang="10800000">
                        <a:pos x="wd2" y="hd2"/>
                      </a:cxn>
                      <a:cxn ang="16200000">
                        <a:pos x="wd2" y="hd2"/>
                      </a:cxn>
                    </a:cxnLst>
                    <a:rect l="0" t="0" r="r" b="b"/>
                    <a:pathLst>
                      <a:path w="21600" h="21600" extrusionOk="0">
                        <a:moveTo>
                          <a:pt x="0" y="3600"/>
                        </a:moveTo>
                        <a:lnTo>
                          <a:pt x="21514" y="21600"/>
                        </a:lnTo>
                        <a:lnTo>
                          <a:pt x="21600" y="0"/>
                        </a:lnTo>
                        <a:cubicBezTo>
                          <a:pt x="14285" y="864"/>
                          <a:pt x="7143" y="2016"/>
                          <a:pt x="0" y="360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12" name="Freeform: Shape 84"/>
                  <p:cNvSpPr/>
                  <p:nvPr/>
                </p:nvSpPr>
                <p:spPr>
                  <a:xfrm>
                    <a:off x="249270" y="247396"/>
                    <a:ext cx="138400" cy="138401"/>
                  </a:xfrm>
                  <a:custGeom>
                    <a:avLst/>
                    <a:gdLst/>
                    <a:ahLst/>
                    <a:cxnLst>
                      <a:cxn ang="0">
                        <a:pos x="wd2" y="hd2"/>
                      </a:cxn>
                      <a:cxn ang="5400000">
                        <a:pos x="wd2" y="hd2"/>
                      </a:cxn>
                      <a:cxn ang="10800000">
                        <a:pos x="wd2" y="hd2"/>
                      </a:cxn>
                      <a:cxn ang="16200000">
                        <a:pos x="wd2" y="hd2"/>
                      </a:cxn>
                    </a:cxnLst>
                    <a:rect l="0" t="0" r="r" b="b"/>
                    <a:pathLst>
                      <a:path w="21600" h="21600" extrusionOk="0">
                        <a:moveTo>
                          <a:pt x="4182" y="0"/>
                        </a:moveTo>
                        <a:cubicBezTo>
                          <a:pt x="3469" y="640"/>
                          <a:pt x="2755" y="1304"/>
                          <a:pt x="2067" y="1993"/>
                        </a:cubicBezTo>
                        <a:cubicBezTo>
                          <a:pt x="1353" y="2706"/>
                          <a:pt x="664" y="3444"/>
                          <a:pt x="0" y="4182"/>
                        </a:cubicBezTo>
                        <a:lnTo>
                          <a:pt x="17418" y="21600"/>
                        </a:lnTo>
                        <a:cubicBezTo>
                          <a:pt x="18672" y="20075"/>
                          <a:pt x="20050" y="18672"/>
                          <a:pt x="21600" y="17418"/>
                        </a:cubicBezTo>
                        <a:lnTo>
                          <a:pt x="4182"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13" name="Freeform: Shape 85"/>
                  <p:cNvSpPr/>
                  <p:nvPr/>
                </p:nvSpPr>
                <p:spPr>
                  <a:xfrm>
                    <a:off x="166830" y="413063"/>
                    <a:ext cx="44611" cy="37045"/>
                  </a:xfrm>
                  <a:custGeom>
                    <a:avLst/>
                    <a:gdLst/>
                    <a:ahLst/>
                    <a:cxnLst>
                      <a:cxn ang="0">
                        <a:pos x="wd2" y="hd2"/>
                      </a:cxn>
                      <a:cxn ang="5400000">
                        <a:pos x="wd2" y="hd2"/>
                      </a:cxn>
                      <a:cxn ang="10800000">
                        <a:pos x="wd2" y="hd2"/>
                      </a:cxn>
                      <a:cxn ang="16200000">
                        <a:pos x="wd2" y="hd2"/>
                      </a:cxn>
                    </a:cxnLst>
                    <a:rect l="0" t="0" r="r" b="b"/>
                    <a:pathLst>
                      <a:path w="21600" h="21600" extrusionOk="0">
                        <a:moveTo>
                          <a:pt x="3664" y="0"/>
                        </a:moveTo>
                        <a:cubicBezTo>
                          <a:pt x="2137" y="7077"/>
                          <a:pt x="916" y="14339"/>
                          <a:pt x="0" y="21600"/>
                        </a:cubicBezTo>
                        <a:lnTo>
                          <a:pt x="21600" y="21600"/>
                        </a:lnTo>
                        <a:lnTo>
                          <a:pt x="3664"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14" name="Freeform: Shape 86"/>
                  <p:cNvSpPr/>
                  <p:nvPr/>
                </p:nvSpPr>
                <p:spPr>
                  <a:xfrm>
                    <a:off x="182908" y="348436"/>
                    <a:ext cx="117751" cy="101673"/>
                  </a:xfrm>
                  <a:custGeom>
                    <a:avLst/>
                    <a:gdLst/>
                    <a:ahLst/>
                    <a:cxnLst>
                      <a:cxn ang="0">
                        <a:pos x="wd2" y="hd2"/>
                      </a:cxn>
                      <a:cxn ang="5400000">
                        <a:pos x="wd2" y="hd2"/>
                      </a:cxn>
                      <a:cxn ang="10800000">
                        <a:pos x="wd2" y="hd2"/>
                      </a:cxn>
                      <a:cxn ang="16200000">
                        <a:pos x="wd2" y="hd2"/>
                      </a:cxn>
                    </a:cxnLst>
                    <a:rect l="0" t="0" r="r" b="b"/>
                    <a:pathLst>
                      <a:path w="21600" h="21600" extrusionOk="0">
                        <a:moveTo>
                          <a:pt x="2920" y="0"/>
                        </a:moveTo>
                        <a:cubicBezTo>
                          <a:pt x="1793" y="2579"/>
                          <a:pt x="839" y="5224"/>
                          <a:pt x="0" y="7937"/>
                        </a:cubicBezTo>
                        <a:lnTo>
                          <a:pt x="11798" y="21600"/>
                        </a:lnTo>
                        <a:lnTo>
                          <a:pt x="21600" y="21600"/>
                        </a:lnTo>
                        <a:lnTo>
                          <a:pt x="2920"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15" name="Freeform: Shape 87"/>
                  <p:cNvSpPr/>
                  <p:nvPr/>
                </p:nvSpPr>
                <p:spPr>
                  <a:xfrm>
                    <a:off x="211596" y="293739"/>
                    <a:ext cx="134617" cy="149750"/>
                  </a:xfrm>
                  <a:custGeom>
                    <a:avLst/>
                    <a:gdLst/>
                    <a:ahLst/>
                    <a:cxnLst>
                      <a:cxn ang="0">
                        <a:pos x="wd2" y="hd2"/>
                      </a:cxn>
                      <a:cxn ang="5400000">
                        <a:pos x="wd2" y="hd2"/>
                      </a:cxn>
                      <a:cxn ang="10800000">
                        <a:pos x="wd2" y="hd2"/>
                      </a:cxn>
                      <a:cxn ang="16200000">
                        <a:pos x="wd2" y="hd2"/>
                      </a:cxn>
                    </a:cxnLst>
                    <a:rect l="0" t="0" r="r" b="b"/>
                    <a:pathLst>
                      <a:path w="21600" h="21600" extrusionOk="0">
                        <a:moveTo>
                          <a:pt x="3465" y="0"/>
                        </a:moveTo>
                        <a:cubicBezTo>
                          <a:pt x="2200" y="1478"/>
                          <a:pt x="1062" y="3001"/>
                          <a:pt x="0" y="4593"/>
                        </a:cubicBezTo>
                        <a:lnTo>
                          <a:pt x="18919" y="21600"/>
                        </a:lnTo>
                        <a:cubicBezTo>
                          <a:pt x="19577" y="19736"/>
                          <a:pt x="20487" y="17962"/>
                          <a:pt x="21600" y="16302"/>
                        </a:cubicBezTo>
                        <a:lnTo>
                          <a:pt x="3465"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16" name="Freeform: Shape 88"/>
                  <p:cNvSpPr/>
                  <p:nvPr/>
                </p:nvSpPr>
                <p:spPr>
                  <a:xfrm>
                    <a:off x="622376" y="591869"/>
                    <a:ext cx="174969" cy="33313"/>
                  </a:xfrm>
                  <a:prstGeom prst="rect">
                    <a:avLst/>
                  </a:pr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17" name="Freeform: Shape 89"/>
                  <p:cNvSpPr/>
                  <p:nvPr/>
                </p:nvSpPr>
                <p:spPr>
                  <a:xfrm>
                    <a:off x="578240" y="554141"/>
                    <a:ext cx="261666" cy="291615"/>
                  </a:xfrm>
                  <a:custGeom>
                    <a:avLst/>
                    <a:gdLst/>
                    <a:ahLst/>
                    <a:cxnLst>
                      <a:cxn ang="0">
                        <a:pos x="wd2" y="hd2"/>
                      </a:cxn>
                      <a:cxn ang="5400000">
                        <a:pos x="wd2" y="hd2"/>
                      </a:cxn>
                      <a:cxn ang="10800000">
                        <a:pos x="wd2" y="hd2"/>
                      </a:cxn>
                      <a:cxn ang="16200000">
                        <a:pos x="wd2" y="hd2"/>
                      </a:cxn>
                    </a:cxnLst>
                    <a:rect l="0" t="0" r="r" b="b"/>
                    <a:pathLst>
                      <a:path w="21600" h="21600" extrusionOk="0">
                        <a:moveTo>
                          <a:pt x="18737" y="0"/>
                        </a:moveTo>
                        <a:lnTo>
                          <a:pt x="2863" y="0"/>
                        </a:lnTo>
                        <a:cubicBezTo>
                          <a:pt x="1275" y="0"/>
                          <a:pt x="0" y="1144"/>
                          <a:pt x="0" y="2569"/>
                        </a:cubicBezTo>
                        <a:lnTo>
                          <a:pt x="0" y="19031"/>
                        </a:lnTo>
                        <a:cubicBezTo>
                          <a:pt x="0" y="20456"/>
                          <a:pt x="1275" y="21600"/>
                          <a:pt x="2863" y="21600"/>
                        </a:cubicBezTo>
                        <a:lnTo>
                          <a:pt x="18737" y="21600"/>
                        </a:lnTo>
                        <a:cubicBezTo>
                          <a:pt x="20325" y="21600"/>
                          <a:pt x="21600" y="20456"/>
                          <a:pt x="21600" y="19031"/>
                        </a:cubicBezTo>
                        <a:lnTo>
                          <a:pt x="21600" y="2569"/>
                        </a:lnTo>
                        <a:cubicBezTo>
                          <a:pt x="21600" y="1144"/>
                          <a:pt x="20325" y="0"/>
                          <a:pt x="18737" y="0"/>
                        </a:cubicBezTo>
                        <a:close/>
                        <a:moveTo>
                          <a:pt x="5595" y="19849"/>
                        </a:moveTo>
                        <a:lnTo>
                          <a:pt x="2537" y="19849"/>
                        </a:lnTo>
                        <a:cubicBezTo>
                          <a:pt x="1965" y="19849"/>
                          <a:pt x="1496" y="19428"/>
                          <a:pt x="1496" y="18915"/>
                        </a:cubicBezTo>
                        <a:cubicBezTo>
                          <a:pt x="1496" y="18401"/>
                          <a:pt x="1965" y="17981"/>
                          <a:pt x="2537" y="17981"/>
                        </a:cubicBezTo>
                        <a:lnTo>
                          <a:pt x="5595" y="17981"/>
                        </a:lnTo>
                        <a:cubicBezTo>
                          <a:pt x="6168" y="17981"/>
                          <a:pt x="6636" y="18401"/>
                          <a:pt x="6636" y="18915"/>
                        </a:cubicBezTo>
                        <a:cubicBezTo>
                          <a:pt x="6636" y="19428"/>
                          <a:pt x="6181" y="19849"/>
                          <a:pt x="5595" y="19849"/>
                        </a:cubicBezTo>
                        <a:close/>
                        <a:moveTo>
                          <a:pt x="5595" y="15178"/>
                        </a:moveTo>
                        <a:lnTo>
                          <a:pt x="2537" y="15178"/>
                        </a:lnTo>
                        <a:cubicBezTo>
                          <a:pt x="1965" y="15178"/>
                          <a:pt x="1496" y="14758"/>
                          <a:pt x="1496" y="14244"/>
                        </a:cubicBezTo>
                        <a:cubicBezTo>
                          <a:pt x="1496" y="13731"/>
                          <a:pt x="1965" y="13310"/>
                          <a:pt x="2537" y="13310"/>
                        </a:cubicBezTo>
                        <a:lnTo>
                          <a:pt x="5595" y="13310"/>
                        </a:lnTo>
                        <a:cubicBezTo>
                          <a:pt x="6168" y="13310"/>
                          <a:pt x="6636" y="13731"/>
                          <a:pt x="6636" y="14244"/>
                        </a:cubicBezTo>
                        <a:cubicBezTo>
                          <a:pt x="6636" y="14758"/>
                          <a:pt x="6181" y="15178"/>
                          <a:pt x="5595" y="15178"/>
                        </a:cubicBezTo>
                        <a:close/>
                        <a:moveTo>
                          <a:pt x="5595" y="10391"/>
                        </a:moveTo>
                        <a:lnTo>
                          <a:pt x="2537" y="10391"/>
                        </a:lnTo>
                        <a:cubicBezTo>
                          <a:pt x="1965" y="10391"/>
                          <a:pt x="1496" y="9971"/>
                          <a:pt x="1496" y="9457"/>
                        </a:cubicBezTo>
                        <a:cubicBezTo>
                          <a:pt x="1496" y="8944"/>
                          <a:pt x="1965" y="8523"/>
                          <a:pt x="2537" y="8523"/>
                        </a:cubicBezTo>
                        <a:lnTo>
                          <a:pt x="5595" y="8523"/>
                        </a:lnTo>
                        <a:cubicBezTo>
                          <a:pt x="6168" y="8523"/>
                          <a:pt x="6636" y="8944"/>
                          <a:pt x="6636" y="9457"/>
                        </a:cubicBezTo>
                        <a:cubicBezTo>
                          <a:pt x="6636" y="9971"/>
                          <a:pt x="6181" y="10391"/>
                          <a:pt x="5595" y="10391"/>
                        </a:cubicBezTo>
                        <a:close/>
                        <a:moveTo>
                          <a:pt x="12309" y="19849"/>
                        </a:moveTo>
                        <a:lnTo>
                          <a:pt x="9252" y="19849"/>
                        </a:lnTo>
                        <a:cubicBezTo>
                          <a:pt x="8679" y="19849"/>
                          <a:pt x="8211" y="19428"/>
                          <a:pt x="8211" y="18915"/>
                        </a:cubicBezTo>
                        <a:cubicBezTo>
                          <a:pt x="8211" y="18401"/>
                          <a:pt x="8679" y="17981"/>
                          <a:pt x="9252" y="17981"/>
                        </a:cubicBezTo>
                        <a:lnTo>
                          <a:pt x="12309" y="17981"/>
                        </a:lnTo>
                        <a:cubicBezTo>
                          <a:pt x="12882" y="17981"/>
                          <a:pt x="13350" y="18401"/>
                          <a:pt x="13350" y="18915"/>
                        </a:cubicBezTo>
                        <a:cubicBezTo>
                          <a:pt x="13350" y="19428"/>
                          <a:pt x="12882" y="19849"/>
                          <a:pt x="12309" y="19849"/>
                        </a:cubicBezTo>
                        <a:close/>
                        <a:moveTo>
                          <a:pt x="12309" y="15178"/>
                        </a:moveTo>
                        <a:lnTo>
                          <a:pt x="9252" y="15178"/>
                        </a:lnTo>
                        <a:cubicBezTo>
                          <a:pt x="8679" y="15178"/>
                          <a:pt x="8211" y="14758"/>
                          <a:pt x="8211" y="14244"/>
                        </a:cubicBezTo>
                        <a:cubicBezTo>
                          <a:pt x="8211" y="13731"/>
                          <a:pt x="8679" y="13310"/>
                          <a:pt x="9252" y="13310"/>
                        </a:cubicBezTo>
                        <a:lnTo>
                          <a:pt x="12309" y="13310"/>
                        </a:lnTo>
                        <a:cubicBezTo>
                          <a:pt x="12882" y="13310"/>
                          <a:pt x="13350" y="13731"/>
                          <a:pt x="13350" y="14244"/>
                        </a:cubicBezTo>
                        <a:cubicBezTo>
                          <a:pt x="13350" y="14758"/>
                          <a:pt x="12882" y="15178"/>
                          <a:pt x="12309" y="15178"/>
                        </a:cubicBezTo>
                        <a:close/>
                        <a:moveTo>
                          <a:pt x="12309" y="10391"/>
                        </a:moveTo>
                        <a:lnTo>
                          <a:pt x="9252" y="10391"/>
                        </a:lnTo>
                        <a:cubicBezTo>
                          <a:pt x="8679" y="10391"/>
                          <a:pt x="8211" y="9971"/>
                          <a:pt x="8211" y="9457"/>
                        </a:cubicBezTo>
                        <a:cubicBezTo>
                          <a:pt x="8211" y="8944"/>
                          <a:pt x="8679" y="8523"/>
                          <a:pt x="9252" y="8523"/>
                        </a:cubicBezTo>
                        <a:lnTo>
                          <a:pt x="12309" y="8523"/>
                        </a:lnTo>
                        <a:cubicBezTo>
                          <a:pt x="12882" y="8523"/>
                          <a:pt x="13350" y="8944"/>
                          <a:pt x="13350" y="9457"/>
                        </a:cubicBezTo>
                        <a:cubicBezTo>
                          <a:pt x="13350" y="9971"/>
                          <a:pt x="12882" y="10391"/>
                          <a:pt x="12309" y="10391"/>
                        </a:cubicBezTo>
                        <a:close/>
                        <a:moveTo>
                          <a:pt x="19037" y="19849"/>
                        </a:moveTo>
                        <a:lnTo>
                          <a:pt x="15979" y="19849"/>
                        </a:lnTo>
                        <a:cubicBezTo>
                          <a:pt x="15406" y="19849"/>
                          <a:pt x="14938" y="19428"/>
                          <a:pt x="14938" y="18915"/>
                        </a:cubicBezTo>
                        <a:cubicBezTo>
                          <a:pt x="14938" y="18401"/>
                          <a:pt x="15406" y="17981"/>
                          <a:pt x="15979" y="17981"/>
                        </a:cubicBezTo>
                        <a:lnTo>
                          <a:pt x="19037" y="17981"/>
                        </a:lnTo>
                        <a:cubicBezTo>
                          <a:pt x="19609" y="17981"/>
                          <a:pt x="20078" y="18401"/>
                          <a:pt x="20078" y="18915"/>
                        </a:cubicBezTo>
                        <a:cubicBezTo>
                          <a:pt x="20078" y="19428"/>
                          <a:pt x="19609" y="19849"/>
                          <a:pt x="19037" y="19849"/>
                        </a:cubicBezTo>
                        <a:close/>
                        <a:moveTo>
                          <a:pt x="19037" y="15178"/>
                        </a:moveTo>
                        <a:lnTo>
                          <a:pt x="15979" y="15178"/>
                        </a:lnTo>
                        <a:cubicBezTo>
                          <a:pt x="15406" y="15178"/>
                          <a:pt x="14938" y="14758"/>
                          <a:pt x="14938" y="14244"/>
                        </a:cubicBezTo>
                        <a:cubicBezTo>
                          <a:pt x="14938" y="13731"/>
                          <a:pt x="15406" y="13310"/>
                          <a:pt x="15979" y="13310"/>
                        </a:cubicBezTo>
                        <a:lnTo>
                          <a:pt x="19037" y="13310"/>
                        </a:lnTo>
                        <a:cubicBezTo>
                          <a:pt x="19609" y="13310"/>
                          <a:pt x="20078" y="13731"/>
                          <a:pt x="20078" y="14244"/>
                        </a:cubicBezTo>
                        <a:cubicBezTo>
                          <a:pt x="20078" y="14758"/>
                          <a:pt x="19609" y="15178"/>
                          <a:pt x="19037" y="15178"/>
                        </a:cubicBezTo>
                        <a:close/>
                        <a:moveTo>
                          <a:pt x="19037" y="10391"/>
                        </a:moveTo>
                        <a:lnTo>
                          <a:pt x="15979" y="10391"/>
                        </a:lnTo>
                        <a:cubicBezTo>
                          <a:pt x="15406" y="10391"/>
                          <a:pt x="14938" y="9971"/>
                          <a:pt x="14938" y="9457"/>
                        </a:cubicBezTo>
                        <a:cubicBezTo>
                          <a:pt x="14938" y="8944"/>
                          <a:pt x="15406" y="8523"/>
                          <a:pt x="15979" y="8523"/>
                        </a:cubicBezTo>
                        <a:lnTo>
                          <a:pt x="19037" y="8523"/>
                        </a:lnTo>
                        <a:cubicBezTo>
                          <a:pt x="19609" y="8523"/>
                          <a:pt x="20078" y="8944"/>
                          <a:pt x="20078" y="9457"/>
                        </a:cubicBezTo>
                        <a:cubicBezTo>
                          <a:pt x="20078" y="9971"/>
                          <a:pt x="19609" y="10391"/>
                          <a:pt x="19037" y="10391"/>
                        </a:cubicBezTo>
                        <a:close/>
                        <a:moveTo>
                          <a:pt x="20169" y="5838"/>
                        </a:moveTo>
                        <a:cubicBezTo>
                          <a:pt x="20169" y="6352"/>
                          <a:pt x="19700" y="6772"/>
                          <a:pt x="19128" y="6772"/>
                        </a:cubicBezTo>
                        <a:lnTo>
                          <a:pt x="2602" y="6772"/>
                        </a:lnTo>
                        <a:cubicBezTo>
                          <a:pt x="2030" y="6772"/>
                          <a:pt x="1561" y="6352"/>
                          <a:pt x="1561" y="5838"/>
                        </a:cubicBezTo>
                        <a:lnTo>
                          <a:pt x="1561" y="2218"/>
                        </a:lnTo>
                        <a:cubicBezTo>
                          <a:pt x="1561" y="1705"/>
                          <a:pt x="2030" y="1284"/>
                          <a:pt x="2602" y="1284"/>
                        </a:cubicBezTo>
                        <a:lnTo>
                          <a:pt x="19128" y="1284"/>
                        </a:lnTo>
                        <a:cubicBezTo>
                          <a:pt x="19700" y="1284"/>
                          <a:pt x="20169" y="1705"/>
                          <a:pt x="20169" y="2218"/>
                        </a:cubicBezTo>
                        <a:lnTo>
                          <a:pt x="20169" y="5838"/>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grpSp>
          </p:grpSp>
          <p:grpSp>
            <p:nvGrpSpPr>
              <p:cNvPr id="183" name="Group"/>
              <p:cNvGrpSpPr/>
              <p:nvPr/>
            </p:nvGrpSpPr>
            <p:grpSpPr>
              <a:xfrm>
                <a:off x="2088173" y="1198518"/>
                <a:ext cx="3694192" cy="1030435"/>
                <a:chOff x="-1" y="0"/>
                <a:chExt cx="3694191" cy="1030434"/>
              </a:xfrm>
            </p:grpSpPr>
            <p:grpSp>
              <p:nvGrpSpPr>
                <p:cNvPr id="186" name="Rectangle: Rounded Corners 29"/>
                <p:cNvGrpSpPr/>
                <p:nvPr/>
              </p:nvGrpSpPr>
              <p:grpSpPr>
                <a:xfrm>
                  <a:off x="1108845" y="0"/>
                  <a:ext cx="2585345" cy="1030434"/>
                  <a:chOff x="0" y="0"/>
                  <a:chExt cx="2585344" cy="1030433"/>
                </a:xfrm>
              </p:grpSpPr>
              <p:sp>
                <p:nvSpPr>
                  <p:cNvPr id="201" name="Rounded Rectangle"/>
                  <p:cNvSpPr/>
                  <p:nvPr/>
                </p:nvSpPr>
                <p:spPr>
                  <a:xfrm>
                    <a:off x="0" y="0"/>
                    <a:ext cx="1729996" cy="1030433"/>
                  </a:xfrm>
                  <a:prstGeom prst="roundRect">
                    <a:avLst>
                      <a:gd name="adj" fmla="val 17206"/>
                    </a:avLst>
                  </a:prstGeom>
                  <a:solidFill>
                    <a:srgbClr val="FF0000"/>
                  </a:solidFill>
                  <a:ln/>
                </p:spPr>
                <p:style>
                  <a:lnRef idx="1">
                    <a:schemeClr val="accent5"/>
                  </a:lnRef>
                  <a:fillRef idx="3">
                    <a:schemeClr val="accent5"/>
                  </a:fillRef>
                  <a:effectRef idx="2">
                    <a:schemeClr val="accent5"/>
                  </a:effectRef>
                  <a:fontRef idx="minor">
                    <a:schemeClr val="lt1"/>
                  </a:fontRef>
                </p:style>
                <p:txBody>
                  <a:bodyPr wrap="square" lIns="38100" tIns="38100" rIns="38100" bIns="38100" numCol="1" anchor="ctr">
                    <a:noAutofit/>
                  </a:bodyPr>
                  <a:lstStyle/>
                  <a:p>
                    <a:pPr algn="l">
                      <a:spcBef>
                        <a:spcPts val="1000"/>
                      </a:spcBef>
                      <a:defRPr sz="2700">
                        <a:solidFill>
                          <a:srgbClr val="000000"/>
                        </a:solidFill>
                        <a:effectLst/>
                      </a:defRPr>
                    </a:pPr>
                    <a:r>
                      <a:rPr lang="en-GB" sz="2000" dirty="0">
                        <a:solidFill>
                          <a:srgbClr val="000000"/>
                        </a:solidFill>
                      </a:rPr>
                      <a:t>3.144 </a:t>
                    </a:r>
                    <a:r>
                      <a:rPr lang="en-GB" sz="2000" dirty="0"/>
                      <a:t>(₦’BN)</a:t>
                    </a:r>
                    <a:endParaRPr sz="2000" dirty="0"/>
                  </a:p>
                </p:txBody>
              </p:sp>
              <p:sp>
                <p:nvSpPr>
                  <p:cNvPr id="202" name="Text"/>
                  <p:cNvSpPr/>
                  <p:nvPr/>
                </p:nvSpPr>
                <p:spPr>
                  <a:xfrm>
                    <a:off x="51927" y="515203"/>
                    <a:ext cx="2533417" cy="2"/>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45718" tIns="45718" rIns="45718" bIns="45718" numCol="1" anchor="ctr">
                    <a:spAutoFit/>
                  </a:bodyPr>
                  <a:lstStyle/>
                  <a:p>
                    <a:pPr algn="l">
                      <a:spcBef>
                        <a:spcPts val="1000"/>
                      </a:spcBef>
                      <a:defRPr sz="2700">
                        <a:solidFill>
                          <a:srgbClr val="000000"/>
                        </a:solidFill>
                        <a:effectLst/>
                      </a:defRPr>
                    </a:pPr>
                    <a:endParaRPr dirty="0"/>
                  </a:p>
                </p:txBody>
              </p:sp>
            </p:grpSp>
            <p:grpSp>
              <p:nvGrpSpPr>
                <p:cNvPr id="187" name="Group"/>
                <p:cNvGrpSpPr/>
                <p:nvPr/>
              </p:nvGrpSpPr>
              <p:grpSpPr>
                <a:xfrm>
                  <a:off x="-1" y="10255"/>
                  <a:ext cx="1004617" cy="1009925"/>
                  <a:chOff x="0" y="0"/>
                  <a:chExt cx="1004615" cy="1009924"/>
                </a:xfrm>
              </p:grpSpPr>
              <p:sp>
                <p:nvSpPr>
                  <p:cNvPr id="188" name="Rectangle: Rounded Corners 28"/>
                  <p:cNvSpPr/>
                  <p:nvPr/>
                </p:nvSpPr>
                <p:spPr>
                  <a:xfrm>
                    <a:off x="0" y="0"/>
                    <a:ext cx="1004615" cy="1009924"/>
                  </a:xfrm>
                  <a:prstGeom prst="roundRect">
                    <a:avLst>
                      <a:gd name="adj" fmla="val 6667"/>
                    </a:avLst>
                  </a:prstGeom>
                  <a:solidFill>
                    <a:srgbClr val="8A6705"/>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defTabSz="914400">
                      <a:defRPr sz="1800" b="0" cap="none">
                        <a:solidFill>
                          <a:srgbClr val="FFFFFF"/>
                        </a:solidFill>
                        <a:effectLst/>
                        <a:latin typeface="Calibri"/>
                        <a:ea typeface="Calibri"/>
                        <a:cs typeface="Calibri"/>
                        <a:sym typeface="Calibri"/>
                      </a:defRPr>
                    </a:pPr>
                    <a:endParaRPr dirty="0"/>
                  </a:p>
                </p:txBody>
              </p:sp>
              <p:sp>
                <p:nvSpPr>
                  <p:cNvPr id="189" name="Freeform: Shape 78"/>
                  <p:cNvSpPr/>
                  <p:nvPr/>
                </p:nvSpPr>
                <p:spPr>
                  <a:xfrm>
                    <a:off x="166672" y="544685"/>
                    <a:ext cx="178122" cy="156842"/>
                  </a:xfrm>
                  <a:custGeom>
                    <a:avLst/>
                    <a:gdLst/>
                    <a:ahLst/>
                    <a:cxnLst>
                      <a:cxn ang="0">
                        <a:pos x="wd2" y="hd2"/>
                      </a:cxn>
                      <a:cxn ang="5400000">
                        <a:pos x="wd2" y="hd2"/>
                      </a:cxn>
                      <a:cxn ang="10800000">
                        <a:pos x="wd2" y="hd2"/>
                      </a:cxn>
                      <a:cxn ang="16200000">
                        <a:pos x="wd2" y="hd2"/>
                      </a:cxn>
                    </a:cxnLst>
                    <a:rect l="0" t="0" r="r" b="b"/>
                    <a:pathLst>
                      <a:path w="21600" h="21600" extrusionOk="0">
                        <a:moveTo>
                          <a:pt x="19421" y="0"/>
                        </a:moveTo>
                        <a:lnTo>
                          <a:pt x="0" y="0"/>
                        </a:lnTo>
                        <a:cubicBezTo>
                          <a:pt x="956" y="7858"/>
                          <a:pt x="3651" y="15283"/>
                          <a:pt x="7856" y="21600"/>
                        </a:cubicBezTo>
                        <a:lnTo>
                          <a:pt x="21600" y="5992"/>
                        </a:lnTo>
                        <a:cubicBezTo>
                          <a:pt x="20644" y="4125"/>
                          <a:pt x="19899" y="2106"/>
                          <a:pt x="19421"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90" name="Freeform: Shape 79"/>
                  <p:cNvSpPr/>
                  <p:nvPr/>
                </p:nvSpPr>
                <p:spPr>
                  <a:xfrm>
                    <a:off x="297661" y="654393"/>
                    <a:ext cx="157631" cy="178281"/>
                  </a:xfrm>
                  <a:custGeom>
                    <a:avLst/>
                    <a:gdLst/>
                    <a:ahLst/>
                    <a:cxnLst>
                      <a:cxn ang="0">
                        <a:pos x="wd2" y="hd2"/>
                      </a:cxn>
                      <a:cxn ang="5400000">
                        <a:pos x="wd2" y="hd2"/>
                      </a:cxn>
                      <a:cxn ang="10800000">
                        <a:pos x="wd2" y="hd2"/>
                      </a:cxn>
                      <a:cxn ang="16200000">
                        <a:pos x="wd2" y="hd2"/>
                      </a:cxn>
                    </a:cxnLst>
                    <a:rect l="0" t="0" r="r" b="b"/>
                    <a:pathLst>
                      <a:path w="21600" h="21600" extrusionOk="0">
                        <a:moveTo>
                          <a:pt x="15509" y="0"/>
                        </a:moveTo>
                        <a:lnTo>
                          <a:pt x="0" y="13732"/>
                        </a:lnTo>
                        <a:cubicBezTo>
                          <a:pt x="6307" y="17952"/>
                          <a:pt x="13738" y="20664"/>
                          <a:pt x="21600" y="21600"/>
                        </a:cubicBezTo>
                        <a:lnTo>
                          <a:pt x="21600" y="2196"/>
                        </a:lnTo>
                        <a:cubicBezTo>
                          <a:pt x="19462" y="1700"/>
                          <a:pt x="17431" y="974"/>
                          <a:pt x="15509"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91" name="Freeform: Shape 80"/>
                  <p:cNvSpPr/>
                  <p:nvPr/>
                </p:nvSpPr>
                <p:spPr>
                  <a:xfrm>
                    <a:off x="548133" y="164956"/>
                    <a:ext cx="286887" cy="287044"/>
                  </a:xfrm>
                  <a:custGeom>
                    <a:avLst/>
                    <a:gdLst/>
                    <a:ahLst/>
                    <a:cxnLst>
                      <a:cxn ang="0">
                        <a:pos x="wd2" y="hd2"/>
                      </a:cxn>
                      <a:cxn ang="5400000">
                        <a:pos x="wd2" y="hd2"/>
                      </a:cxn>
                      <a:cxn ang="10800000">
                        <a:pos x="wd2" y="hd2"/>
                      </a:cxn>
                      <a:cxn ang="16200000">
                        <a:pos x="wd2" y="hd2"/>
                      </a:cxn>
                    </a:cxnLst>
                    <a:rect l="0" t="0" r="r" b="b"/>
                    <a:pathLst>
                      <a:path w="21600" h="21600" extrusionOk="0">
                        <a:moveTo>
                          <a:pt x="83" y="0"/>
                        </a:moveTo>
                        <a:cubicBezTo>
                          <a:pt x="47" y="4413"/>
                          <a:pt x="12" y="10094"/>
                          <a:pt x="0" y="12075"/>
                        </a:cubicBezTo>
                        <a:cubicBezTo>
                          <a:pt x="4640" y="13332"/>
                          <a:pt x="8260" y="16962"/>
                          <a:pt x="9506" y="21600"/>
                        </a:cubicBezTo>
                        <a:lnTo>
                          <a:pt x="21600" y="21576"/>
                        </a:lnTo>
                        <a:cubicBezTo>
                          <a:pt x="20010" y="10415"/>
                          <a:pt x="11251" y="1625"/>
                          <a:pt x="83"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92" name="Freeform: Shape 81"/>
                  <p:cNvSpPr/>
                  <p:nvPr/>
                </p:nvSpPr>
                <p:spPr>
                  <a:xfrm>
                    <a:off x="350152" y="180718"/>
                    <a:ext cx="104036" cy="119800"/>
                  </a:xfrm>
                  <a:custGeom>
                    <a:avLst/>
                    <a:gdLst/>
                    <a:ahLst/>
                    <a:cxnLst>
                      <a:cxn ang="0">
                        <a:pos x="wd2" y="hd2"/>
                      </a:cxn>
                      <a:cxn ang="5400000">
                        <a:pos x="wd2" y="hd2"/>
                      </a:cxn>
                      <a:cxn ang="10800000">
                        <a:pos x="wd2" y="hd2"/>
                      </a:cxn>
                      <a:cxn ang="16200000">
                        <a:pos x="wd2" y="hd2"/>
                      </a:cxn>
                    </a:cxnLst>
                    <a:rect l="0" t="0" r="r" b="b"/>
                    <a:pathLst>
                      <a:path w="21600" h="21600" extrusionOk="0">
                        <a:moveTo>
                          <a:pt x="7789" y="0"/>
                        </a:moveTo>
                        <a:cubicBezTo>
                          <a:pt x="5138" y="824"/>
                          <a:pt x="2520" y="1791"/>
                          <a:pt x="0" y="2899"/>
                        </a:cubicBezTo>
                        <a:lnTo>
                          <a:pt x="21535" y="21600"/>
                        </a:lnTo>
                        <a:lnTo>
                          <a:pt x="21600" y="11994"/>
                        </a:lnTo>
                        <a:lnTo>
                          <a:pt x="7789"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93" name="Freeform: Shape 82"/>
                  <p:cNvSpPr/>
                  <p:nvPr/>
                </p:nvSpPr>
                <p:spPr>
                  <a:xfrm>
                    <a:off x="295297" y="209408"/>
                    <a:ext cx="149749" cy="134774"/>
                  </a:xfrm>
                  <a:custGeom>
                    <a:avLst/>
                    <a:gdLst/>
                    <a:ahLst/>
                    <a:cxnLst>
                      <a:cxn ang="0">
                        <a:pos x="wd2" y="hd2"/>
                      </a:cxn>
                      <a:cxn ang="5400000">
                        <a:pos x="wd2" y="hd2"/>
                      </a:cxn>
                      <a:cxn ang="10800000">
                        <a:pos x="wd2" y="hd2"/>
                      </a:cxn>
                      <a:cxn ang="16200000">
                        <a:pos x="wd2" y="hd2"/>
                      </a:cxn>
                    </a:cxnLst>
                    <a:rect l="0" t="0" r="r" b="b"/>
                    <a:pathLst>
                      <a:path w="21600" h="21600" extrusionOk="0">
                        <a:moveTo>
                          <a:pt x="4593" y="0"/>
                        </a:moveTo>
                        <a:cubicBezTo>
                          <a:pt x="3001" y="1061"/>
                          <a:pt x="1478" y="2223"/>
                          <a:pt x="0" y="3486"/>
                        </a:cubicBezTo>
                        <a:lnTo>
                          <a:pt x="16302" y="21600"/>
                        </a:lnTo>
                        <a:cubicBezTo>
                          <a:pt x="17985" y="20488"/>
                          <a:pt x="19758" y="19579"/>
                          <a:pt x="21600" y="18897"/>
                        </a:cubicBezTo>
                        <a:lnTo>
                          <a:pt x="4593"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94" name="Freeform: Shape 83"/>
                  <p:cNvSpPr/>
                  <p:nvPr/>
                </p:nvSpPr>
                <p:spPr>
                  <a:xfrm>
                    <a:off x="414937" y="164482"/>
                    <a:ext cx="39567" cy="47291"/>
                  </a:xfrm>
                  <a:custGeom>
                    <a:avLst/>
                    <a:gdLst/>
                    <a:ahLst/>
                    <a:cxnLst>
                      <a:cxn ang="0">
                        <a:pos x="wd2" y="hd2"/>
                      </a:cxn>
                      <a:cxn ang="5400000">
                        <a:pos x="wd2" y="hd2"/>
                      </a:cxn>
                      <a:cxn ang="10800000">
                        <a:pos x="wd2" y="hd2"/>
                      </a:cxn>
                      <a:cxn ang="16200000">
                        <a:pos x="wd2" y="hd2"/>
                      </a:cxn>
                    </a:cxnLst>
                    <a:rect l="0" t="0" r="r" b="b"/>
                    <a:pathLst>
                      <a:path w="21600" h="21600" extrusionOk="0">
                        <a:moveTo>
                          <a:pt x="0" y="3600"/>
                        </a:moveTo>
                        <a:lnTo>
                          <a:pt x="21514" y="21600"/>
                        </a:lnTo>
                        <a:lnTo>
                          <a:pt x="21600" y="0"/>
                        </a:lnTo>
                        <a:cubicBezTo>
                          <a:pt x="14285" y="864"/>
                          <a:pt x="7143" y="2016"/>
                          <a:pt x="0" y="360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95" name="Freeform: Shape 84"/>
                  <p:cNvSpPr/>
                  <p:nvPr/>
                </p:nvSpPr>
                <p:spPr>
                  <a:xfrm>
                    <a:off x="249270" y="247396"/>
                    <a:ext cx="138400" cy="138401"/>
                  </a:xfrm>
                  <a:custGeom>
                    <a:avLst/>
                    <a:gdLst/>
                    <a:ahLst/>
                    <a:cxnLst>
                      <a:cxn ang="0">
                        <a:pos x="wd2" y="hd2"/>
                      </a:cxn>
                      <a:cxn ang="5400000">
                        <a:pos x="wd2" y="hd2"/>
                      </a:cxn>
                      <a:cxn ang="10800000">
                        <a:pos x="wd2" y="hd2"/>
                      </a:cxn>
                      <a:cxn ang="16200000">
                        <a:pos x="wd2" y="hd2"/>
                      </a:cxn>
                    </a:cxnLst>
                    <a:rect l="0" t="0" r="r" b="b"/>
                    <a:pathLst>
                      <a:path w="21600" h="21600" extrusionOk="0">
                        <a:moveTo>
                          <a:pt x="4182" y="0"/>
                        </a:moveTo>
                        <a:cubicBezTo>
                          <a:pt x="3469" y="640"/>
                          <a:pt x="2755" y="1304"/>
                          <a:pt x="2067" y="1993"/>
                        </a:cubicBezTo>
                        <a:cubicBezTo>
                          <a:pt x="1353" y="2706"/>
                          <a:pt x="664" y="3444"/>
                          <a:pt x="0" y="4182"/>
                        </a:cubicBezTo>
                        <a:lnTo>
                          <a:pt x="17418" y="21600"/>
                        </a:lnTo>
                        <a:cubicBezTo>
                          <a:pt x="18672" y="20075"/>
                          <a:pt x="20050" y="18672"/>
                          <a:pt x="21600" y="17418"/>
                        </a:cubicBezTo>
                        <a:lnTo>
                          <a:pt x="4182"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96" name="Freeform: Shape 85"/>
                  <p:cNvSpPr/>
                  <p:nvPr/>
                </p:nvSpPr>
                <p:spPr>
                  <a:xfrm>
                    <a:off x="166830" y="413063"/>
                    <a:ext cx="44611" cy="37045"/>
                  </a:xfrm>
                  <a:custGeom>
                    <a:avLst/>
                    <a:gdLst/>
                    <a:ahLst/>
                    <a:cxnLst>
                      <a:cxn ang="0">
                        <a:pos x="wd2" y="hd2"/>
                      </a:cxn>
                      <a:cxn ang="5400000">
                        <a:pos x="wd2" y="hd2"/>
                      </a:cxn>
                      <a:cxn ang="10800000">
                        <a:pos x="wd2" y="hd2"/>
                      </a:cxn>
                      <a:cxn ang="16200000">
                        <a:pos x="wd2" y="hd2"/>
                      </a:cxn>
                    </a:cxnLst>
                    <a:rect l="0" t="0" r="r" b="b"/>
                    <a:pathLst>
                      <a:path w="21600" h="21600" extrusionOk="0">
                        <a:moveTo>
                          <a:pt x="3664" y="0"/>
                        </a:moveTo>
                        <a:cubicBezTo>
                          <a:pt x="2137" y="7077"/>
                          <a:pt x="916" y="14339"/>
                          <a:pt x="0" y="21600"/>
                        </a:cubicBezTo>
                        <a:lnTo>
                          <a:pt x="21600" y="21600"/>
                        </a:lnTo>
                        <a:lnTo>
                          <a:pt x="3664"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97" name="Freeform: Shape 86"/>
                  <p:cNvSpPr/>
                  <p:nvPr/>
                </p:nvSpPr>
                <p:spPr>
                  <a:xfrm>
                    <a:off x="182908" y="348436"/>
                    <a:ext cx="117751" cy="101673"/>
                  </a:xfrm>
                  <a:custGeom>
                    <a:avLst/>
                    <a:gdLst/>
                    <a:ahLst/>
                    <a:cxnLst>
                      <a:cxn ang="0">
                        <a:pos x="wd2" y="hd2"/>
                      </a:cxn>
                      <a:cxn ang="5400000">
                        <a:pos x="wd2" y="hd2"/>
                      </a:cxn>
                      <a:cxn ang="10800000">
                        <a:pos x="wd2" y="hd2"/>
                      </a:cxn>
                      <a:cxn ang="16200000">
                        <a:pos x="wd2" y="hd2"/>
                      </a:cxn>
                    </a:cxnLst>
                    <a:rect l="0" t="0" r="r" b="b"/>
                    <a:pathLst>
                      <a:path w="21600" h="21600" extrusionOk="0">
                        <a:moveTo>
                          <a:pt x="2920" y="0"/>
                        </a:moveTo>
                        <a:cubicBezTo>
                          <a:pt x="1793" y="2579"/>
                          <a:pt x="839" y="5224"/>
                          <a:pt x="0" y="7937"/>
                        </a:cubicBezTo>
                        <a:lnTo>
                          <a:pt x="11798" y="21600"/>
                        </a:lnTo>
                        <a:lnTo>
                          <a:pt x="21600" y="21600"/>
                        </a:lnTo>
                        <a:lnTo>
                          <a:pt x="2920"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98" name="Freeform: Shape 87"/>
                  <p:cNvSpPr/>
                  <p:nvPr/>
                </p:nvSpPr>
                <p:spPr>
                  <a:xfrm>
                    <a:off x="211596" y="293739"/>
                    <a:ext cx="134617" cy="149750"/>
                  </a:xfrm>
                  <a:custGeom>
                    <a:avLst/>
                    <a:gdLst/>
                    <a:ahLst/>
                    <a:cxnLst>
                      <a:cxn ang="0">
                        <a:pos x="wd2" y="hd2"/>
                      </a:cxn>
                      <a:cxn ang="5400000">
                        <a:pos x="wd2" y="hd2"/>
                      </a:cxn>
                      <a:cxn ang="10800000">
                        <a:pos x="wd2" y="hd2"/>
                      </a:cxn>
                      <a:cxn ang="16200000">
                        <a:pos x="wd2" y="hd2"/>
                      </a:cxn>
                    </a:cxnLst>
                    <a:rect l="0" t="0" r="r" b="b"/>
                    <a:pathLst>
                      <a:path w="21600" h="21600" extrusionOk="0">
                        <a:moveTo>
                          <a:pt x="3465" y="0"/>
                        </a:moveTo>
                        <a:cubicBezTo>
                          <a:pt x="2200" y="1478"/>
                          <a:pt x="1062" y="3001"/>
                          <a:pt x="0" y="4593"/>
                        </a:cubicBezTo>
                        <a:lnTo>
                          <a:pt x="18919" y="21600"/>
                        </a:lnTo>
                        <a:cubicBezTo>
                          <a:pt x="19577" y="19736"/>
                          <a:pt x="20487" y="17962"/>
                          <a:pt x="21600" y="16302"/>
                        </a:cubicBezTo>
                        <a:lnTo>
                          <a:pt x="3465"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99" name="Freeform: Shape 88"/>
                  <p:cNvSpPr/>
                  <p:nvPr/>
                </p:nvSpPr>
                <p:spPr>
                  <a:xfrm>
                    <a:off x="622376" y="591869"/>
                    <a:ext cx="174969" cy="33313"/>
                  </a:xfrm>
                  <a:prstGeom prst="rect">
                    <a:avLst/>
                  </a:pr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00" name="Freeform: Shape 89"/>
                  <p:cNvSpPr/>
                  <p:nvPr/>
                </p:nvSpPr>
                <p:spPr>
                  <a:xfrm>
                    <a:off x="578240" y="554141"/>
                    <a:ext cx="261666" cy="291615"/>
                  </a:xfrm>
                  <a:custGeom>
                    <a:avLst/>
                    <a:gdLst/>
                    <a:ahLst/>
                    <a:cxnLst>
                      <a:cxn ang="0">
                        <a:pos x="wd2" y="hd2"/>
                      </a:cxn>
                      <a:cxn ang="5400000">
                        <a:pos x="wd2" y="hd2"/>
                      </a:cxn>
                      <a:cxn ang="10800000">
                        <a:pos x="wd2" y="hd2"/>
                      </a:cxn>
                      <a:cxn ang="16200000">
                        <a:pos x="wd2" y="hd2"/>
                      </a:cxn>
                    </a:cxnLst>
                    <a:rect l="0" t="0" r="r" b="b"/>
                    <a:pathLst>
                      <a:path w="21600" h="21600" extrusionOk="0">
                        <a:moveTo>
                          <a:pt x="18737" y="0"/>
                        </a:moveTo>
                        <a:lnTo>
                          <a:pt x="2863" y="0"/>
                        </a:lnTo>
                        <a:cubicBezTo>
                          <a:pt x="1275" y="0"/>
                          <a:pt x="0" y="1144"/>
                          <a:pt x="0" y="2569"/>
                        </a:cubicBezTo>
                        <a:lnTo>
                          <a:pt x="0" y="19031"/>
                        </a:lnTo>
                        <a:cubicBezTo>
                          <a:pt x="0" y="20456"/>
                          <a:pt x="1275" y="21600"/>
                          <a:pt x="2863" y="21600"/>
                        </a:cubicBezTo>
                        <a:lnTo>
                          <a:pt x="18737" y="21600"/>
                        </a:lnTo>
                        <a:cubicBezTo>
                          <a:pt x="20325" y="21600"/>
                          <a:pt x="21600" y="20456"/>
                          <a:pt x="21600" y="19031"/>
                        </a:cubicBezTo>
                        <a:lnTo>
                          <a:pt x="21600" y="2569"/>
                        </a:lnTo>
                        <a:cubicBezTo>
                          <a:pt x="21600" y="1144"/>
                          <a:pt x="20325" y="0"/>
                          <a:pt x="18737" y="0"/>
                        </a:cubicBezTo>
                        <a:close/>
                        <a:moveTo>
                          <a:pt x="5595" y="19849"/>
                        </a:moveTo>
                        <a:lnTo>
                          <a:pt x="2537" y="19849"/>
                        </a:lnTo>
                        <a:cubicBezTo>
                          <a:pt x="1965" y="19849"/>
                          <a:pt x="1496" y="19428"/>
                          <a:pt x="1496" y="18915"/>
                        </a:cubicBezTo>
                        <a:cubicBezTo>
                          <a:pt x="1496" y="18401"/>
                          <a:pt x="1965" y="17981"/>
                          <a:pt x="2537" y="17981"/>
                        </a:cubicBezTo>
                        <a:lnTo>
                          <a:pt x="5595" y="17981"/>
                        </a:lnTo>
                        <a:cubicBezTo>
                          <a:pt x="6168" y="17981"/>
                          <a:pt x="6636" y="18401"/>
                          <a:pt x="6636" y="18915"/>
                        </a:cubicBezTo>
                        <a:cubicBezTo>
                          <a:pt x="6636" y="19428"/>
                          <a:pt x="6181" y="19849"/>
                          <a:pt x="5595" y="19849"/>
                        </a:cubicBezTo>
                        <a:close/>
                        <a:moveTo>
                          <a:pt x="5595" y="15178"/>
                        </a:moveTo>
                        <a:lnTo>
                          <a:pt x="2537" y="15178"/>
                        </a:lnTo>
                        <a:cubicBezTo>
                          <a:pt x="1965" y="15178"/>
                          <a:pt x="1496" y="14758"/>
                          <a:pt x="1496" y="14244"/>
                        </a:cubicBezTo>
                        <a:cubicBezTo>
                          <a:pt x="1496" y="13731"/>
                          <a:pt x="1965" y="13310"/>
                          <a:pt x="2537" y="13310"/>
                        </a:cubicBezTo>
                        <a:lnTo>
                          <a:pt x="5595" y="13310"/>
                        </a:lnTo>
                        <a:cubicBezTo>
                          <a:pt x="6168" y="13310"/>
                          <a:pt x="6636" y="13731"/>
                          <a:pt x="6636" y="14244"/>
                        </a:cubicBezTo>
                        <a:cubicBezTo>
                          <a:pt x="6636" y="14758"/>
                          <a:pt x="6181" y="15178"/>
                          <a:pt x="5595" y="15178"/>
                        </a:cubicBezTo>
                        <a:close/>
                        <a:moveTo>
                          <a:pt x="5595" y="10391"/>
                        </a:moveTo>
                        <a:lnTo>
                          <a:pt x="2537" y="10391"/>
                        </a:lnTo>
                        <a:cubicBezTo>
                          <a:pt x="1965" y="10391"/>
                          <a:pt x="1496" y="9971"/>
                          <a:pt x="1496" y="9457"/>
                        </a:cubicBezTo>
                        <a:cubicBezTo>
                          <a:pt x="1496" y="8944"/>
                          <a:pt x="1965" y="8523"/>
                          <a:pt x="2537" y="8523"/>
                        </a:cubicBezTo>
                        <a:lnTo>
                          <a:pt x="5595" y="8523"/>
                        </a:lnTo>
                        <a:cubicBezTo>
                          <a:pt x="6168" y="8523"/>
                          <a:pt x="6636" y="8944"/>
                          <a:pt x="6636" y="9457"/>
                        </a:cubicBezTo>
                        <a:cubicBezTo>
                          <a:pt x="6636" y="9971"/>
                          <a:pt x="6181" y="10391"/>
                          <a:pt x="5595" y="10391"/>
                        </a:cubicBezTo>
                        <a:close/>
                        <a:moveTo>
                          <a:pt x="12309" y="19849"/>
                        </a:moveTo>
                        <a:lnTo>
                          <a:pt x="9252" y="19849"/>
                        </a:lnTo>
                        <a:cubicBezTo>
                          <a:pt x="8679" y="19849"/>
                          <a:pt x="8211" y="19428"/>
                          <a:pt x="8211" y="18915"/>
                        </a:cubicBezTo>
                        <a:cubicBezTo>
                          <a:pt x="8211" y="18401"/>
                          <a:pt x="8679" y="17981"/>
                          <a:pt x="9252" y="17981"/>
                        </a:cubicBezTo>
                        <a:lnTo>
                          <a:pt x="12309" y="17981"/>
                        </a:lnTo>
                        <a:cubicBezTo>
                          <a:pt x="12882" y="17981"/>
                          <a:pt x="13350" y="18401"/>
                          <a:pt x="13350" y="18915"/>
                        </a:cubicBezTo>
                        <a:cubicBezTo>
                          <a:pt x="13350" y="19428"/>
                          <a:pt x="12882" y="19849"/>
                          <a:pt x="12309" y="19849"/>
                        </a:cubicBezTo>
                        <a:close/>
                        <a:moveTo>
                          <a:pt x="12309" y="15178"/>
                        </a:moveTo>
                        <a:lnTo>
                          <a:pt x="9252" y="15178"/>
                        </a:lnTo>
                        <a:cubicBezTo>
                          <a:pt x="8679" y="15178"/>
                          <a:pt x="8211" y="14758"/>
                          <a:pt x="8211" y="14244"/>
                        </a:cubicBezTo>
                        <a:cubicBezTo>
                          <a:pt x="8211" y="13731"/>
                          <a:pt x="8679" y="13310"/>
                          <a:pt x="9252" y="13310"/>
                        </a:cubicBezTo>
                        <a:lnTo>
                          <a:pt x="12309" y="13310"/>
                        </a:lnTo>
                        <a:cubicBezTo>
                          <a:pt x="12882" y="13310"/>
                          <a:pt x="13350" y="13731"/>
                          <a:pt x="13350" y="14244"/>
                        </a:cubicBezTo>
                        <a:cubicBezTo>
                          <a:pt x="13350" y="14758"/>
                          <a:pt x="12882" y="15178"/>
                          <a:pt x="12309" y="15178"/>
                        </a:cubicBezTo>
                        <a:close/>
                        <a:moveTo>
                          <a:pt x="12309" y="10391"/>
                        </a:moveTo>
                        <a:lnTo>
                          <a:pt x="9252" y="10391"/>
                        </a:lnTo>
                        <a:cubicBezTo>
                          <a:pt x="8679" y="10391"/>
                          <a:pt x="8211" y="9971"/>
                          <a:pt x="8211" y="9457"/>
                        </a:cubicBezTo>
                        <a:cubicBezTo>
                          <a:pt x="8211" y="8944"/>
                          <a:pt x="8679" y="8523"/>
                          <a:pt x="9252" y="8523"/>
                        </a:cubicBezTo>
                        <a:lnTo>
                          <a:pt x="12309" y="8523"/>
                        </a:lnTo>
                        <a:cubicBezTo>
                          <a:pt x="12882" y="8523"/>
                          <a:pt x="13350" y="8944"/>
                          <a:pt x="13350" y="9457"/>
                        </a:cubicBezTo>
                        <a:cubicBezTo>
                          <a:pt x="13350" y="9971"/>
                          <a:pt x="12882" y="10391"/>
                          <a:pt x="12309" y="10391"/>
                        </a:cubicBezTo>
                        <a:close/>
                        <a:moveTo>
                          <a:pt x="19037" y="19849"/>
                        </a:moveTo>
                        <a:lnTo>
                          <a:pt x="15979" y="19849"/>
                        </a:lnTo>
                        <a:cubicBezTo>
                          <a:pt x="15406" y="19849"/>
                          <a:pt x="14938" y="19428"/>
                          <a:pt x="14938" y="18915"/>
                        </a:cubicBezTo>
                        <a:cubicBezTo>
                          <a:pt x="14938" y="18401"/>
                          <a:pt x="15406" y="17981"/>
                          <a:pt x="15979" y="17981"/>
                        </a:cubicBezTo>
                        <a:lnTo>
                          <a:pt x="19037" y="17981"/>
                        </a:lnTo>
                        <a:cubicBezTo>
                          <a:pt x="19609" y="17981"/>
                          <a:pt x="20078" y="18401"/>
                          <a:pt x="20078" y="18915"/>
                        </a:cubicBezTo>
                        <a:cubicBezTo>
                          <a:pt x="20078" y="19428"/>
                          <a:pt x="19609" y="19849"/>
                          <a:pt x="19037" y="19849"/>
                        </a:cubicBezTo>
                        <a:close/>
                        <a:moveTo>
                          <a:pt x="19037" y="15178"/>
                        </a:moveTo>
                        <a:lnTo>
                          <a:pt x="15979" y="15178"/>
                        </a:lnTo>
                        <a:cubicBezTo>
                          <a:pt x="15406" y="15178"/>
                          <a:pt x="14938" y="14758"/>
                          <a:pt x="14938" y="14244"/>
                        </a:cubicBezTo>
                        <a:cubicBezTo>
                          <a:pt x="14938" y="13731"/>
                          <a:pt x="15406" y="13310"/>
                          <a:pt x="15979" y="13310"/>
                        </a:cubicBezTo>
                        <a:lnTo>
                          <a:pt x="19037" y="13310"/>
                        </a:lnTo>
                        <a:cubicBezTo>
                          <a:pt x="19609" y="13310"/>
                          <a:pt x="20078" y="13731"/>
                          <a:pt x="20078" y="14244"/>
                        </a:cubicBezTo>
                        <a:cubicBezTo>
                          <a:pt x="20078" y="14758"/>
                          <a:pt x="19609" y="15178"/>
                          <a:pt x="19037" y="15178"/>
                        </a:cubicBezTo>
                        <a:close/>
                        <a:moveTo>
                          <a:pt x="19037" y="10391"/>
                        </a:moveTo>
                        <a:lnTo>
                          <a:pt x="15979" y="10391"/>
                        </a:lnTo>
                        <a:cubicBezTo>
                          <a:pt x="15406" y="10391"/>
                          <a:pt x="14938" y="9971"/>
                          <a:pt x="14938" y="9457"/>
                        </a:cubicBezTo>
                        <a:cubicBezTo>
                          <a:pt x="14938" y="8944"/>
                          <a:pt x="15406" y="8523"/>
                          <a:pt x="15979" y="8523"/>
                        </a:cubicBezTo>
                        <a:lnTo>
                          <a:pt x="19037" y="8523"/>
                        </a:lnTo>
                        <a:cubicBezTo>
                          <a:pt x="19609" y="8523"/>
                          <a:pt x="20078" y="8944"/>
                          <a:pt x="20078" y="9457"/>
                        </a:cubicBezTo>
                        <a:cubicBezTo>
                          <a:pt x="20078" y="9971"/>
                          <a:pt x="19609" y="10391"/>
                          <a:pt x="19037" y="10391"/>
                        </a:cubicBezTo>
                        <a:close/>
                        <a:moveTo>
                          <a:pt x="20169" y="5838"/>
                        </a:moveTo>
                        <a:cubicBezTo>
                          <a:pt x="20169" y="6352"/>
                          <a:pt x="19700" y="6772"/>
                          <a:pt x="19128" y="6772"/>
                        </a:cubicBezTo>
                        <a:lnTo>
                          <a:pt x="2602" y="6772"/>
                        </a:lnTo>
                        <a:cubicBezTo>
                          <a:pt x="2030" y="6772"/>
                          <a:pt x="1561" y="6352"/>
                          <a:pt x="1561" y="5838"/>
                        </a:cubicBezTo>
                        <a:lnTo>
                          <a:pt x="1561" y="2218"/>
                        </a:lnTo>
                        <a:cubicBezTo>
                          <a:pt x="1561" y="1705"/>
                          <a:pt x="2030" y="1284"/>
                          <a:pt x="2602" y="1284"/>
                        </a:cubicBezTo>
                        <a:lnTo>
                          <a:pt x="19128" y="1284"/>
                        </a:lnTo>
                        <a:cubicBezTo>
                          <a:pt x="19700" y="1284"/>
                          <a:pt x="20169" y="1705"/>
                          <a:pt x="20169" y="2218"/>
                        </a:cubicBezTo>
                        <a:lnTo>
                          <a:pt x="20169" y="5838"/>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grpSp>
          </p:grpSp>
          <p:sp>
            <p:nvSpPr>
              <p:cNvPr id="184" name="Provision"/>
              <p:cNvSpPr/>
              <p:nvPr/>
            </p:nvSpPr>
            <p:spPr>
              <a:xfrm>
                <a:off x="-1" y="171034"/>
                <a:ext cx="1825643" cy="909896"/>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25400" cap="flat">
                <a:solidFill>
                  <a:srgbClr val="22BF00"/>
                </a:solidFill>
                <a:prstDash val="solid"/>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21918" tIns="121918" rIns="121918" bIns="121918" numCol="1" anchor="t">
                <a:spAutoFit/>
              </a:bodyPr>
              <a:lstStyle>
                <a:lvl1pPr algn="l" defTabSz="2438400">
                  <a:defRPr sz="2900" b="0">
                    <a:solidFill>
                      <a:srgbClr val="000000"/>
                    </a:solidFill>
                    <a:effectLst>
                      <a:outerShdw blurRad="12700" dist="12700" dir="18900000" rotWithShape="0">
                        <a:srgbClr val="000000">
                          <a:alpha val="24000"/>
                        </a:srgbClr>
                      </a:outerShdw>
                    </a:effectLst>
                  </a:defRPr>
                </a:lvl1pPr>
              </a:lstStyle>
              <a:p>
                <a:r>
                  <a:rPr sz="2000" dirty="0"/>
                  <a:t>Provision</a:t>
                </a:r>
              </a:p>
            </p:txBody>
          </p:sp>
          <p:sp>
            <p:nvSpPr>
              <p:cNvPr id="185" name="Actual"/>
              <p:cNvSpPr/>
              <p:nvPr/>
            </p:nvSpPr>
            <p:spPr>
              <a:xfrm>
                <a:off x="-1" y="1369553"/>
                <a:ext cx="1825643" cy="909896"/>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25400" cap="flat">
                <a:solidFill>
                  <a:schemeClr val="accent3"/>
                </a:solidFill>
                <a:prstDash val="solid"/>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21918" tIns="121918" rIns="121918" bIns="121918" numCol="1" anchor="t">
                <a:spAutoFit/>
              </a:bodyPr>
              <a:lstStyle>
                <a:lvl1pPr algn="l" defTabSz="2438400">
                  <a:defRPr sz="2900" b="0">
                    <a:solidFill>
                      <a:srgbClr val="000000"/>
                    </a:solidFill>
                    <a:effectLst>
                      <a:outerShdw blurRad="12700" dist="12700" dir="18900000" rotWithShape="0">
                        <a:srgbClr val="000000">
                          <a:alpha val="24000"/>
                        </a:srgbClr>
                      </a:outerShdw>
                    </a:effectLst>
                  </a:defRPr>
                </a:lvl1pPr>
              </a:lstStyle>
              <a:p>
                <a:r>
                  <a:rPr sz="2000" dirty="0"/>
                  <a:t>Actual</a:t>
                </a:r>
              </a:p>
            </p:txBody>
          </p:sp>
        </p:grpSp>
        <p:sp>
          <p:nvSpPr>
            <p:cNvPr id="181" name="TextBox 180"/>
            <p:cNvSpPr txBox="1"/>
            <p:nvPr/>
          </p:nvSpPr>
          <p:spPr>
            <a:xfrm>
              <a:off x="-1174319" y="7400747"/>
              <a:ext cx="3615699" cy="462207"/>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r>
                <a:rPr lang="en-US" sz="2000" dirty="0">
                  <a:solidFill>
                    <a:schemeClr val="accent1">
                      <a:lumMod val="50000"/>
                    </a:schemeClr>
                  </a:solidFill>
                  <a:effectLst/>
                </a:rPr>
                <a:t>CAPITAL RECEIPTS</a:t>
              </a:r>
            </a:p>
          </p:txBody>
        </p:sp>
      </p:grpSp>
      <p:sp>
        <p:nvSpPr>
          <p:cNvPr id="220" name="TextBox 219">
            <a:extLst>
              <a:ext uri="{FF2B5EF4-FFF2-40B4-BE49-F238E27FC236}">
                <a16:creationId xmlns:a16="http://schemas.microsoft.com/office/drawing/2014/main" id="{0E8B4B24-681B-4E4F-B404-D8A29C49D4E2}"/>
              </a:ext>
            </a:extLst>
          </p:cNvPr>
          <p:cNvSpPr txBox="1"/>
          <p:nvPr/>
        </p:nvSpPr>
        <p:spPr>
          <a:xfrm>
            <a:off x="1955695" y="5872256"/>
            <a:ext cx="1508951"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x-none" sz="2000" b="1" i="0" u="none" strike="noStrike" cap="small" spc="0" normalizeH="0" baseline="0" dirty="0">
                <a:ln>
                  <a:noFill/>
                </a:ln>
                <a:solidFill>
                  <a:srgbClr val="FF0000"/>
                </a:solidFill>
                <a:effectLst>
                  <a:outerShdw blurRad="12700" dist="12700" dir="18900000" rotWithShape="0">
                    <a:srgbClr val="000000">
                      <a:alpha val="40000"/>
                    </a:srgbClr>
                  </a:outerShdw>
                </a:effectLst>
                <a:uFillTx/>
                <a:latin typeface="Trebuchet MS"/>
                <a:ea typeface="Trebuchet MS"/>
                <a:cs typeface="Trebuchet MS"/>
                <a:sym typeface="Trebuchet MS"/>
              </a:rPr>
              <a:t>400%</a:t>
            </a:r>
          </a:p>
        </p:txBody>
      </p:sp>
      <p:sp>
        <p:nvSpPr>
          <p:cNvPr id="221" name="TextBox 220">
            <a:extLst>
              <a:ext uri="{FF2B5EF4-FFF2-40B4-BE49-F238E27FC236}">
                <a16:creationId xmlns:a16="http://schemas.microsoft.com/office/drawing/2014/main" id="{15C15C8F-7363-5C46-AAB9-9A9BB1BCD946}"/>
              </a:ext>
            </a:extLst>
          </p:cNvPr>
          <p:cNvSpPr txBox="1"/>
          <p:nvPr/>
        </p:nvSpPr>
        <p:spPr>
          <a:xfrm>
            <a:off x="1906011" y="7548677"/>
            <a:ext cx="1508951"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x-none" sz="2000" b="1" i="0" u="none" strike="noStrike" cap="small" spc="0" normalizeH="0" baseline="0" dirty="0">
                <a:ln>
                  <a:noFill/>
                </a:ln>
                <a:solidFill>
                  <a:srgbClr val="FF0000"/>
                </a:solidFill>
                <a:effectLst>
                  <a:outerShdw blurRad="12700" dist="12700" dir="18900000" rotWithShape="0">
                    <a:srgbClr val="000000">
                      <a:alpha val="40000"/>
                    </a:srgbClr>
                  </a:outerShdw>
                </a:effectLst>
                <a:uFillTx/>
                <a:latin typeface="Trebuchet MS"/>
                <a:ea typeface="Trebuchet MS"/>
                <a:cs typeface="Trebuchet MS"/>
                <a:sym typeface="Trebuchet MS"/>
              </a:rPr>
              <a:t>101%</a:t>
            </a:r>
          </a:p>
        </p:txBody>
      </p:sp>
      <p:sp>
        <p:nvSpPr>
          <p:cNvPr id="222" name="TextBox 221">
            <a:extLst>
              <a:ext uri="{FF2B5EF4-FFF2-40B4-BE49-F238E27FC236}">
                <a16:creationId xmlns:a16="http://schemas.microsoft.com/office/drawing/2014/main" id="{7BEBE34F-FE2B-DD41-BE41-CEAA387FB7E7}"/>
              </a:ext>
            </a:extLst>
          </p:cNvPr>
          <p:cNvSpPr txBox="1"/>
          <p:nvPr/>
        </p:nvSpPr>
        <p:spPr>
          <a:xfrm>
            <a:off x="1856327" y="9225098"/>
            <a:ext cx="1508951"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x-none" sz="2000" b="1" i="0" u="none" strike="noStrike" cap="small" spc="0" normalizeH="0" baseline="0" dirty="0">
                <a:ln>
                  <a:noFill/>
                </a:ln>
                <a:solidFill>
                  <a:srgbClr val="FF0000"/>
                </a:solidFill>
                <a:effectLst>
                  <a:outerShdw blurRad="12700" dist="12700" dir="18900000" rotWithShape="0">
                    <a:srgbClr val="000000">
                      <a:alpha val="40000"/>
                    </a:srgbClr>
                  </a:outerShdw>
                </a:effectLst>
                <a:uFillTx/>
                <a:latin typeface="Trebuchet MS"/>
                <a:ea typeface="Trebuchet MS"/>
                <a:cs typeface="Trebuchet MS"/>
                <a:sym typeface="Trebuchet MS"/>
              </a:rPr>
              <a:t>71%</a:t>
            </a:r>
          </a:p>
        </p:txBody>
      </p:sp>
      <p:sp>
        <p:nvSpPr>
          <p:cNvPr id="223" name="TextBox 222">
            <a:extLst>
              <a:ext uri="{FF2B5EF4-FFF2-40B4-BE49-F238E27FC236}">
                <a16:creationId xmlns:a16="http://schemas.microsoft.com/office/drawing/2014/main" id="{9764CFB9-9300-D94B-B9B1-97B08EAECD7B}"/>
              </a:ext>
            </a:extLst>
          </p:cNvPr>
          <p:cNvSpPr txBox="1"/>
          <p:nvPr/>
        </p:nvSpPr>
        <p:spPr>
          <a:xfrm>
            <a:off x="1856327" y="11069146"/>
            <a:ext cx="1508951"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x-none" sz="2000" b="1" i="0" u="none" strike="noStrike" cap="small" spc="0" normalizeH="0" baseline="0" dirty="0">
                <a:ln>
                  <a:noFill/>
                </a:ln>
                <a:solidFill>
                  <a:srgbClr val="FF0000"/>
                </a:solidFill>
                <a:effectLst>
                  <a:outerShdw blurRad="12700" dist="12700" dir="18900000" rotWithShape="0">
                    <a:srgbClr val="000000">
                      <a:alpha val="40000"/>
                    </a:srgbClr>
                  </a:outerShdw>
                </a:effectLst>
                <a:uFillTx/>
                <a:latin typeface="Trebuchet MS"/>
                <a:ea typeface="Trebuchet MS"/>
                <a:cs typeface="Trebuchet MS"/>
                <a:sym typeface="Trebuchet MS"/>
              </a:rPr>
              <a:t>20%</a:t>
            </a:r>
          </a:p>
        </p:txBody>
      </p:sp>
      <p:sp>
        <p:nvSpPr>
          <p:cNvPr id="226" name="Revenue Performance YoY (%)"/>
          <p:cNvSpPr txBox="1"/>
          <p:nvPr/>
        </p:nvSpPr>
        <p:spPr>
          <a:xfrm>
            <a:off x="13162916" y="2246848"/>
            <a:ext cx="8801271" cy="472585"/>
          </a:xfrm>
          <a:prstGeom prst="rect">
            <a:avLst/>
          </a:prstGeom>
          <a:ln w="25400">
            <a:solidFill>
              <a:schemeClr val="accent3"/>
            </a:solidFill>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8" tIns="45718" rIns="45718" bIns="45718">
            <a:spAutoFit/>
          </a:bodyPr>
          <a:lstStyle>
            <a:lvl1pPr defTabSz="2438400">
              <a:defRPr sz="2400">
                <a:solidFill>
                  <a:srgbClr val="000000"/>
                </a:solidFill>
                <a:effectLst>
                  <a:outerShdw blurRad="12700" dist="12700" dir="18900000" rotWithShape="0">
                    <a:srgbClr val="000000">
                      <a:alpha val="24000"/>
                    </a:srgbClr>
                  </a:outerShdw>
                </a:effectLst>
              </a:defRPr>
            </a:lvl1pPr>
          </a:lstStyle>
          <a:p>
            <a:r>
              <a:rPr dirty="0"/>
              <a:t>Revenue Performance </a:t>
            </a:r>
            <a:r>
              <a:rPr lang="en-US" dirty="0"/>
              <a:t>Q1 Y2021</a:t>
            </a:r>
            <a:r>
              <a:rPr dirty="0"/>
              <a:t> (%)</a:t>
            </a:r>
          </a:p>
        </p:txBody>
      </p:sp>
      <p:sp>
        <p:nvSpPr>
          <p:cNvPr id="228" name="TextBox 131"/>
          <p:cNvSpPr txBox="1"/>
          <p:nvPr/>
        </p:nvSpPr>
        <p:spPr>
          <a:xfrm>
            <a:off x="16626531" y="8391454"/>
            <a:ext cx="2484714" cy="1694350"/>
          </a:xfrm>
          <a:prstGeom prst="rect">
            <a:avLst/>
          </a:prstGeom>
          <a:solidFill>
            <a:srgbClr val="FFC000"/>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nchor="ctr">
            <a:spAutoFit/>
          </a:bodyPr>
          <a:lstStyle>
            <a:lvl1pPr defTabSz="1828800">
              <a:defRPr sz="4400" cap="none">
                <a:solidFill>
                  <a:srgbClr val="000000"/>
                </a:solidFill>
              </a:defRPr>
            </a:lvl1pPr>
          </a:lstStyle>
          <a:p>
            <a:pPr>
              <a:defRPr>
                <a:effectLst/>
              </a:defRPr>
            </a:pPr>
            <a:r>
              <a:rPr lang="en-US" dirty="0"/>
              <a:t>76</a:t>
            </a:r>
            <a:r>
              <a:rPr dirty="0"/>
              <a:t>%</a:t>
            </a:r>
          </a:p>
        </p:txBody>
      </p:sp>
      <p:grpSp>
        <p:nvGrpSpPr>
          <p:cNvPr id="229" name="Group 228"/>
          <p:cNvGrpSpPr/>
          <p:nvPr/>
        </p:nvGrpSpPr>
        <p:grpSpPr>
          <a:xfrm>
            <a:off x="12780970" y="3088959"/>
            <a:ext cx="9914911" cy="6199670"/>
            <a:chOff x="13929952" y="2151110"/>
            <a:chExt cx="7572175" cy="2013127"/>
          </a:xfrm>
        </p:grpSpPr>
        <p:sp>
          <p:nvSpPr>
            <p:cNvPr id="230" name="TextBox 159"/>
            <p:cNvSpPr txBox="1"/>
            <p:nvPr/>
          </p:nvSpPr>
          <p:spPr>
            <a:xfrm>
              <a:off x="19835017" y="3380103"/>
              <a:ext cx="95494" cy="36696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nchor="ctr">
              <a:spAutoFit/>
            </a:bodyPr>
            <a:lstStyle>
              <a:lvl1pPr defTabSz="1828800">
                <a:defRPr sz="4400" cap="none">
                  <a:solidFill>
                    <a:srgbClr val="000000"/>
                  </a:solidFill>
                </a:defRPr>
              </a:lvl1pPr>
            </a:lstStyle>
            <a:p>
              <a:pPr>
                <a:defRPr>
                  <a:effectLst/>
                </a:defRPr>
              </a:pPr>
              <a:endParaRPr dirty="0"/>
            </a:p>
          </p:txBody>
        </p:sp>
        <p:grpSp>
          <p:nvGrpSpPr>
            <p:cNvPr id="231" name="Group"/>
            <p:cNvGrpSpPr/>
            <p:nvPr/>
          </p:nvGrpSpPr>
          <p:grpSpPr>
            <a:xfrm>
              <a:off x="15005711" y="2534927"/>
              <a:ext cx="5520530" cy="1274407"/>
              <a:chOff x="0" y="-1"/>
              <a:chExt cx="2448729" cy="1242199"/>
            </a:xfrm>
          </p:grpSpPr>
          <p:sp>
            <p:nvSpPr>
              <p:cNvPr id="239" name="Rectangle 140"/>
              <p:cNvSpPr/>
              <p:nvPr/>
            </p:nvSpPr>
            <p:spPr>
              <a:xfrm>
                <a:off x="0" y="1200296"/>
                <a:ext cx="243495" cy="41902"/>
              </a:xfrm>
              <a:prstGeom prst="rect">
                <a:avLst/>
              </a:prstGeom>
              <a:solidFill>
                <a:srgbClr val="22BF00"/>
              </a:solidFill>
              <a:ln w="12700" cap="flat">
                <a:noFill/>
                <a:miter lim="400000"/>
              </a:ln>
              <a:effectLst>
                <a:outerShdw blurRad="50800" dist="30504" dir="5400000" rotWithShape="0">
                  <a:srgbClr val="000000">
                    <a:alpha val="41788"/>
                  </a:srgbClr>
                </a:outerShdw>
              </a:effectLst>
            </p:spPr>
            <p:txBody>
              <a:bodyPr wrap="square" lIns="38100" tIns="38100" rIns="38100" bIns="38100" numCol="1" anchor="ctr">
                <a:noAutofit/>
              </a:bodyPr>
              <a:lstStyle/>
              <a:p>
                <a:pPr defTabSz="1828800">
                  <a:defRPr sz="2400" b="0" cap="none">
                    <a:solidFill>
                      <a:srgbClr val="808080"/>
                    </a:solidFill>
                    <a:effectLst/>
                  </a:defRPr>
                </a:pPr>
                <a:endParaRPr dirty="0"/>
              </a:p>
            </p:txBody>
          </p:sp>
          <p:sp>
            <p:nvSpPr>
              <p:cNvPr id="240" name="Rectangle 141"/>
              <p:cNvSpPr/>
              <p:nvPr/>
            </p:nvSpPr>
            <p:spPr>
              <a:xfrm>
                <a:off x="2205234" y="1200296"/>
                <a:ext cx="243495" cy="41902"/>
              </a:xfrm>
              <a:prstGeom prst="rect">
                <a:avLst/>
              </a:prstGeom>
              <a:solidFill>
                <a:srgbClr val="22BF00"/>
              </a:solidFill>
              <a:ln w="12700" cap="flat">
                <a:noFill/>
                <a:miter lim="400000"/>
              </a:ln>
              <a:effectLst>
                <a:outerShdw blurRad="50800" dist="30504" dir="5400000" rotWithShape="0">
                  <a:srgbClr val="000000">
                    <a:alpha val="41788"/>
                  </a:srgbClr>
                </a:outerShdw>
              </a:effectLst>
            </p:spPr>
            <p:txBody>
              <a:bodyPr wrap="square" lIns="38100" tIns="38100" rIns="38100" bIns="38100" numCol="1" anchor="ctr">
                <a:noAutofit/>
              </a:bodyPr>
              <a:lstStyle/>
              <a:p>
                <a:pPr defTabSz="1828800">
                  <a:defRPr sz="2400" b="0" cap="none">
                    <a:solidFill>
                      <a:srgbClr val="808080"/>
                    </a:solidFill>
                    <a:effectLst/>
                  </a:defRPr>
                </a:pPr>
                <a:endParaRPr dirty="0"/>
              </a:p>
            </p:txBody>
          </p:sp>
          <p:sp>
            <p:nvSpPr>
              <p:cNvPr id="241" name="Rectangle 142"/>
              <p:cNvSpPr/>
              <p:nvPr/>
            </p:nvSpPr>
            <p:spPr>
              <a:xfrm rot="8100000">
                <a:off x="1862909" y="396410"/>
                <a:ext cx="243495" cy="41902"/>
              </a:xfrm>
              <a:prstGeom prst="rect">
                <a:avLst/>
              </a:prstGeom>
              <a:solidFill>
                <a:srgbClr val="22BF00"/>
              </a:solidFill>
              <a:ln w="12700" cap="flat">
                <a:noFill/>
                <a:miter lim="400000"/>
              </a:ln>
              <a:effectLst>
                <a:outerShdw blurRad="50800" dist="30504" dir="5400000" rotWithShape="0">
                  <a:srgbClr val="000000">
                    <a:alpha val="41788"/>
                  </a:srgbClr>
                </a:outerShdw>
              </a:effectLst>
            </p:spPr>
            <p:txBody>
              <a:bodyPr wrap="square" lIns="38100" tIns="38100" rIns="38100" bIns="38100" numCol="1" anchor="ctr">
                <a:noAutofit/>
              </a:bodyPr>
              <a:lstStyle/>
              <a:p>
                <a:pPr defTabSz="1828800">
                  <a:defRPr sz="2400" b="0" cap="none">
                    <a:solidFill>
                      <a:srgbClr val="808080"/>
                    </a:solidFill>
                    <a:effectLst/>
                  </a:defRPr>
                </a:pPr>
                <a:endParaRPr dirty="0"/>
              </a:p>
            </p:txBody>
          </p:sp>
          <p:sp>
            <p:nvSpPr>
              <p:cNvPr id="242" name="Rectangle 143"/>
              <p:cNvSpPr/>
              <p:nvPr/>
            </p:nvSpPr>
            <p:spPr>
              <a:xfrm rot="2700000">
                <a:off x="322312" y="431396"/>
                <a:ext cx="243495" cy="41902"/>
              </a:xfrm>
              <a:prstGeom prst="rect">
                <a:avLst/>
              </a:prstGeom>
              <a:solidFill>
                <a:srgbClr val="22BF00"/>
              </a:solidFill>
              <a:ln w="12700" cap="flat">
                <a:noFill/>
                <a:miter lim="400000"/>
              </a:ln>
              <a:effectLst>
                <a:outerShdw blurRad="50800" dist="30504" dir="5400000" rotWithShape="0">
                  <a:srgbClr val="000000">
                    <a:alpha val="41788"/>
                  </a:srgbClr>
                </a:outerShdw>
              </a:effectLst>
            </p:spPr>
            <p:txBody>
              <a:bodyPr wrap="square" lIns="38100" tIns="38100" rIns="38100" bIns="38100" numCol="1" anchor="ctr">
                <a:noAutofit/>
              </a:bodyPr>
              <a:lstStyle/>
              <a:p>
                <a:pPr defTabSz="1828800">
                  <a:defRPr sz="2400" b="0" cap="none">
                    <a:solidFill>
                      <a:srgbClr val="808080"/>
                    </a:solidFill>
                    <a:effectLst/>
                  </a:defRPr>
                </a:pPr>
                <a:endParaRPr dirty="0"/>
              </a:p>
            </p:txBody>
          </p:sp>
          <p:sp>
            <p:nvSpPr>
              <p:cNvPr id="243" name="Rectangle 144"/>
              <p:cNvSpPr/>
              <p:nvPr/>
            </p:nvSpPr>
            <p:spPr>
              <a:xfrm rot="5400000">
                <a:off x="1081127" y="100796"/>
                <a:ext cx="243495" cy="41902"/>
              </a:xfrm>
              <a:prstGeom prst="rect">
                <a:avLst/>
              </a:prstGeom>
              <a:solidFill>
                <a:srgbClr val="22BF00"/>
              </a:solidFill>
              <a:ln w="12700" cap="flat">
                <a:noFill/>
                <a:miter lim="400000"/>
              </a:ln>
              <a:effectLst>
                <a:outerShdw blurRad="50800" dist="30504" dir="5400000" rotWithShape="0">
                  <a:srgbClr val="000000">
                    <a:alpha val="41788"/>
                  </a:srgbClr>
                </a:outerShdw>
              </a:effectLst>
            </p:spPr>
            <p:txBody>
              <a:bodyPr wrap="square" lIns="38100" tIns="38100" rIns="38100" bIns="38100" numCol="1" anchor="ctr">
                <a:noAutofit/>
              </a:bodyPr>
              <a:lstStyle/>
              <a:p>
                <a:pPr defTabSz="1828800">
                  <a:defRPr sz="2400" b="0" cap="none">
                    <a:solidFill>
                      <a:srgbClr val="808080"/>
                    </a:solidFill>
                    <a:effectLst/>
                  </a:defRPr>
                </a:pPr>
                <a:endParaRPr dirty="0"/>
              </a:p>
            </p:txBody>
          </p:sp>
          <p:sp>
            <p:nvSpPr>
              <p:cNvPr id="244" name="Rectangle 145"/>
              <p:cNvSpPr/>
              <p:nvPr/>
            </p:nvSpPr>
            <p:spPr>
              <a:xfrm rot="9121187">
                <a:off x="2116385" y="648235"/>
                <a:ext cx="99442" cy="28426"/>
              </a:xfrm>
              <a:prstGeom prst="rect">
                <a:avLst/>
              </a:prstGeom>
              <a:solidFill>
                <a:srgbClr val="22BF00"/>
              </a:solidFill>
              <a:ln w="12700" cap="flat">
                <a:noFill/>
                <a:miter lim="400000"/>
              </a:ln>
              <a:effectLst>
                <a:outerShdw blurRad="50800" dist="30504" dir="5400000" rotWithShape="0">
                  <a:srgbClr val="000000">
                    <a:alpha val="41788"/>
                  </a:srgbClr>
                </a:outerShdw>
              </a:effectLst>
            </p:spPr>
            <p:txBody>
              <a:bodyPr wrap="square" lIns="38100" tIns="38100" rIns="38100" bIns="38100" numCol="1" anchor="ctr">
                <a:noAutofit/>
              </a:bodyPr>
              <a:lstStyle/>
              <a:p>
                <a:pPr defTabSz="1828800">
                  <a:defRPr sz="2400" b="0" cap="none">
                    <a:solidFill>
                      <a:srgbClr val="FFFFFF"/>
                    </a:solidFill>
                    <a:effectLst/>
                  </a:defRPr>
                </a:pPr>
                <a:endParaRPr dirty="0"/>
              </a:p>
            </p:txBody>
          </p:sp>
          <p:sp>
            <p:nvSpPr>
              <p:cNvPr id="245" name="Rectangle 146"/>
              <p:cNvSpPr/>
              <p:nvPr/>
            </p:nvSpPr>
            <p:spPr>
              <a:xfrm rot="10021187">
                <a:off x="2223420" y="917274"/>
                <a:ext cx="99442" cy="28426"/>
              </a:xfrm>
              <a:prstGeom prst="rect">
                <a:avLst/>
              </a:prstGeom>
              <a:solidFill>
                <a:srgbClr val="22BF00"/>
              </a:solidFill>
              <a:ln w="12700" cap="flat">
                <a:noFill/>
                <a:miter lim="400000"/>
              </a:ln>
              <a:effectLst>
                <a:outerShdw blurRad="50800" dist="30504" dir="5400000" rotWithShape="0">
                  <a:srgbClr val="000000">
                    <a:alpha val="41788"/>
                  </a:srgbClr>
                </a:outerShdw>
              </a:effectLst>
            </p:spPr>
            <p:txBody>
              <a:bodyPr wrap="square" lIns="38100" tIns="38100" rIns="38100" bIns="38100" numCol="1" anchor="ctr">
                <a:noAutofit/>
              </a:bodyPr>
              <a:lstStyle/>
              <a:p>
                <a:pPr defTabSz="1828800">
                  <a:defRPr sz="2400" b="0" cap="none">
                    <a:solidFill>
                      <a:srgbClr val="FFFFFF"/>
                    </a:solidFill>
                    <a:effectLst/>
                  </a:defRPr>
                </a:pPr>
                <a:endParaRPr dirty="0"/>
              </a:p>
            </p:txBody>
          </p:sp>
          <p:sp>
            <p:nvSpPr>
              <p:cNvPr id="246" name="Rectangle 147"/>
              <p:cNvSpPr/>
              <p:nvPr/>
            </p:nvSpPr>
            <p:spPr>
              <a:xfrm rot="7321187">
                <a:off x="1701069" y="254694"/>
                <a:ext cx="99442" cy="28426"/>
              </a:xfrm>
              <a:prstGeom prst="rect">
                <a:avLst/>
              </a:prstGeom>
              <a:solidFill>
                <a:srgbClr val="22BF00"/>
              </a:solidFill>
              <a:ln w="12700" cap="flat">
                <a:noFill/>
                <a:miter lim="400000"/>
              </a:ln>
              <a:effectLst>
                <a:outerShdw blurRad="50800" dist="30504" dir="5400000" rotWithShape="0">
                  <a:srgbClr val="000000">
                    <a:alpha val="41788"/>
                  </a:srgbClr>
                </a:outerShdw>
              </a:effectLst>
            </p:spPr>
            <p:txBody>
              <a:bodyPr wrap="square" lIns="38100" tIns="38100" rIns="38100" bIns="38100" numCol="1" anchor="ctr">
                <a:noAutofit/>
              </a:bodyPr>
              <a:lstStyle/>
              <a:p>
                <a:pPr defTabSz="1828800">
                  <a:defRPr sz="2400" b="0" cap="none">
                    <a:solidFill>
                      <a:srgbClr val="FFFFFF"/>
                    </a:solidFill>
                    <a:effectLst/>
                  </a:defRPr>
                </a:pPr>
                <a:endParaRPr dirty="0"/>
              </a:p>
            </p:txBody>
          </p:sp>
          <p:sp>
            <p:nvSpPr>
              <p:cNvPr id="247" name="Rectangle 148"/>
              <p:cNvSpPr/>
              <p:nvPr/>
            </p:nvSpPr>
            <p:spPr>
              <a:xfrm rot="6421187">
                <a:off x="1435267" y="148006"/>
                <a:ext cx="99442" cy="28426"/>
              </a:xfrm>
              <a:prstGeom prst="rect">
                <a:avLst/>
              </a:prstGeom>
              <a:solidFill>
                <a:srgbClr val="22BF00"/>
              </a:solidFill>
              <a:ln w="12700" cap="flat">
                <a:noFill/>
                <a:miter lim="400000"/>
              </a:ln>
              <a:effectLst>
                <a:outerShdw blurRad="50800" dist="30504" dir="5400000" rotWithShape="0">
                  <a:srgbClr val="000000">
                    <a:alpha val="41788"/>
                  </a:srgbClr>
                </a:outerShdw>
              </a:effectLst>
            </p:spPr>
            <p:txBody>
              <a:bodyPr wrap="square" lIns="38100" tIns="38100" rIns="38100" bIns="38100" numCol="1" anchor="ctr">
                <a:noAutofit/>
              </a:bodyPr>
              <a:lstStyle/>
              <a:p>
                <a:pPr defTabSz="1828800">
                  <a:defRPr sz="2400" b="0" cap="none">
                    <a:solidFill>
                      <a:srgbClr val="FFFFFF"/>
                    </a:solidFill>
                    <a:effectLst/>
                  </a:defRPr>
                </a:pPr>
                <a:endParaRPr dirty="0"/>
              </a:p>
            </p:txBody>
          </p:sp>
          <p:sp>
            <p:nvSpPr>
              <p:cNvPr id="248" name="Rectangle 149"/>
              <p:cNvSpPr/>
              <p:nvPr/>
            </p:nvSpPr>
            <p:spPr>
              <a:xfrm rot="4621187">
                <a:off x="878075" y="168554"/>
                <a:ext cx="99442" cy="28426"/>
              </a:xfrm>
              <a:prstGeom prst="rect">
                <a:avLst/>
              </a:prstGeom>
              <a:solidFill>
                <a:srgbClr val="22BF00"/>
              </a:solidFill>
              <a:ln w="12700" cap="flat">
                <a:noFill/>
                <a:miter lim="400000"/>
              </a:ln>
              <a:effectLst>
                <a:outerShdw blurRad="50800" dist="30504" dir="5400000" rotWithShape="0">
                  <a:srgbClr val="000000">
                    <a:alpha val="41788"/>
                  </a:srgbClr>
                </a:outerShdw>
              </a:effectLst>
            </p:spPr>
            <p:txBody>
              <a:bodyPr wrap="square" lIns="38100" tIns="38100" rIns="38100" bIns="38100" numCol="1" anchor="ctr">
                <a:noAutofit/>
              </a:bodyPr>
              <a:lstStyle/>
              <a:p>
                <a:pPr defTabSz="1828800">
                  <a:defRPr sz="2400" b="0" cap="none">
                    <a:solidFill>
                      <a:srgbClr val="FFFFFF"/>
                    </a:solidFill>
                    <a:effectLst/>
                  </a:defRPr>
                </a:pPr>
                <a:endParaRPr dirty="0"/>
              </a:p>
            </p:txBody>
          </p:sp>
          <p:sp>
            <p:nvSpPr>
              <p:cNvPr id="249" name="Rectangle 150"/>
              <p:cNvSpPr/>
              <p:nvPr/>
            </p:nvSpPr>
            <p:spPr>
              <a:xfrm rot="3452772">
                <a:off x="620591" y="280718"/>
                <a:ext cx="99442" cy="28426"/>
              </a:xfrm>
              <a:prstGeom prst="rect">
                <a:avLst/>
              </a:prstGeom>
              <a:solidFill>
                <a:srgbClr val="22BF00"/>
              </a:solidFill>
              <a:ln w="12700" cap="flat">
                <a:noFill/>
                <a:miter lim="400000"/>
              </a:ln>
              <a:effectLst>
                <a:outerShdw blurRad="50800" dist="30504" dir="5400000" rotWithShape="0">
                  <a:srgbClr val="000000">
                    <a:alpha val="41788"/>
                  </a:srgbClr>
                </a:outerShdw>
              </a:effectLst>
            </p:spPr>
            <p:txBody>
              <a:bodyPr wrap="square" lIns="38100" tIns="38100" rIns="38100" bIns="38100" numCol="1" anchor="ctr">
                <a:noAutofit/>
              </a:bodyPr>
              <a:lstStyle/>
              <a:p>
                <a:pPr defTabSz="1828800">
                  <a:defRPr sz="2400" b="0" cap="none">
                    <a:solidFill>
                      <a:srgbClr val="FFFFFF"/>
                    </a:solidFill>
                    <a:effectLst/>
                  </a:defRPr>
                </a:pPr>
                <a:endParaRPr dirty="0"/>
              </a:p>
            </p:txBody>
          </p:sp>
          <p:sp>
            <p:nvSpPr>
              <p:cNvPr id="250" name="Rectangle 151"/>
              <p:cNvSpPr/>
              <p:nvPr/>
            </p:nvSpPr>
            <p:spPr>
              <a:xfrm rot="1652772">
                <a:off x="237528" y="674646"/>
                <a:ext cx="99442" cy="28426"/>
              </a:xfrm>
              <a:prstGeom prst="rect">
                <a:avLst/>
              </a:prstGeom>
              <a:solidFill>
                <a:srgbClr val="22BF00"/>
              </a:solidFill>
              <a:ln w="12700" cap="flat">
                <a:noFill/>
                <a:miter lim="400000"/>
              </a:ln>
              <a:effectLst>
                <a:outerShdw blurRad="50800" dist="30504" dir="5400000" rotWithShape="0">
                  <a:srgbClr val="000000">
                    <a:alpha val="41788"/>
                  </a:srgbClr>
                </a:outerShdw>
              </a:effectLst>
            </p:spPr>
            <p:txBody>
              <a:bodyPr wrap="square" lIns="38100" tIns="38100" rIns="38100" bIns="38100" numCol="1" anchor="ctr">
                <a:noAutofit/>
              </a:bodyPr>
              <a:lstStyle/>
              <a:p>
                <a:pPr defTabSz="1828800">
                  <a:defRPr sz="2400" b="0" cap="none">
                    <a:solidFill>
                      <a:srgbClr val="FFFFFF"/>
                    </a:solidFill>
                    <a:effectLst/>
                  </a:defRPr>
                </a:pPr>
                <a:endParaRPr dirty="0"/>
              </a:p>
            </p:txBody>
          </p:sp>
          <p:sp>
            <p:nvSpPr>
              <p:cNvPr id="251" name="Rectangle 152"/>
              <p:cNvSpPr/>
              <p:nvPr/>
            </p:nvSpPr>
            <p:spPr>
              <a:xfrm rot="752772">
                <a:off x="123648" y="928238"/>
                <a:ext cx="99442" cy="28426"/>
              </a:xfrm>
              <a:prstGeom prst="rect">
                <a:avLst/>
              </a:prstGeom>
              <a:solidFill>
                <a:srgbClr val="22BF00"/>
              </a:solidFill>
              <a:ln w="12700" cap="flat">
                <a:noFill/>
                <a:miter lim="400000"/>
              </a:ln>
              <a:effectLst>
                <a:outerShdw blurRad="50800" dist="30504" dir="5400000" rotWithShape="0">
                  <a:srgbClr val="000000">
                    <a:alpha val="41788"/>
                  </a:srgbClr>
                </a:outerShdw>
              </a:effectLst>
            </p:spPr>
            <p:txBody>
              <a:bodyPr wrap="square" lIns="38100" tIns="38100" rIns="38100" bIns="38100" numCol="1" anchor="ctr">
                <a:noAutofit/>
              </a:bodyPr>
              <a:lstStyle/>
              <a:p>
                <a:pPr defTabSz="1828800">
                  <a:defRPr sz="2400" b="0" cap="none">
                    <a:solidFill>
                      <a:srgbClr val="FFFFFF"/>
                    </a:solidFill>
                    <a:effectLst/>
                  </a:defRPr>
                </a:pPr>
                <a:endParaRPr dirty="0"/>
              </a:p>
            </p:txBody>
          </p:sp>
          <p:sp>
            <p:nvSpPr>
              <p:cNvPr id="252" name="Block Arc 153"/>
              <p:cNvSpPr/>
              <p:nvPr/>
            </p:nvSpPr>
            <p:spPr>
              <a:xfrm>
                <a:off x="53223" y="45267"/>
                <a:ext cx="2349087" cy="1188146"/>
              </a:xfrm>
              <a:custGeom>
                <a:avLst/>
                <a:gdLst/>
                <a:ahLst/>
                <a:cxnLst>
                  <a:cxn ang="0">
                    <a:pos x="wd2" y="hd2"/>
                  </a:cxn>
                  <a:cxn ang="5400000">
                    <a:pos x="wd2" y="hd2"/>
                  </a:cxn>
                  <a:cxn ang="10800000">
                    <a:pos x="wd2" y="hd2"/>
                  </a:cxn>
                  <a:cxn ang="16200000">
                    <a:pos x="wd2" y="hd2"/>
                  </a:cxn>
                </a:cxnLst>
                <a:rect l="0" t="0" r="r" b="b"/>
                <a:pathLst>
                  <a:path w="21600" h="21600" extrusionOk="0">
                    <a:moveTo>
                      <a:pt x="0" y="21353"/>
                    </a:moveTo>
                    <a:cubicBezTo>
                      <a:pt x="0" y="9560"/>
                      <a:pt x="4835" y="0"/>
                      <a:pt x="10800" y="0"/>
                    </a:cubicBezTo>
                    <a:cubicBezTo>
                      <a:pt x="16765" y="0"/>
                      <a:pt x="21600" y="9560"/>
                      <a:pt x="21600" y="21353"/>
                    </a:cubicBezTo>
                    <a:lnTo>
                      <a:pt x="21047" y="21600"/>
                    </a:lnTo>
                    <a:cubicBezTo>
                      <a:pt x="21047" y="10411"/>
                      <a:pt x="16459" y="1340"/>
                      <a:pt x="10799" y="1340"/>
                    </a:cubicBezTo>
                    <a:cubicBezTo>
                      <a:pt x="5140" y="1340"/>
                      <a:pt x="552" y="10411"/>
                      <a:pt x="552" y="21600"/>
                    </a:cubicBezTo>
                    <a:close/>
                  </a:path>
                </a:pathLst>
              </a:custGeom>
              <a:solidFill>
                <a:srgbClr val="22BF00"/>
              </a:solidFill>
              <a:ln w="12700" cap="flat">
                <a:noFill/>
                <a:miter lim="400000"/>
              </a:ln>
              <a:effectLst/>
            </p:spPr>
            <p:txBody>
              <a:bodyPr wrap="square" lIns="38100" tIns="38100" rIns="38100" bIns="38100" numCol="1" anchor="ctr">
                <a:noAutofit/>
              </a:bodyPr>
              <a:lstStyle/>
              <a:p>
                <a:pPr defTabSz="1828800">
                  <a:defRPr sz="2400" b="0" cap="none">
                    <a:solidFill>
                      <a:srgbClr val="FFFFFF"/>
                    </a:solidFill>
                    <a:effectLst/>
                  </a:defRPr>
                </a:pPr>
                <a:endParaRPr dirty="0"/>
              </a:p>
            </p:txBody>
          </p:sp>
        </p:grpSp>
        <p:grpSp>
          <p:nvGrpSpPr>
            <p:cNvPr id="232" name="Group 134"/>
            <p:cNvGrpSpPr/>
            <p:nvPr/>
          </p:nvGrpSpPr>
          <p:grpSpPr>
            <a:xfrm>
              <a:off x="13929952" y="2151110"/>
              <a:ext cx="7572175" cy="2013127"/>
              <a:chOff x="-1" y="-1"/>
              <a:chExt cx="3358776" cy="1962249"/>
            </a:xfrm>
          </p:grpSpPr>
          <p:sp>
            <p:nvSpPr>
              <p:cNvPr id="234" name="TextBox 135"/>
              <p:cNvSpPr txBox="1"/>
              <p:nvPr/>
            </p:nvSpPr>
            <p:spPr>
              <a:xfrm rot="5400000">
                <a:off x="2711039" y="1314512"/>
                <a:ext cx="848431" cy="44704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tIns="45719" rIns="45719" bIns="45719" numCol="1" anchor="ctr">
                <a:spAutoFit/>
              </a:bodyPr>
              <a:lstStyle>
                <a:lvl1pPr defTabSz="1828800">
                  <a:defRPr sz="2400" cap="none">
                    <a:solidFill>
                      <a:srgbClr val="000000"/>
                    </a:solidFill>
                  </a:defRPr>
                </a:lvl1pPr>
              </a:lstStyle>
              <a:p>
                <a:pPr>
                  <a:defRPr>
                    <a:effectLst/>
                  </a:defRPr>
                </a:pPr>
                <a:r>
                  <a:rPr dirty="0"/>
                  <a:t>100%</a:t>
                </a:r>
              </a:p>
            </p:txBody>
          </p:sp>
          <p:sp>
            <p:nvSpPr>
              <p:cNvPr id="235" name="TextBox 136"/>
              <p:cNvSpPr txBox="1"/>
              <p:nvPr/>
            </p:nvSpPr>
            <p:spPr>
              <a:xfrm rot="16200000">
                <a:off x="-22101" y="1300451"/>
                <a:ext cx="491242" cy="44704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tIns="45719" rIns="45719" bIns="45719" numCol="1" anchor="ctr">
                <a:spAutoFit/>
              </a:bodyPr>
              <a:lstStyle>
                <a:lvl1pPr defTabSz="1828800">
                  <a:defRPr sz="2400" cap="none">
                    <a:solidFill>
                      <a:srgbClr val="000000"/>
                    </a:solidFill>
                  </a:defRPr>
                </a:lvl1pPr>
              </a:lstStyle>
              <a:p>
                <a:pPr>
                  <a:defRPr>
                    <a:effectLst/>
                  </a:defRPr>
                </a:pPr>
                <a:r>
                  <a:rPr dirty="0"/>
                  <a:t>0%</a:t>
                </a:r>
              </a:p>
            </p:txBody>
          </p:sp>
          <p:sp>
            <p:nvSpPr>
              <p:cNvPr id="236" name="TextBox 137"/>
              <p:cNvSpPr txBox="1"/>
              <p:nvPr/>
            </p:nvSpPr>
            <p:spPr>
              <a:xfrm rot="19043860">
                <a:off x="383169" y="321440"/>
                <a:ext cx="669837" cy="44704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tIns="45719" rIns="45719" bIns="45719" numCol="1" anchor="ctr">
                <a:spAutoFit/>
              </a:bodyPr>
              <a:lstStyle>
                <a:lvl1pPr defTabSz="1828800">
                  <a:defRPr sz="2400" cap="none">
                    <a:solidFill>
                      <a:srgbClr val="000000"/>
                    </a:solidFill>
                  </a:defRPr>
                </a:lvl1pPr>
              </a:lstStyle>
              <a:p>
                <a:pPr>
                  <a:defRPr>
                    <a:effectLst/>
                  </a:defRPr>
                </a:pPr>
                <a:r>
                  <a:rPr dirty="0"/>
                  <a:t>25%</a:t>
                </a:r>
              </a:p>
            </p:txBody>
          </p:sp>
          <p:sp>
            <p:nvSpPr>
              <p:cNvPr id="237" name="TextBox 138"/>
              <p:cNvSpPr txBox="1"/>
              <p:nvPr/>
            </p:nvSpPr>
            <p:spPr>
              <a:xfrm>
                <a:off x="1345318" y="-1"/>
                <a:ext cx="669837" cy="44704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tIns="45719" rIns="45719" bIns="45719" numCol="1" anchor="ctr">
                <a:spAutoFit/>
              </a:bodyPr>
              <a:lstStyle>
                <a:lvl1pPr defTabSz="1828800">
                  <a:defRPr sz="2400" cap="none">
                    <a:solidFill>
                      <a:srgbClr val="000000"/>
                    </a:solidFill>
                  </a:defRPr>
                </a:lvl1pPr>
              </a:lstStyle>
              <a:p>
                <a:pPr>
                  <a:defRPr>
                    <a:effectLst/>
                  </a:defRPr>
                </a:pPr>
                <a:r>
                  <a:rPr dirty="0"/>
                  <a:t>50%</a:t>
                </a:r>
              </a:p>
            </p:txBody>
          </p:sp>
          <p:sp>
            <p:nvSpPr>
              <p:cNvPr id="238" name="TextBox 139"/>
              <p:cNvSpPr txBox="1"/>
              <p:nvPr/>
            </p:nvSpPr>
            <p:spPr>
              <a:xfrm rot="2700000">
                <a:off x="2444333" y="485798"/>
                <a:ext cx="484650" cy="15639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tIns="45719" rIns="45719" bIns="45719" numCol="1" anchor="ctr">
                <a:spAutoFit/>
              </a:bodyPr>
              <a:lstStyle>
                <a:lvl1pPr defTabSz="1828800">
                  <a:defRPr sz="2400" cap="none">
                    <a:solidFill>
                      <a:srgbClr val="000000"/>
                    </a:solidFill>
                  </a:defRPr>
                </a:lvl1pPr>
              </a:lstStyle>
              <a:p>
                <a:pPr>
                  <a:defRPr>
                    <a:effectLst/>
                  </a:defRPr>
                </a:pPr>
                <a:r>
                  <a:rPr dirty="0"/>
                  <a:t>75%</a:t>
                </a:r>
              </a:p>
            </p:txBody>
          </p:sp>
        </p:grpSp>
        <p:sp>
          <p:nvSpPr>
            <p:cNvPr id="233" name="Line"/>
            <p:cNvSpPr/>
            <p:nvPr/>
          </p:nvSpPr>
          <p:spPr>
            <a:xfrm flipV="1">
              <a:off x="17808326" y="3204797"/>
              <a:ext cx="1197171" cy="284830"/>
            </a:xfrm>
            <a:prstGeom prst="line">
              <a:avLst/>
            </a:prstGeom>
            <a:ln w="25400">
              <a:solidFill>
                <a:srgbClr val="22BF00"/>
              </a:solidFill>
              <a:headEnd type="oval"/>
            </a:ln>
            <a:effectLst>
              <a:outerShdw blurRad="50800" dist="30504" dir="5400000" rotWithShape="0">
                <a:srgbClr val="000000">
                  <a:alpha val="41788"/>
                </a:srgbClr>
              </a:outerShdw>
            </a:effectLst>
          </p:spPr>
          <p:txBody>
            <a:bodyPr lIns="45718" tIns="45718" rIns="45718" bIns="45718"/>
            <a:lstStyle/>
            <a:p>
              <a:pPr algn="l">
                <a:defRPr sz="2000" b="0" cap="none">
                  <a:solidFill>
                    <a:srgbClr val="252D30"/>
                  </a:solidFill>
                  <a:effectLst/>
                  <a:latin typeface="+mn-lt"/>
                  <a:ea typeface="+mn-ea"/>
                  <a:cs typeface="+mn-cs"/>
                  <a:sym typeface="Helvetica Neue"/>
                </a:defRPr>
              </a:pPr>
              <a:endParaRPr dirty="0"/>
            </a:p>
          </p:txBody>
        </p:sp>
      </p:grpSp>
    </p:spTree>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5" name="Text Box 3"/>
          <p:cNvSpPr txBox="1"/>
          <p:nvPr/>
        </p:nvSpPr>
        <p:spPr>
          <a:xfrm>
            <a:off x="2837793" y="837446"/>
            <a:ext cx="18098812" cy="72327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8100" tIns="38100" rIns="38100" bIns="38100" anchor="ctr">
            <a:spAutoFit/>
          </a:bodyPr>
          <a:lstStyle/>
          <a:p>
            <a:pPr>
              <a:defRPr>
                <a:solidFill>
                  <a:schemeClr val="accent3"/>
                </a:solidFill>
                <a:latin typeface="Trebuchet MS"/>
                <a:ea typeface="Trebuchet MS"/>
                <a:cs typeface="Trebuchet MS"/>
                <a:sym typeface="Trebuchet MS"/>
              </a:defRPr>
            </a:pPr>
            <a:r>
              <a:rPr lang="fr-FR" dirty="0"/>
              <a:t>Cumulative (Q1 Y2021) Revenue &amp; Expenditure Performance</a:t>
            </a:r>
          </a:p>
        </p:txBody>
      </p:sp>
      <p:graphicFrame>
        <p:nvGraphicFramePr>
          <p:cNvPr id="4" name="Table 3"/>
          <p:cNvGraphicFramePr>
            <a:graphicFrameLocks noGrp="1"/>
          </p:cNvGraphicFramePr>
          <p:nvPr>
            <p:extLst>
              <p:ext uri="{D42A27DB-BD31-4B8C-83A1-F6EECF244321}">
                <p14:modId xmlns:p14="http://schemas.microsoft.com/office/powerpoint/2010/main" val="1263172783"/>
              </p:ext>
            </p:extLst>
          </p:nvPr>
        </p:nvGraphicFramePr>
        <p:xfrm>
          <a:off x="940844" y="2182751"/>
          <a:ext cx="21892709" cy="10296525"/>
        </p:xfrm>
        <a:graphic>
          <a:graphicData uri="http://schemas.openxmlformats.org/drawingml/2006/table">
            <a:tbl>
              <a:tblPr/>
              <a:tblGrid>
                <a:gridCol w="4345480">
                  <a:extLst>
                    <a:ext uri="{9D8B030D-6E8A-4147-A177-3AD203B41FA5}">
                      <a16:colId xmlns:a16="http://schemas.microsoft.com/office/drawing/2014/main" val="605792573"/>
                    </a:ext>
                  </a:extLst>
                </a:gridCol>
                <a:gridCol w="2338056">
                  <a:extLst>
                    <a:ext uri="{9D8B030D-6E8A-4147-A177-3AD203B41FA5}">
                      <a16:colId xmlns:a16="http://schemas.microsoft.com/office/drawing/2014/main" val="204178325"/>
                    </a:ext>
                  </a:extLst>
                </a:gridCol>
                <a:gridCol w="2338056">
                  <a:extLst>
                    <a:ext uri="{9D8B030D-6E8A-4147-A177-3AD203B41FA5}">
                      <a16:colId xmlns:a16="http://schemas.microsoft.com/office/drawing/2014/main" val="3172314624"/>
                    </a:ext>
                  </a:extLst>
                </a:gridCol>
                <a:gridCol w="2338056">
                  <a:extLst>
                    <a:ext uri="{9D8B030D-6E8A-4147-A177-3AD203B41FA5}">
                      <a16:colId xmlns:a16="http://schemas.microsoft.com/office/drawing/2014/main" val="1364024166"/>
                    </a:ext>
                  </a:extLst>
                </a:gridCol>
                <a:gridCol w="1603143">
                  <a:extLst>
                    <a:ext uri="{9D8B030D-6E8A-4147-A177-3AD203B41FA5}">
                      <a16:colId xmlns:a16="http://schemas.microsoft.com/office/drawing/2014/main" val="596409949"/>
                    </a:ext>
                  </a:extLst>
                </a:gridCol>
                <a:gridCol w="2464530">
                  <a:extLst>
                    <a:ext uri="{9D8B030D-6E8A-4147-A177-3AD203B41FA5}">
                      <a16:colId xmlns:a16="http://schemas.microsoft.com/office/drawing/2014/main" val="3144061607"/>
                    </a:ext>
                  </a:extLst>
                </a:gridCol>
                <a:gridCol w="2592558">
                  <a:extLst>
                    <a:ext uri="{9D8B030D-6E8A-4147-A177-3AD203B41FA5}">
                      <a16:colId xmlns:a16="http://schemas.microsoft.com/office/drawing/2014/main" val="4123069469"/>
                    </a:ext>
                  </a:extLst>
                </a:gridCol>
                <a:gridCol w="2243276">
                  <a:extLst>
                    <a:ext uri="{9D8B030D-6E8A-4147-A177-3AD203B41FA5}">
                      <a16:colId xmlns:a16="http://schemas.microsoft.com/office/drawing/2014/main" val="431982021"/>
                    </a:ext>
                  </a:extLst>
                </a:gridCol>
                <a:gridCol w="1629554">
                  <a:extLst>
                    <a:ext uri="{9D8B030D-6E8A-4147-A177-3AD203B41FA5}">
                      <a16:colId xmlns:a16="http://schemas.microsoft.com/office/drawing/2014/main" val="67716788"/>
                    </a:ext>
                  </a:extLst>
                </a:gridCol>
              </a:tblGrid>
              <a:tr h="1108815">
                <a:tc>
                  <a:txBody>
                    <a:bodyPr/>
                    <a:lstStyle/>
                    <a:p>
                      <a:pPr algn="ctr" fontAlgn="b"/>
                      <a:r>
                        <a:rPr lang="en-GB" sz="2400" b="1" i="0" u="none" strike="noStrike" dirty="0">
                          <a:solidFill>
                            <a:srgbClr val="FFFFFF"/>
                          </a:solidFill>
                          <a:effectLst/>
                          <a:latin typeface="Trebuchet MS" panose="020B0603020202020204" pitchFamily="34" charset="0"/>
                        </a:rPr>
                        <a:t>MDAs</a:t>
                      </a:r>
                    </a:p>
                  </a:txBody>
                  <a:tcPr marL="9525" marR="9525" marT="9525" marB="0" anchor="b">
                    <a:lnL>
                      <a:noFill/>
                    </a:lnL>
                    <a:lnR w="12700" cap="flat" cmpd="sng" algn="ctr">
                      <a:solidFill>
                        <a:srgbClr val="FFFFFF"/>
                      </a:solidFill>
                      <a:prstDash val="dash"/>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ot"/>
                      <a:round/>
                      <a:headEnd type="none" w="med" len="med"/>
                      <a:tailEnd type="none" w="med" len="med"/>
                    </a:lnB>
                    <a:solidFill>
                      <a:srgbClr val="1A77B9"/>
                    </a:solidFill>
                  </a:tcPr>
                </a:tc>
                <a:tc>
                  <a:txBody>
                    <a:bodyPr/>
                    <a:lstStyle/>
                    <a:p>
                      <a:pPr algn="ctr" fontAlgn="b"/>
                      <a:r>
                        <a:rPr lang="en-US" sz="2400" b="1" i="0" u="none" strike="noStrike" dirty="0">
                          <a:solidFill>
                            <a:srgbClr val="FFFFFF"/>
                          </a:solidFill>
                          <a:effectLst/>
                          <a:latin typeface="Trebuchet MS" panose="020B0603020202020204" pitchFamily="34" charset="0"/>
                        </a:rPr>
                        <a:t>Y2021 Group </a:t>
                      </a:r>
                      <a:r>
                        <a:rPr lang="en-US" sz="2400" b="1" i="0" u="none" strike="noStrike" baseline="0" dirty="0">
                          <a:solidFill>
                            <a:srgbClr val="FFFFFF"/>
                          </a:solidFill>
                          <a:effectLst/>
                          <a:latin typeface="Trebuchet MS" panose="020B0603020202020204" pitchFamily="34" charset="0"/>
                        </a:rPr>
                        <a:t>Budget</a:t>
                      </a:r>
                      <a:r>
                        <a:rPr lang="en-US" sz="2400" b="1" i="0" u="none" strike="noStrike" dirty="0">
                          <a:solidFill>
                            <a:srgbClr val="FFFFFF"/>
                          </a:solidFill>
                          <a:effectLst/>
                          <a:latin typeface="Trebuchet MS" panose="020B0603020202020204" pitchFamily="34" charset="0"/>
                        </a:rPr>
                        <a:t> Revenue </a:t>
                      </a:r>
                    </a:p>
                    <a:p>
                      <a:pPr marL="0" marR="0" lvl="0" indent="0" algn="ctr" defTabSz="914400" eaLnBrk="1" fontAlgn="b" latinLnBrk="0" hangingPunct="1">
                        <a:lnSpc>
                          <a:spcPct val="100000"/>
                        </a:lnSpc>
                        <a:spcBef>
                          <a:spcPts val="0"/>
                        </a:spcBef>
                        <a:spcAft>
                          <a:spcPts val="0"/>
                        </a:spcAft>
                        <a:buClrTx/>
                        <a:buSzTx/>
                        <a:buFontTx/>
                        <a:buNone/>
                        <a:tabLst/>
                        <a:defRPr/>
                      </a:pPr>
                      <a:r>
                        <a:rPr lang="en-GB" sz="2400" b="1" i="0" u="none" strike="noStrike" dirty="0">
                          <a:solidFill>
                            <a:srgbClr val="FFFFFF"/>
                          </a:solidFill>
                          <a:effectLst/>
                          <a:latin typeface="Trebuchet MS" panose="020B0603020202020204" pitchFamily="34" charset="0"/>
                        </a:rPr>
                        <a:t>(₦’</a:t>
                      </a:r>
                      <a:r>
                        <a:rPr lang="en-GB" sz="2400" b="1" i="0" u="none" strike="noStrike" dirty="0" err="1">
                          <a:solidFill>
                            <a:srgbClr val="FFFFFF"/>
                          </a:solidFill>
                          <a:effectLst/>
                          <a:latin typeface="Trebuchet MS" panose="020B0603020202020204" pitchFamily="34" charset="0"/>
                        </a:rPr>
                        <a:t>mn</a:t>
                      </a:r>
                      <a:r>
                        <a:rPr lang="en-GB" sz="2400" b="1" i="0" u="none" strike="noStrike" dirty="0">
                          <a:solidFill>
                            <a:srgbClr val="FFFFFF"/>
                          </a:solidFill>
                          <a:effectLst/>
                          <a:latin typeface="Trebuchet MS" panose="020B0603020202020204" pitchFamily="34" charset="0"/>
                        </a:rPr>
                        <a:t>)</a:t>
                      </a:r>
                    </a:p>
                  </a:txBody>
                  <a:tcPr marL="9525" marR="9525" marT="9525" marB="0" anchor="b">
                    <a:lnL w="12700" cap="flat" cmpd="sng" algn="ctr">
                      <a:solidFill>
                        <a:srgbClr val="FFFFFF"/>
                      </a:solidFill>
                      <a:prstDash val="dash"/>
                      <a:round/>
                      <a:headEnd type="none" w="med" len="med"/>
                      <a:tailEnd type="none" w="med" len="med"/>
                    </a:lnL>
                    <a:lnR w="12700" cap="flat" cmpd="sng" algn="ctr">
                      <a:solidFill>
                        <a:srgbClr val="FFFFFF"/>
                      </a:solidFill>
                      <a:prstDash val="dash"/>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ot"/>
                      <a:round/>
                      <a:headEnd type="none" w="med" len="med"/>
                      <a:tailEnd type="none" w="med" len="med"/>
                    </a:lnB>
                    <a:solidFill>
                      <a:srgbClr val="1A77B9"/>
                    </a:solidFill>
                  </a:tcPr>
                </a:tc>
                <a:tc>
                  <a:txBody>
                    <a:bodyPr/>
                    <a:lstStyle/>
                    <a:p>
                      <a:pPr algn="ctr" fontAlgn="b"/>
                      <a:r>
                        <a:rPr lang="en-US" sz="2400" b="1" i="0" u="none" strike="noStrike" dirty="0">
                          <a:solidFill>
                            <a:srgbClr val="FFFFFF"/>
                          </a:solidFill>
                          <a:effectLst/>
                          <a:latin typeface="Trebuchet MS" panose="020B0603020202020204" pitchFamily="34" charset="0"/>
                        </a:rPr>
                        <a:t>Q1 MDA Budget</a:t>
                      </a:r>
                    </a:p>
                    <a:p>
                      <a:pPr algn="ctr" fontAlgn="b"/>
                      <a:r>
                        <a:rPr lang="en-US" sz="2400" b="1" i="0" u="none" strike="noStrike" dirty="0">
                          <a:solidFill>
                            <a:srgbClr val="FFFFFF"/>
                          </a:solidFill>
                          <a:effectLst/>
                          <a:latin typeface="Trebuchet MS" panose="020B0603020202020204" pitchFamily="34" charset="0"/>
                        </a:rPr>
                        <a:t>Revenue</a:t>
                      </a:r>
                    </a:p>
                    <a:p>
                      <a:pPr marL="0" marR="0" lvl="0" indent="0" algn="ctr" defTabSz="914400" eaLnBrk="1" fontAlgn="b" latinLnBrk="0" hangingPunct="1">
                        <a:lnSpc>
                          <a:spcPct val="100000"/>
                        </a:lnSpc>
                        <a:spcBef>
                          <a:spcPts val="0"/>
                        </a:spcBef>
                        <a:spcAft>
                          <a:spcPts val="0"/>
                        </a:spcAft>
                        <a:buClrTx/>
                        <a:buSzTx/>
                        <a:buFontTx/>
                        <a:buNone/>
                        <a:tabLst/>
                        <a:defRPr/>
                      </a:pPr>
                      <a:r>
                        <a:rPr lang="en-GB" sz="2400" b="1" i="0" u="none" strike="noStrike" dirty="0">
                          <a:solidFill>
                            <a:srgbClr val="FFFFFF"/>
                          </a:solidFill>
                          <a:effectLst/>
                          <a:latin typeface="Trebuchet MS" panose="020B0603020202020204" pitchFamily="34" charset="0"/>
                        </a:rPr>
                        <a:t>(₦’</a:t>
                      </a:r>
                      <a:r>
                        <a:rPr lang="en-GB" sz="2400" b="1" i="0" u="none" strike="noStrike" dirty="0" err="1">
                          <a:solidFill>
                            <a:srgbClr val="FFFFFF"/>
                          </a:solidFill>
                          <a:effectLst/>
                          <a:latin typeface="Trebuchet MS" panose="020B0603020202020204" pitchFamily="34" charset="0"/>
                        </a:rPr>
                        <a:t>mn</a:t>
                      </a:r>
                      <a:r>
                        <a:rPr lang="en-GB" sz="2400" b="1" i="0" u="none" strike="noStrike" dirty="0">
                          <a:solidFill>
                            <a:srgbClr val="FFFFFF"/>
                          </a:solidFill>
                          <a:effectLst/>
                          <a:latin typeface="Trebuchet MS" panose="020B0603020202020204" pitchFamily="34" charset="0"/>
                        </a:rPr>
                        <a:t>)</a:t>
                      </a:r>
                    </a:p>
                  </a:txBody>
                  <a:tcPr marL="9525" marR="9525" marT="9525" marB="0" anchor="b">
                    <a:lnL w="12700" cap="flat" cmpd="sng" algn="ctr">
                      <a:solidFill>
                        <a:srgbClr val="FFFFFF"/>
                      </a:solidFill>
                      <a:prstDash val="dash"/>
                      <a:round/>
                      <a:headEnd type="none" w="med" len="med"/>
                      <a:tailEnd type="none" w="med" len="med"/>
                    </a:lnL>
                    <a:lnR w="12700" cap="flat" cmpd="sng" algn="ctr">
                      <a:solidFill>
                        <a:srgbClr val="FFFFFF"/>
                      </a:solidFill>
                      <a:prstDash val="dash"/>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ot"/>
                      <a:round/>
                      <a:headEnd type="none" w="med" len="med"/>
                      <a:tailEnd type="none" w="med" len="med"/>
                    </a:lnB>
                    <a:solidFill>
                      <a:srgbClr val="1A77B9"/>
                    </a:solidFill>
                  </a:tcPr>
                </a:tc>
                <a:tc>
                  <a:txBody>
                    <a:bodyPr/>
                    <a:lstStyle/>
                    <a:p>
                      <a:pPr algn="ctr" fontAlgn="b"/>
                      <a:endParaRPr lang="en-US" sz="2400" b="1" i="0" u="none" strike="noStrike" dirty="0">
                        <a:solidFill>
                          <a:srgbClr val="FFFFFF"/>
                        </a:solidFill>
                        <a:effectLst/>
                        <a:latin typeface="Trebuchet MS" panose="020B0603020202020204" pitchFamily="34" charset="0"/>
                      </a:endParaRPr>
                    </a:p>
                    <a:p>
                      <a:pPr algn="ctr" fontAlgn="b"/>
                      <a:r>
                        <a:rPr lang="en-US" sz="2400" b="1" i="0" u="none" strike="noStrike" dirty="0">
                          <a:solidFill>
                            <a:srgbClr val="FFFFFF"/>
                          </a:solidFill>
                          <a:effectLst/>
                          <a:latin typeface="Trebuchet MS" panose="020B0603020202020204" pitchFamily="34" charset="0"/>
                        </a:rPr>
                        <a:t>Q1 MDA Actual</a:t>
                      </a:r>
                    </a:p>
                    <a:p>
                      <a:pPr algn="ctr" fontAlgn="b"/>
                      <a:r>
                        <a:rPr lang="en-US" sz="2400" b="1" i="0" u="none" strike="noStrike" dirty="0">
                          <a:solidFill>
                            <a:srgbClr val="FFFFFF"/>
                          </a:solidFill>
                          <a:effectLst/>
                          <a:latin typeface="Trebuchet MS" panose="020B0603020202020204" pitchFamily="34" charset="0"/>
                        </a:rPr>
                        <a:t>Revenue</a:t>
                      </a:r>
                    </a:p>
                    <a:p>
                      <a:pPr marL="0" marR="0" lvl="0" indent="0" algn="ctr" defTabSz="914400" eaLnBrk="1" fontAlgn="b" latinLnBrk="0" hangingPunct="1">
                        <a:lnSpc>
                          <a:spcPct val="100000"/>
                        </a:lnSpc>
                        <a:spcBef>
                          <a:spcPts val="0"/>
                        </a:spcBef>
                        <a:spcAft>
                          <a:spcPts val="0"/>
                        </a:spcAft>
                        <a:buClrTx/>
                        <a:buSzTx/>
                        <a:buFontTx/>
                        <a:buNone/>
                        <a:tabLst/>
                        <a:defRPr/>
                      </a:pPr>
                      <a:r>
                        <a:rPr lang="en-GB" sz="2400" b="1" i="0" u="none" strike="noStrike" dirty="0">
                          <a:solidFill>
                            <a:srgbClr val="FFFFFF"/>
                          </a:solidFill>
                          <a:effectLst/>
                          <a:latin typeface="Trebuchet MS" panose="020B0603020202020204" pitchFamily="34" charset="0"/>
                        </a:rPr>
                        <a:t>(₦’</a:t>
                      </a:r>
                      <a:r>
                        <a:rPr lang="en-GB" sz="2400" b="1" i="0" u="none" strike="noStrike" dirty="0" err="1">
                          <a:solidFill>
                            <a:srgbClr val="FFFFFF"/>
                          </a:solidFill>
                          <a:effectLst/>
                          <a:latin typeface="Trebuchet MS" panose="020B0603020202020204" pitchFamily="34" charset="0"/>
                        </a:rPr>
                        <a:t>mn</a:t>
                      </a:r>
                      <a:r>
                        <a:rPr lang="en-GB" sz="2400" b="1" i="0" u="none" strike="noStrike" dirty="0">
                          <a:solidFill>
                            <a:srgbClr val="FFFFFF"/>
                          </a:solidFill>
                          <a:effectLst/>
                          <a:latin typeface="Trebuchet MS" panose="020B0603020202020204" pitchFamily="34" charset="0"/>
                        </a:rPr>
                        <a:t>)</a:t>
                      </a:r>
                    </a:p>
                  </a:txBody>
                  <a:tcPr marL="9525" marR="9525" marT="9525" marB="0" anchor="b">
                    <a:lnL w="12700" cap="flat" cmpd="sng" algn="ctr">
                      <a:solidFill>
                        <a:srgbClr val="FFFFFF"/>
                      </a:solidFill>
                      <a:prstDash val="dash"/>
                      <a:round/>
                      <a:headEnd type="none" w="med" len="med"/>
                      <a:tailEnd type="none" w="med" len="med"/>
                    </a:lnL>
                    <a:lnR w="12700" cap="flat" cmpd="sng" algn="ctr">
                      <a:solidFill>
                        <a:srgbClr val="FFFFFF"/>
                      </a:solidFill>
                      <a:prstDash val="dash"/>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ot"/>
                      <a:round/>
                      <a:headEnd type="none" w="med" len="med"/>
                      <a:tailEnd type="none" w="med" len="med"/>
                    </a:lnB>
                    <a:solidFill>
                      <a:srgbClr val="1A77B9"/>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GB" sz="2400" b="1" i="0" u="none" strike="noStrike" dirty="0">
                          <a:solidFill>
                            <a:srgbClr val="FFFFFF"/>
                          </a:solidFill>
                          <a:effectLst/>
                          <a:latin typeface="Trebuchet MS" panose="020B0603020202020204" pitchFamily="34" charset="0"/>
                        </a:rPr>
                        <a:t>PERF. </a:t>
                      </a:r>
                      <a:br>
                        <a:rPr lang="en-GB" sz="2400" b="1" i="0" u="none" strike="noStrike" dirty="0">
                          <a:solidFill>
                            <a:srgbClr val="FFFFFF"/>
                          </a:solidFill>
                          <a:effectLst/>
                          <a:latin typeface="Trebuchet MS" panose="020B0603020202020204" pitchFamily="34" charset="0"/>
                        </a:rPr>
                      </a:br>
                      <a:r>
                        <a:rPr lang="en-GB" sz="2400" b="1" i="0" u="none" strike="noStrike" dirty="0">
                          <a:solidFill>
                            <a:srgbClr val="FFFFFF"/>
                          </a:solidFill>
                          <a:effectLst/>
                          <a:latin typeface="Trebuchet MS" panose="020B0603020202020204" pitchFamily="34" charset="0"/>
                        </a:rPr>
                        <a:t>(%)</a:t>
                      </a:r>
                    </a:p>
                  </a:txBody>
                  <a:tcPr marL="9525" marR="9525" marT="9525" marB="0" anchor="b">
                    <a:lnL w="12700" cap="flat" cmpd="sng" algn="ctr">
                      <a:solidFill>
                        <a:srgbClr val="FFFFFF"/>
                      </a:solidFill>
                      <a:prstDash val="dash"/>
                      <a:round/>
                      <a:headEnd type="none" w="med" len="med"/>
                      <a:tailEnd type="none" w="med" len="med"/>
                    </a:lnL>
                    <a:lnR w="12700" cap="flat" cmpd="sng" algn="ctr">
                      <a:solidFill>
                        <a:srgbClr val="FFFFFF"/>
                      </a:solidFill>
                      <a:prstDash val="dash"/>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ot"/>
                      <a:round/>
                      <a:headEnd type="none" w="med" len="med"/>
                      <a:tailEnd type="none" w="med" len="med"/>
                    </a:lnB>
                    <a:solidFill>
                      <a:srgbClr val="1A77B9"/>
                    </a:solidFill>
                  </a:tcPr>
                </a:tc>
                <a:tc>
                  <a:txBody>
                    <a:bodyPr/>
                    <a:lstStyle/>
                    <a:p>
                      <a:pPr algn="ctr" fontAlgn="b"/>
                      <a:r>
                        <a:rPr lang="en-US" sz="2400" b="1" i="0" u="none" strike="noStrike" dirty="0">
                          <a:solidFill>
                            <a:srgbClr val="FFFFFF"/>
                          </a:solidFill>
                          <a:effectLst/>
                          <a:latin typeface="Trebuchet MS" panose="020B0603020202020204" pitchFamily="34" charset="0"/>
                        </a:rPr>
                        <a:t>Y2021 Group</a:t>
                      </a:r>
                      <a:r>
                        <a:rPr lang="en-US" sz="2400" b="1" i="0" u="none" strike="noStrike" baseline="0" dirty="0">
                          <a:solidFill>
                            <a:srgbClr val="FFFFFF"/>
                          </a:solidFill>
                          <a:effectLst/>
                          <a:latin typeface="Trebuchet MS" panose="020B0603020202020204" pitchFamily="34" charset="0"/>
                        </a:rPr>
                        <a:t> Budget</a:t>
                      </a:r>
                      <a:r>
                        <a:rPr lang="en-US" sz="2400" b="1" i="0" u="none" strike="noStrike" dirty="0">
                          <a:solidFill>
                            <a:srgbClr val="FFFFFF"/>
                          </a:solidFill>
                          <a:effectLst/>
                          <a:latin typeface="Trebuchet MS" panose="020B0603020202020204" pitchFamily="34" charset="0"/>
                        </a:rPr>
                        <a:t> </a:t>
                      </a:r>
                    </a:p>
                    <a:p>
                      <a:pPr algn="ctr" fontAlgn="b"/>
                      <a:r>
                        <a:rPr lang="en-US" sz="2400" b="1" i="0" u="none" strike="noStrike" dirty="0">
                          <a:solidFill>
                            <a:srgbClr val="FFFFFF"/>
                          </a:solidFill>
                          <a:effectLst/>
                          <a:latin typeface="Trebuchet MS" panose="020B0603020202020204" pitchFamily="34" charset="0"/>
                        </a:rPr>
                        <a:t>Capex</a:t>
                      </a:r>
                    </a:p>
                    <a:p>
                      <a:pPr marL="0" marR="0" lvl="0" indent="0" algn="ctr" defTabSz="914400" eaLnBrk="1" fontAlgn="b" latinLnBrk="0" hangingPunct="1">
                        <a:lnSpc>
                          <a:spcPct val="100000"/>
                        </a:lnSpc>
                        <a:spcBef>
                          <a:spcPts val="0"/>
                        </a:spcBef>
                        <a:spcAft>
                          <a:spcPts val="0"/>
                        </a:spcAft>
                        <a:buClrTx/>
                        <a:buSzTx/>
                        <a:buFontTx/>
                        <a:buNone/>
                        <a:tabLst/>
                        <a:defRPr/>
                      </a:pPr>
                      <a:r>
                        <a:rPr lang="en-GB" sz="2400" b="1" i="0" u="none" strike="noStrike" dirty="0">
                          <a:solidFill>
                            <a:srgbClr val="FFFFFF"/>
                          </a:solidFill>
                          <a:effectLst/>
                          <a:latin typeface="Trebuchet MS" panose="020B0603020202020204" pitchFamily="34" charset="0"/>
                        </a:rPr>
                        <a:t>(₦’</a:t>
                      </a:r>
                      <a:r>
                        <a:rPr lang="en-GB" sz="2400" b="1" i="0" u="none" strike="noStrike" dirty="0" err="1">
                          <a:solidFill>
                            <a:srgbClr val="FFFFFF"/>
                          </a:solidFill>
                          <a:effectLst/>
                          <a:latin typeface="Trebuchet MS" panose="020B0603020202020204" pitchFamily="34" charset="0"/>
                        </a:rPr>
                        <a:t>mn</a:t>
                      </a:r>
                      <a:r>
                        <a:rPr lang="en-GB" sz="2400" b="1" i="0" u="none" strike="noStrike" dirty="0">
                          <a:solidFill>
                            <a:srgbClr val="FFFFFF"/>
                          </a:solidFill>
                          <a:effectLst/>
                          <a:latin typeface="Trebuchet MS" panose="020B0603020202020204" pitchFamily="34" charset="0"/>
                        </a:rPr>
                        <a:t>)</a:t>
                      </a:r>
                    </a:p>
                  </a:txBody>
                  <a:tcPr marL="9525" marR="9525" marT="9525" marB="0" anchor="b">
                    <a:lnL w="12700" cap="flat" cmpd="sng" algn="ctr">
                      <a:solidFill>
                        <a:srgbClr val="FFFFFF"/>
                      </a:solidFill>
                      <a:prstDash val="dash"/>
                      <a:round/>
                      <a:headEnd type="none" w="med" len="med"/>
                      <a:tailEnd type="none" w="med" len="med"/>
                    </a:lnL>
                    <a:lnR w="12700" cap="flat" cmpd="sng" algn="ctr">
                      <a:solidFill>
                        <a:srgbClr val="FFFFFF"/>
                      </a:solidFill>
                      <a:prstDash val="dash"/>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ot"/>
                      <a:round/>
                      <a:headEnd type="none" w="med" len="med"/>
                      <a:tailEnd type="none" w="med" len="med"/>
                    </a:lnB>
                    <a:solidFill>
                      <a:srgbClr val="1A77B9"/>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GB" sz="2400" b="1" i="0" u="none" strike="noStrike" dirty="0">
                          <a:solidFill>
                            <a:srgbClr val="FFFFFF"/>
                          </a:solidFill>
                          <a:effectLst/>
                          <a:latin typeface="Trebuchet MS" panose="020B0603020202020204" pitchFamily="34" charset="0"/>
                        </a:rPr>
                        <a:t>Q1 MDA</a:t>
                      </a:r>
                      <a:r>
                        <a:rPr lang="en-GB" sz="2400" b="1" i="0" u="none" strike="noStrike" baseline="0" dirty="0">
                          <a:solidFill>
                            <a:srgbClr val="FFFFFF"/>
                          </a:solidFill>
                          <a:effectLst/>
                          <a:latin typeface="Trebuchet MS" panose="020B0603020202020204" pitchFamily="34" charset="0"/>
                        </a:rPr>
                        <a:t> </a:t>
                      </a:r>
                    </a:p>
                    <a:p>
                      <a:pPr marL="0" marR="0" lvl="0" indent="0" algn="ctr" defTabSz="914400" eaLnBrk="1" fontAlgn="b" latinLnBrk="0" hangingPunct="1">
                        <a:lnSpc>
                          <a:spcPct val="100000"/>
                        </a:lnSpc>
                        <a:spcBef>
                          <a:spcPts val="0"/>
                        </a:spcBef>
                        <a:spcAft>
                          <a:spcPts val="0"/>
                        </a:spcAft>
                        <a:buClrTx/>
                        <a:buSzTx/>
                        <a:buFontTx/>
                        <a:buNone/>
                        <a:tabLst/>
                        <a:defRPr/>
                      </a:pPr>
                      <a:r>
                        <a:rPr lang="en-GB" sz="2400" b="1" i="0" u="none" strike="noStrike" dirty="0">
                          <a:solidFill>
                            <a:srgbClr val="FFFFFF"/>
                          </a:solidFill>
                          <a:effectLst/>
                          <a:latin typeface="Trebuchet MS" panose="020B0603020202020204" pitchFamily="34" charset="0"/>
                        </a:rPr>
                        <a:t>Budget</a:t>
                      </a:r>
                      <a:br>
                        <a:rPr lang="en-GB" sz="2400" b="1" i="0" u="none" strike="noStrike" dirty="0">
                          <a:solidFill>
                            <a:srgbClr val="FFFFFF"/>
                          </a:solidFill>
                          <a:effectLst/>
                          <a:latin typeface="Trebuchet MS" panose="020B0603020202020204" pitchFamily="34" charset="0"/>
                        </a:rPr>
                      </a:br>
                      <a:r>
                        <a:rPr lang="en-GB" sz="2400" b="1" i="0" u="none" strike="noStrike" dirty="0">
                          <a:solidFill>
                            <a:srgbClr val="FFFFFF"/>
                          </a:solidFill>
                          <a:effectLst/>
                          <a:latin typeface="Trebuchet MS" panose="020B0603020202020204" pitchFamily="34" charset="0"/>
                        </a:rPr>
                        <a:t>Capex</a:t>
                      </a:r>
                      <a:br>
                        <a:rPr lang="en-GB" sz="2400" b="1" i="0" u="none" strike="noStrike" dirty="0">
                          <a:solidFill>
                            <a:srgbClr val="FFFFFF"/>
                          </a:solidFill>
                          <a:effectLst/>
                          <a:latin typeface="Trebuchet MS" panose="020B0603020202020204" pitchFamily="34" charset="0"/>
                        </a:rPr>
                      </a:br>
                      <a:r>
                        <a:rPr lang="en-GB" sz="2400" b="1" i="0" u="none" strike="noStrike" dirty="0">
                          <a:solidFill>
                            <a:srgbClr val="FFFFFF"/>
                          </a:solidFill>
                          <a:effectLst/>
                          <a:latin typeface="Trebuchet MS" panose="020B0603020202020204" pitchFamily="34" charset="0"/>
                        </a:rPr>
                        <a:t>(₦’</a:t>
                      </a:r>
                      <a:r>
                        <a:rPr lang="en-GB" sz="2400" b="1" i="0" u="none" strike="noStrike" dirty="0" err="1">
                          <a:solidFill>
                            <a:srgbClr val="FFFFFF"/>
                          </a:solidFill>
                          <a:effectLst/>
                          <a:latin typeface="Trebuchet MS" panose="020B0603020202020204" pitchFamily="34" charset="0"/>
                        </a:rPr>
                        <a:t>mn</a:t>
                      </a:r>
                      <a:r>
                        <a:rPr lang="en-GB" sz="2400" b="1" i="0" u="none" strike="noStrike" dirty="0">
                          <a:solidFill>
                            <a:srgbClr val="FFFFFF"/>
                          </a:solidFill>
                          <a:effectLst/>
                          <a:latin typeface="Trebuchet MS" panose="020B0603020202020204" pitchFamily="34" charset="0"/>
                        </a:rPr>
                        <a:t>)</a:t>
                      </a:r>
                    </a:p>
                  </a:txBody>
                  <a:tcPr marL="9525" marR="9525" marT="9525" marB="0" anchor="b">
                    <a:lnL w="12700" cap="flat" cmpd="sng" algn="ctr">
                      <a:solidFill>
                        <a:srgbClr val="FFFFFF"/>
                      </a:solidFill>
                      <a:prstDash val="dash"/>
                      <a:round/>
                      <a:headEnd type="none" w="med" len="med"/>
                      <a:tailEnd type="none" w="med" len="med"/>
                    </a:lnL>
                    <a:lnR w="12700" cap="flat" cmpd="sng" algn="ctr">
                      <a:solidFill>
                        <a:srgbClr val="FFFFFF"/>
                      </a:solidFill>
                      <a:prstDash val="dash"/>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ot"/>
                      <a:round/>
                      <a:headEnd type="none" w="med" len="med"/>
                      <a:tailEnd type="none" w="med" len="med"/>
                    </a:lnB>
                    <a:solidFill>
                      <a:srgbClr val="1A77B9"/>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GB" sz="2400" b="1" i="0" u="none" strike="noStrike" dirty="0">
                          <a:solidFill>
                            <a:srgbClr val="FFFFFF"/>
                          </a:solidFill>
                          <a:effectLst/>
                          <a:latin typeface="Trebuchet MS" panose="020B0603020202020204" pitchFamily="34" charset="0"/>
                        </a:rPr>
                        <a:t>Q1 MDA Actual</a:t>
                      </a:r>
                      <a:br>
                        <a:rPr lang="en-GB" sz="2400" b="1" i="0" u="none" strike="noStrike" dirty="0">
                          <a:solidFill>
                            <a:srgbClr val="FFFFFF"/>
                          </a:solidFill>
                          <a:effectLst/>
                          <a:latin typeface="Trebuchet MS" panose="020B0603020202020204" pitchFamily="34" charset="0"/>
                        </a:rPr>
                      </a:br>
                      <a:r>
                        <a:rPr lang="en-GB" sz="2400" b="1" i="0" u="none" strike="noStrike" dirty="0">
                          <a:solidFill>
                            <a:srgbClr val="FFFFFF"/>
                          </a:solidFill>
                          <a:effectLst/>
                          <a:latin typeface="Trebuchet MS" panose="020B0603020202020204" pitchFamily="34" charset="0"/>
                        </a:rPr>
                        <a:t>Capex</a:t>
                      </a:r>
                      <a:br>
                        <a:rPr lang="en-GB" sz="2400" b="1" i="0" u="none" strike="noStrike" dirty="0">
                          <a:solidFill>
                            <a:srgbClr val="FFFFFF"/>
                          </a:solidFill>
                          <a:effectLst/>
                          <a:latin typeface="Trebuchet MS" panose="020B0603020202020204" pitchFamily="34" charset="0"/>
                        </a:rPr>
                      </a:br>
                      <a:r>
                        <a:rPr lang="en-GB" sz="2400" b="1" i="0" u="none" strike="noStrike" dirty="0">
                          <a:solidFill>
                            <a:srgbClr val="FFFFFF"/>
                          </a:solidFill>
                          <a:effectLst/>
                          <a:latin typeface="Trebuchet MS" panose="020B0603020202020204" pitchFamily="34" charset="0"/>
                        </a:rPr>
                        <a:t>(₦’</a:t>
                      </a:r>
                      <a:r>
                        <a:rPr lang="en-GB" sz="2400" b="1" i="0" u="none" strike="noStrike" dirty="0" err="1">
                          <a:solidFill>
                            <a:srgbClr val="FFFFFF"/>
                          </a:solidFill>
                          <a:effectLst/>
                          <a:latin typeface="Trebuchet MS" panose="020B0603020202020204" pitchFamily="34" charset="0"/>
                        </a:rPr>
                        <a:t>mn</a:t>
                      </a:r>
                      <a:r>
                        <a:rPr lang="en-GB" sz="2400" b="1" i="0" u="none" strike="noStrike" dirty="0">
                          <a:solidFill>
                            <a:srgbClr val="FFFFFF"/>
                          </a:solidFill>
                          <a:effectLst/>
                          <a:latin typeface="Trebuchet MS" panose="020B0603020202020204" pitchFamily="34" charset="0"/>
                        </a:rPr>
                        <a:t>)</a:t>
                      </a:r>
                    </a:p>
                  </a:txBody>
                  <a:tcPr marL="9525" marR="9525" marT="9525" marB="0" anchor="b">
                    <a:lnL w="12700" cap="flat" cmpd="sng" algn="ctr">
                      <a:solidFill>
                        <a:srgbClr val="FFFFFF"/>
                      </a:solidFill>
                      <a:prstDash val="dash"/>
                      <a:round/>
                      <a:headEnd type="none" w="med" len="med"/>
                      <a:tailEnd type="none" w="med" len="med"/>
                    </a:lnL>
                    <a:lnR w="12700" cap="flat" cmpd="sng" algn="ctr">
                      <a:solidFill>
                        <a:srgbClr val="FFFFFF"/>
                      </a:solidFill>
                      <a:prstDash val="dash"/>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ot"/>
                      <a:round/>
                      <a:headEnd type="none" w="med" len="med"/>
                      <a:tailEnd type="none" w="med" len="med"/>
                    </a:lnB>
                    <a:solidFill>
                      <a:srgbClr val="1A77B9"/>
                    </a:solidFill>
                  </a:tcPr>
                </a:tc>
                <a:tc>
                  <a:txBody>
                    <a:bodyPr/>
                    <a:lstStyle/>
                    <a:p>
                      <a:pPr algn="ctr" fontAlgn="b"/>
                      <a:r>
                        <a:rPr lang="en-GB" sz="2400" b="1" i="0" u="none" strike="noStrike" dirty="0">
                          <a:solidFill>
                            <a:srgbClr val="FFFFFF"/>
                          </a:solidFill>
                          <a:effectLst/>
                          <a:latin typeface="Trebuchet MS" panose="020B0603020202020204" pitchFamily="34" charset="0"/>
                        </a:rPr>
                        <a:t>PERF </a:t>
                      </a:r>
                      <a:br>
                        <a:rPr lang="en-GB" sz="2400" b="1" i="0" u="none" strike="noStrike" dirty="0">
                          <a:solidFill>
                            <a:srgbClr val="FFFFFF"/>
                          </a:solidFill>
                          <a:effectLst/>
                          <a:latin typeface="Trebuchet MS" panose="020B0603020202020204" pitchFamily="34" charset="0"/>
                        </a:rPr>
                      </a:br>
                      <a:r>
                        <a:rPr lang="en-GB" sz="2400" b="1" i="0" u="none" strike="noStrike" dirty="0">
                          <a:solidFill>
                            <a:srgbClr val="FFFFFF"/>
                          </a:solidFill>
                          <a:effectLst/>
                          <a:latin typeface="Trebuchet MS" panose="020B0603020202020204" pitchFamily="34" charset="0"/>
                        </a:rPr>
                        <a:t>(%)</a:t>
                      </a:r>
                    </a:p>
                  </a:txBody>
                  <a:tcPr marL="9525" marR="9525" marT="9525" marB="0" anchor="b">
                    <a:lnL w="12700" cap="flat" cmpd="sng" algn="ctr">
                      <a:solidFill>
                        <a:srgbClr val="FFFFFF"/>
                      </a:solidFill>
                      <a:prstDash val="dash"/>
                      <a:round/>
                      <a:headEnd type="none" w="med" len="med"/>
                      <a:tailEnd type="none" w="med" len="med"/>
                    </a:lnL>
                    <a:lnR w="6350" cap="flat" cmpd="sng" algn="ctr">
                      <a:solidFill>
                        <a:srgbClr val="A6A6A6"/>
                      </a:solidFill>
                      <a:prstDash val="dot"/>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ot"/>
                      <a:round/>
                      <a:headEnd type="none" w="med" len="med"/>
                      <a:tailEnd type="none" w="med" len="med"/>
                    </a:lnB>
                    <a:solidFill>
                      <a:srgbClr val="1A77B9"/>
                    </a:solidFill>
                  </a:tcPr>
                </a:tc>
                <a:extLst>
                  <a:ext uri="{0D108BD9-81ED-4DB2-BD59-A6C34878D82A}">
                    <a16:rowId xmlns:a16="http://schemas.microsoft.com/office/drawing/2014/main" val="3598845676"/>
                  </a:ext>
                </a:extLst>
              </a:tr>
              <a:tr h="502920">
                <a:tc>
                  <a:txBody>
                    <a:bodyPr/>
                    <a:lstStyle/>
                    <a:p>
                      <a:pPr algn="l" fontAlgn="b"/>
                      <a:r>
                        <a:rPr lang="en-US" sz="2400" b="0" i="0" u="none" strike="noStrike" dirty="0">
                          <a:solidFill>
                            <a:srgbClr val="000000"/>
                          </a:solidFill>
                          <a:effectLst/>
                          <a:latin typeface="Trebuchet MS" panose="020B0603020202020204" pitchFamily="34" charset="0"/>
                        </a:rPr>
                        <a:t>Youth &amp; Social Development (Including Sport)</a:t>
                      </a:r>
                    </a:p>
                  </a:txBody>
                  <a:tcPr marL="0" marR="0" marT="0" marB="0" anchor="b">
                    <a:lnL>
                      <a:noFill/>
                    </a:lnL>
                    <a:lnR w="6350" cap="flat" cmpd="sng" algn="ctr">
                      <a:solidFill>
                        <a:srgbClr val="A6A6A6"/>
                      </a:solidFill>
                      <a:prstDash val="dash"/>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dirty="0">
                          <a:solidFill>
                            <a:srgbClr val="000000"/>
                          </a:solidFill>
                          <a:effectLst/>
                          <a:latin typeface="Trebuchet MS" panose="020B0603020202020204" pitchFamily="34" charset="0"/>
                        </a:rPr>
                        <a:t>20</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dirty="0">
                          <a:solidFill>
                            <a:srgbClr val="000000"/>
                          </a:solidFill>
                          <a:effectLst/>
                          <a:latin typeface="Trebuchet MS" panose="020B0603020202020204" pitchFamily="34" charset="0"/>
                        </a:rPr>
                        <a:t>27</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12</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Calibri" panose="020F0502020204030204" pitchFamily="34" charset="0"/>
                        </a:rPr>
                        <a:t>44</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ash"/>
                      <a:round/>
                      <a:headEnd type="none" w="med" len="med"/>
                      <a:tailEnd type="none" w="med" len="med"/>
                    </a:lnB>
                    <a:solidFill>
                      <a:schemeClr val="accent1"/>
                    </a:solidFill>
                  </a:tcPr>
                </a:tc>
                <a:tc>
                  <a:txBody>
                    <a:bodyPr/>
                    <a:lstStyle/>
                    <a:p>
                      <a:pPr algn="r" fontAlgn="b"/>
                      <a:r>
                        <a:rPr lang="en-GB" sz="2400" b="0" i="0" u="none" strike="noStrike">
                          <a:solidFill>
                            <a:srgbClr val="000000"/>
                          </a:solidFill>
                          <a:effectLst/>
                          <a:latin typeface="Trebuchet MS" panose="020B0603020202020204" pitchFamily="34" charset="0"/>
                        </a:rPr>
                        <a:t>3,272</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818</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133</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Calibri" panose="020F0502020204030204" pitchFamily="34" charset="0"/>
                        </a:rPr>
                        <a:t>16</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ash"/>
                      <a:round/>
                      <a:headEnd type="none" w="med" len="med"/>
                      <a:tailEnd type="none" w="med" len="med"/>
                    </a:lnB>
                    <a:solidFill>
                      <a:schemeClr val="accent1"/>
                    </a:solidFill>
                  </a:tcPr>
                </a:tc>
                <a:extLst>
                  <a:ext uri="{0D108BD9-81ED-4DB2-BD59-A6C34878D82A}">
                    <a16:rowId xmlns:a16="http://schemas.microsoft.com/office/drawing/2014/main" val="3494647633"/>
                  </a:ext>
                </a:extLst>
              </a:tr>
              <a:tr h="502920">
                <a:tc>
                  <a:txBody>
                    <a:bodyPr/>
                    <a:lstStyle/>
                    <a:p>
                      <a:pPr algn="l" fontAlgn="b"/>
                      <a:r>
                        <a:rPr lang="en-US" sz="2400" b="0" i="0" u="none" strike="noStrike" dirty="0">
                          <a:solidFill>
                            <a:srgbClr val="000000"/>
                          </a:solidFill>
                          <a:effectLst/>
                          <a:latin typeface="Trebuchet MS" panose="020B0603020202020204" pitchFamily="34" charset="0"/>
                        </a:rPr>
                        <a:t>PMO ***(OHC)</a:t>
                      </a:r>
                    </a:p>
                  </a:txBody>
                  <a:tcPr marL="0" marR="0" marT="0" marB="0" anchor="b">
                    <a:lnL>
                      <a:noFill/>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dirty="0">
                          <a:solidFill>
                            <a:srgbClr val="000000"/>
                          </a:solidFill>
                          <a:effectLst/>
                          <a:latin typeface="Trebuchet MS" panose="020B0603020202020204" pitchFamily="34" charset="0"/>
                        </a:rPr>
                        <a:t>3</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dirty="0">
                          <a:solidFill>
                            <a:srgbClr val="000000"/>
                          </a:solidFill>
                          <a:effectLst/>
                          <a:latin typeface="Trebuchet MS" panose="020B0603020202020204" pitchFamily="34" charset="0"/>
                        </a:rPr>
                        <a:t>1</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2</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rgbClr val="000000"/>
                          </a:solidFill>
                          <a:effectLst/>
                          <a:latin typeface="Calibri" panose="020F0502020204030204" pitchFamily="34" charset="0"/>
                        </a:rPr>
                        <a:t>310</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rgbClr val="92D050"/>
                    </a:solidFill>
                  </a:tcPr>
                </a:tc>
                <a:tc>
                  <a:txBody>
                    <a:bodyPr/>
                    <a:lstStyle/>
                    <a:p>
                      <a:pPr algn="r" fontAlgn="b"/>
                      <a:r>
                        <a:rPr lang="en-GB" sz="2400" b="0" i="0" u="none" strike="noStrike">
                          <a:solidFill>
                            <a:srgbClr val="000000"/>
                          </a:solidFill>
                          <a:effectLst/>
                          <a:latin typeface="Trebuchet MS" panose="020B0603020202020204" pitchFamily="34" charset="0"/>
                        </a:rPr>
                        <a:t>172</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43</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8</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Calibri" panose="020F0502020204030204" pitchFamily="34" charset="0"/>
                        </a:rPr>
                        <a:t>20</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chemeClr val="accent1"/>
                    </a:solidFill>
                  </a:tcPr>
                </a:tc>
                <a:extLst>
                  <a:ext uri="{0D108BD9-81ED-4DB2-BD59-A6C34878D82A}">
                    <a16:rowId xmlns:a16="http://schemas.microsoft.com/office/drawing/2014/main" val="1582516704"/>
                  </a:ext>
                </a:extLst>
              </a:tr>
              <a:tr h="502920">
                <a:tc>
                  <a:txBody>
                    <a:bodyPr/>
                    <a:lstStyle/>
                    <a:p>
                      <a:pPr algn="l" fontAlgn="b"/>
                      <a:r>
                        <a:rPr lang="en-US" sz="2400" b="0" i="0" u="none" strike="noStrike" dirty="0">
                          <a:solidFill>
                            <a:srgbClr val="000000"/>
                          </a:solidFill>
                          <a:effectLst/>
                          <a:latin typeface="Trebuchet MS" panose="020B0603020202020204" pitchFamily="34" charset="0"/>
                        </a:rPr>
                        <a:t>Establishment and Training (Including CSC, CSPO &amp; PSO)</a:t>
                      </a:r>
                    </a:p>
                  </a:txBody>
                  <a:tcPr marL="0" marR="0" marT="0" marB="0" anchor="b">
                    <a:lnL>
                      <a:noFill/>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59</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dirty="0">
                          <a:solidFill>
                            <a:srgbClr val="000000"/>
                          </a:solidFill>
                          <a:effectLst/>
                          <a:latin typeface="Trebuchet MS" panose="020B0603020202020204" pitchFamily="34" charset="0"/>
                        </a:rPr>
                        <a:t>15</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14</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rgbClr val="000000"/>
                          </a:solidFill>
                          <a:effectLst/>
                          <a:latin typeface="Calibri" panose="020F0502020204030204" pitchFamily="34" charset="0"/>
                        </a:rPr>
                        <a:t>94</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rgbClr val="92D050"/>
                    </a:solidFill>
                  </a:tcPr>
                </a:tc>
                <a:tc>
                  <a:txBody>
                    <a:bodyPr/>
                    <a:lstStyle/>
                    <a:p>
                      <a:pPr algn="r" fontAlgn="b"/>
                      <a:r>
                        <a:rPr lang="en-GB" sz="2400" b="0" i="0" u="none" strike="noStrike">
                          <a:solidFill>
                            <a:srgbClr val="000000"/>
                          </a:solidFill>
                          <a:effectLst/>
                          <a:latin typeface="Trebuchet MS" panose="020B0603020202020204" pitchFamily="34" charset="0"/>
                        </a:rPr>
                        <a:t>805</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201</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187</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rgbClr val="000000"/>
                          </a:solidFill>
                          <a:effectLst/>
                          <a:latin typeface="Calibri" panose="020F0502020204030204" pitchFamily="34" charset="0"/>
                        </a:rPr>
                        <a:t>93</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rgbClr val="92D050"/>
                    </a:solidFill>
                  </a:tcPr>
                </a:tc>
                <a:extLst>
                  <a:ext uri="{0D108BD9-81ED-4DB2-BD59-A6C34878D82A}">
                    <a16:rowId xmlns:a16="http://schemas.microsoft.com/office/drawing/2014/main" val="1952367488"/>
                  </a:ext>
                </a:extLst>
              </a:tr>
              <a:tr h="502920">
                <a:tc>
                  <a:txBody>
                    <a:bodyPr/>
                    <a:lstStyle/>
                    <a:p>
                      <a:pPr algn="l" fontAlgn="b"/>
                      <a:r>
                        <a:rPr lang="en-US" sz="2400" b="0" i="0" u="none" strike="noStrike" dirty="0">
                          <a:solidFill>
                            <a:srgbClr val="000000"/>
                          </a:solidFill>
                          <a:effectLst/>
                          <a:latin typeface="Trebuchet MS" panose="020B0603020202020204" pitchFamily="34" charset="0"/>
                        </a:rPr>
                        <a:t>Housing Family</a:t>
                      </a:r>
                    </a:p>
                  </a:txBody>
                  <a:tcPr marL="0" marR="0" marT="0" marB="0" anchor="b">
                    <a:lnL>
                      <a:noFill/>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4,652</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dirty="0">
                          <a:solidFill>
                            <a:srgbClr val="000000"/>
                          </a:solidFill>
                          <a:effectLst/>
                          <a:latin typeface="Trebuchet MS" panose="020B0603020202020204" pitchFamily="34" charset="0"/>
                        </a:rPr>
                        <a:t>1,163</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91</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Calibri" panose="020F0502020204030204" pitchFamily="34" charset="0"/>
                        </a:rPr>
                        <a:t>8</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chemeClr val="accent1"/>
                    </a:solidFill>
                  </a:tcPr>
                </a:tc>
                <a:tc>
                  <a:txBody>
                    <a:bodyPr/>
                    <a:lstStyle/>
                    <a:p>
                      <a:pPr algn="r" fontAlgn="b"/>
                      <a:r>
                        <a:rPr lang="en-GB" sz="2400" b="0" i="0" u="none" strike="noStrike">
                          <a:solidFill>
                            <a:srgbClr val="000000"/>
                          </a:solidFill>
                          <a:effectLst/>
                          <a:latin typeface="Trebuchet MS" panose="020B0603020202020204" pitchFamily="34" charset="0"/>
                        </a:rPr>
                        <a:t>8,135</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2,034</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122</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Calibri" panose="020F0502020204030204" pitchFamily="34" charset="0"/>
                        </a:rPr>
                        <a:t>6</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chemeClr val="accent1"/>
                    </a:solidFill>
                  </a:tcPr>
                </a:tc>
                <a:extLst>
                  <a:ext uri="{0D108BD9-81ED-4DB2-BD59-A6C34878D82A}">
                    <a16:rowId xmlns:a16="http://schemas.microsoft.com/office/drawing/2014/main" val="3314307618"/>
                  </a:ext>
                </a:extLst>
              </a:tr>
              <a:tr h="502920">
                <a:tc>
                  <a:txBody>
                    <a:bodyPr/>
                    <a:lstStyle/>
                    <a:p>
                      <a:pPr algn="l" fontAlgn="b"/>
                      <a:r>
                        <a:rPr lang="en-US" sz="2400" b="0" i="0" u="none" strike="noStrike" dirty="0">
                          <a:solidFill>
                            <a:srgbClr val="000000"/>
                          </a:solidFill>
                          <a:effectLst/>
                          <a:latin typeface="Trebuchet MS" panose="020B0603020202020204" pitchFamily="34" charset="0"/>
                        </a:rPr>
                        <a:t>Transportation Family</a:t>
                      </a:r>
                    </a:p>
                  </a:txBody>
                  <a:tcPr marL="0" marR="0" marT="0" marB="0" anchor="b">
                    <a:lnL>
                      <a:noFill/>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14,291</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dirty="0">
                          <a:solidFill>
                            <a:srgbClr val="000000"/>
                          </a:solidFill>
                          <a:effectLst/>
                          <a:latin typeface="Trebuchet MS" panose="020B0603020202020204" pitchFamily="34" charset="0"/>
                        </a:rPr>
                        <a:t>3,573</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1,841</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Calibri" panose="020F0502020204030204" pitchFamily="34" charset="0"/>
                        </a:rPr>
                        <a:t>52</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chemeClr val="accent1"/>
                    </a:solidFill>
                  </a:tcPr>
                </a:tc>
                <a:tc>
                  <a:txBody>
                    <a:bodyPr/>
                    <a:lstStyle/>
                    <a:p>
                      <a:pPr algn="r" fontAlgn="b"/>
                      <a:r>
                        <a:rPr lang="en-GB" sz="2400" b="0" i="0" u="none" strike="noStrike">
                          <a:solidFill>
                            <a:srgbClr val="000000"/>
                          </a:solidFill>
                          <a:effectLst/>
                          <a:latin typeface="Trebuchet MS" panose="020B0603020202020204" pitchFamily="34" charset="0"/>
                        </a:rPr>
                        <a:t>72,930</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18,233</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2,164</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Calibri" panose="020F0502020204030204" pitchFamily="34" charset="0"/>
                        </a:rPr>
                        <a:t>12</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chemeClr val="accent1"/>
                    </a:solidFill>
                  </a:tcPr>
                </a:tc>
                <a:extLst>
                  <a:ext uri="{0D108BD9-81ED-4DB2-BD59-A6C34878D82A}">
                    <a16:rowId xmlns:a16="http://schemas.microsoft.com/office/drawing/2014/main" val="1755304447"/>
                  </a:ext>
                </a:extLst>
              </a:tr>
              <a:tr h="502920">
                <a:tc>
                  <a:txBody>
                    <a:bodyPr/>
                    <a:lstStyle/>
                    <a:p>
                      <a:pPr algn="l" fontAlgn="b"/>
                      <a:r>
                        <a:rPr lang="en-US" sz="2400" b="0" i="0" u="none" strike="noStrike" dirty="0">
                          <a:solidFill>
                            <a:srgbClr val="000000"/>
                          </a:solidFill>
                          <a:effectLst/>
                          <a:latin typeface="Trebuchet MS" panose="020B0603020202020204" pitchFamily="34" charset="0"/>
                        </a:rPr>
                        <a:t>Environment Family</a:t>
                      </a:r>
                    </a:p>
                  </a:txBody>
                  <a:tcPr marL="0" marR="0" marT="0" marB="0" anchor="b">
                    <a:lnL>
                      <a:noFill/>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3,647</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dirty="0">
                          <a:solidFill>
                            <a:srgbClr val="000000"/>
                          </a:solidFill>
                          <a:effectLst/>
                          <a:latin typeface="Trebuchet MS" panose="020B0603020202020204" pitchFamily="34" charset="0"/>
                        </a:rPr>
                        <a:t>912</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dirty="0">
                          <a:solidFill>
                            <a:srgbClr val="000000"/>
                          </a:solidFill>
                          <a:effectLst/>
                          <a:latin typeface="Trebuchet MS" panose="020B0603020202020204" pitchFamily="34" charset="0"/>
                        </a:rPr>
                        <a:t>416</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Calibri" panose="020F0502020204030204" pitchFamily="34" charset="0"/>
                        </a:rPr>
                        <a:t>46</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chemeClr val="accent1"/>
                    </a:solidFill>
                  </a:tcPr>
                </a:tc>
                <a:tc>
                  <a:txBody>
                    <a:bodyPr/>
                    <a:lstStyle/>
                    <a:p>
                      <a:pPr algn="r" fontAlgn="b"/>
                      <a:r>
                        <a:rPr lang="en-GB" sz="2400" b="0" i="0" u="none" strike="noStrike">
                          <a:solidFill>
                            <a:srgbClr val="000000"/>
                          </a:solidFill>
                          <a:effectLst/>
                          <a:latin typeface="Trebuchet MS" panose="020B0603020202020204" pitchFamily="34" charset="0"/>
                        </a:rPr>
                        <a:t>28,212</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7,053</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8,768</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rgbClr val="000000"/>
                          </a:solidFill>
                          <a:effectLst/>
                          <a:latin typeface="Calibri" panose="020F0502020204030204" pitchFamily="34" charset="0"/>
                        </a:rPr>
                        <a:t>124</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rgbClr val="92D050"/>
                    </a:solidFill>
                  </a:tcPr>
                </a:tc>
                <a:extLst>
                  <a:ext uri="{0D108BD9-81ED-4DB2-BD59-A6C34878D82A}">
                    <a16:rowId xmlns:a16="http://schemas.microsoft.com/office/drawing/2014/main" val="781927941"/>
                  </a:ext>
                </a:extLst>
              </a:tr>
              <a:tr h="502920">
                <a:tc>
                  <a:txBody>
                    <a:bodyPr/>
                    <a:lstStyle/>
                    <a:p>
                      <a:pPr algn="l" fontAlgn="b"/>
                      <a:r>
                        <a:rPr lang="en-US" sz="2400" b="0" i="0" u="none" strike="noStrike" dirty="0">
                          <a:solidFill>
                            <a:srgbClr val="000000"/>
                          </a:solidFill>
                          <a:effectLst/>
                          <a:latin typeface="Trebuchet MS" panose="020B0603020202020204" pitchFamily="34" charset="0"/>
                        </a:rPr>
                        <a:t>Works and Infrastructure Family</a:t>
                      </a:r>
                    </a:p>
                  </a:txBody>
                  <a:tcPr marL="0" marR="0" marT="0" marB="0" anchor="b">
                    <a:lnL>
                      <a:noFill/>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9,689</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2,422</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dirty="0">
                          <a:solidFill>
                            <a:srgbClr val="000000"/>
                          </a:solidFill>
                          <a:effectLst/>
                          <a:latin typeface="Trebuchet MS" panose="020B0603020202020204" pitchFamily="34" charset="0"/>
                        </a:rPr>
                        <a:t>386</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Calibri" panose="020F0502020204030204" pitchFamily="34" charset="0"/>
                        </a:rPr>
                        <a:t>16</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chemeClr val="accent1"/>
                    </a:solidFill>
                  </a:tcPr>
                </a:tc>
                <a:tc>
                  <a:txBody>
                    <a:bodyPr/>
                    <a:lstStyle/>
                    <a:p>
                      <a:pPr algn="r" fontAlgn="b"/>
                      <a:r>
                        <a:rPr lang="en-GB" sz="2400" b="0" i="0" u="none" strike="noStrike">
                          <a:solidFill>
                            <a:srgbClr val="000000"/>
                          </a:solidFill>
                          <a:effectLst/>
                          <a:latin typeface="Trebuchet MS" panose="020B0603020202020204" pitchFamily="34" charset="0"/>
                        </a:rPr>
                        <a:t>149,593</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37,398</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8,575</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Calibri" panose="020F0502020204030204" pitchFamily="34" charset="0"/>
                        </a:rPr>
                        <a:t>23</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chemeClr val="accent1"/>
                    </a:solidFill>
                  </a:tcPr>
                </a:tc>
                <a:extLst>
                  <a:ext uri="{0D108BD9-81ED-4DB2-BD59-A6C34878D82A}">
                    <a16:rowId xmlns:a16="http://schemas.microsoft.com/office/drawing/2014/main" val="3178743386"/>
                  </a:ext>
                </a:extLst>
              </a:tr>
              <a:tr h="502920">
                <a:tc>
                  <a:txBody>
                    <a:bodyPr/>
                    <a:lstStyle/>
                    <a:p>
                      <a:pPr algn="l" fontAlgn="b"/>
                      <a:r>
                        <a:rPr lang="en-US" sz="2400" b="0" i="0" u="none" strike="noStrike" dirty="0">
                          <a:solidFill>
                            <a:srgbClr val="000000"/>
                          </a:solidFill>
                          <a:effectLst/>
                          <a:latin typeface="Trebuchet MS" panose="020B0603020202020204" pitchFamily="34" charset="0"/>
                        </a:rPr>
                        <a:t>Energy Family</a:t>
                      </a:r>
                    </a:p>
                  </a:txBody>
                  <a:tcPr marL="0" marR="0" marT="0" marB="0" anchor="b">
                    <a:lnL>
                      <a:noFill/>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296</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74</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dirty="0">
                          <a:solidFill>
                            <a:srgbClr val="000000"/>
                          </a:solidFill>
                          <a:effectLst/>
                          <a:latin typeface="Trebuchet MS" panose="020B0603020202020204" pitchFamily="34" charset="0"/>
                        </a:rPr>
                        <a:t>14</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Calibri" panose="020F0502020204030204" pitchFamily="34" charset="0"/>
                        </a:rPr>
                        <a:t>18</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chemeClr val="accent1"/>
                    </a:solidFill>
                  </a:tcPr>
                </a:tc>
                <a:tc>
                  <a:txBody>
                    <a:bodyPr/>
                    <a:lstStyle/>
                    <a:p>
                      <a:pPr algn="r" fontAlgn="b"/>
                      <a:r>
                        <a:rPr lang="en-GB" sz="2400" b="0" i="0" u="none" strike="noStrike">
                          <a:solidFill>
                            <a:srgbClr val="000000"/>
                          </a:solidFill>
                          <a:effectLst/>
                          <a:latin typeface="Trebuchet MS" panose="020B0603020202020204" pitchFamily="34" charset="0"/>
                        </a:rPr>
                        <a:t>12,480</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3,120</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0</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Calibri" panose="020F0502020204030204" pitchFamily="34" charset="0"/>
                        </a:rPr>
                        <a:t>0</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chemeClr val="accent1"/>
                    </a:solidFill>
                  </a:tcPr>
                </a:tc>
                <a:extLst>
                  <a:ext uri="{0D108BD9-81ED-4DB2-BD59-A6C34878D82A}">
                    <a16:rowId xmlns:a16="http://schemas.microsoft.com/office/drawing/2014/main" val="891268033"/>
                  </a:ext>
                </a:extLst>
              </a:tr>
              <a:tr h="502920">
                <a:tc>
                  <a:txBody>
                    <a:bodyPr/>
                    <a:lstStyle/>
                    <a:p>
                      <a:pPr algn="l" fontAlgn="b"/>
                      <a:r>
                        <a:rPr lang="en-US" sz="2400" b="0" i="0" u="none" strike="noStrike" dirty="0">
                          <a:solidFill>
                            <a:srgbClr val="000000"/>
                          </a:solidFill>
                          <a:effectLst/>
                          <a:latin typeface="Trebuchet MS" panose="020B0603020202020204" pitchFamily="34" charset="0"/>
                        </a:rPr>
                        <a:t>Science &amp; Tech.</a:t>
                      </a:r>
                    </a:p>
                  </a:txBody>
                  <a:tcPr marL="0" marR="0" marT="0" marB="0" anchor="b">
                    <a:lnL>
                      <a:noFill/>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1,842</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460</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dirty="0">
                          <a:solidFill>
                            <a:srgbClr val="000000"/>
                          </a:solidFill>
                          <a:effectLst/>
                          <a:latin typeface="Trebuchet MS" panose="020B0603020202020204" pitchFamily="34" charset="0"/>
                        </a:rPr>
                        <a:t>0</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Calibri" panose="020F0502020204030204" pitchFamily="34" charset="0"/>
                        </a:rPr>
                        <a:t>0</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chemeClr val="accent1"/>
                    </a:solidFill>
                  </a:tcPr>
                </a:tc>
                <a:tc>
                  <a:txBody>
                    <a:bodyPr/>
                    <a:lstStyle/>
                    <a:p>
                      <a:pPr algn="r" fontAlgn="b"/>
                      <a:r>
                        <a:rPr lang="en-GB" sz="2400" b="0" i="0" u="none" strike="noStrike">
                          <a:solidFill>
                            <a:srgbClr val="000000"/>
                          </a:solidFill>
                          <a:effectLst/>
                          <a:latin typeface="Trebuchet MS" panose="020B0603020202020204" pitchFamily="34" charset="0"/>
                        </a:rPr>
                        <a:t>22,507</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5,627</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630</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Calibri" panose="020F0502020204030204" pitchFamily="34" charset="0"/>
                        </a:rPr>
                        <a:t>11</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chemeClr val="accent1"/>
                    </a:solidFill>
                  </a:tcPr>
                </a:tc>
                <a:extLst>
                  <a:ext uri="{0D108BD9-81ED-4DB2-BD59-A6C34878D82A}">
                    <a16:rowId xmlns:a16="http://schemas.microsoft.com/office/drawing/2014/main" val="3190095831"/>
                  </a:ext>
                </a:extLst>
              </a:tr>
              <a:tr h="502920">
                <a:tc>
                  <a:txBody>
                    <a:bodyPr/>
                    <a:lstStyle/>
                    <a:p>
                      <a:pPr algn="l" fontAlgn="b"/>
                      <a:r>
                        <a:rPr lang="en-US" sz="2400" b="0" i="0" u="none" strike="noStrike" dirty="0">
                          <a:solidFill>
                            <a:srgbClr val="000000"/>
                          </a:solidFill>
                          <a:effectLst/>
                          <a:latin typeface="Trebuchet MS" panose="020B0603020202020204" pitchFamily="34" charset="0"/>
                        </a:rPr>
                        <a:t>Governance</a:t>
                      </a:r>
                    </a:p>
                  </a:txBody>
                  <a:tcPr marL="0" marR="0" marT="0" marB="0" anchor="b">
                    <a:lnL>
                      <a:noFill/>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2,047</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512</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dirty="0">
                          <a:solidFill>
                            <a:srgbClr val="000000"/>
                          </a:solidFill>
                          <a:effectLst/>
                          <a:latin typeface="Trebuchet MS" panose="020B0603020202020204" pitchFamily="34" charset="0"/>
                        </a:rPr>
                        <a:t>15</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Calibri" panose="020F0502020204030204" pitchFamily="34" charset="0"/>
                        </a:rPr>
                        <a:t>3</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chemeClr val="accent1"/>
                    </a:solidFill>
                  </a:tcPr>
                </a:tc>
                <a:tc>
                  <a:txBody>
                    <a:bodyPr/>
                    <a:lstStyle/>
                    <a:p>
                      <a:pPr algn="r" fontAlgn="b"/>
                      <a:r>
                        <a:rPr lang="en-GB" sz="2400" b="0" i="0" u="none" strike="noStrike">
                          <a:solidFill>
                            <a:srgbClr val="000000"/>
                          </a:solidFill>
                          <a:effectLst/>
                          <a:latin typeface="Trebuchet MS" panose="020B0603020202020204" pitchFamily="34" charset="0"/>
                        </a:rPr>
                        <a:t>1,964</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491</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66</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Calibri" panose="020F0502020204030204" pitchFamily="34" charset="0"/>
                        </a:rPr>
                        <a:t>13</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chemeClr val="accent1"/>
                    </a:solidFill>
                  </a:tcPr>
                </a:tc>
                <a:extLst>
                  <a:ext uri="{0D108BD9-81ED-4DB2-BD59-A6C34878D82A}">
                    <a16:rowId xmlns:a16="http://schemas.microsoft.com/office/drawing/2014/main" val="563957454"/>
                  </a:ext>
                </a:extLst>
              </a:tr>
              <a:tr h="502920">
                <a:tc>
                  <a:txBody>
                    <a:bodyPr/>
                    <a:lstStyle/>
                    <a:p>
                      <a:pPr algn="l" fontAlgn="b"/>
                      <a:r>
                        <a:rPr lang="en-US" sz="2400" b="0" i="0" u="none" strike="noStrike" dirty="0">
                          <a:solidFill>
                            <a:srgbClr val="000000"/>
                          </a:solidFill>
                          <a:effectLst/>
                          <a:latin typeface="Trebuchet MS" panose="020B0603020202020204" pitchFamily="34" charset="0"/>
                        </a:rPr>
                        <a:t>Finance Family (Includes Investment Income, STO, DMO and Lotteries Board</a:t>
                      </a:r>
                    </a:p>
                  </a:txBody>
                  <a:tcPr marL="0" marR="0" marT="0" marB="0" anchor="b">
                    <a:lnL>
                      <a:noFill/>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21,761</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5,440</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dirty="0">
                          <a:solidFill>
                            <a:srgbClr val="000000"/>
                          </a:solidFill>
                          <a:effectLst/>
                          <a:latin typeface="Trebuchet MS" panose="020B0603020202020204" pitchFamily="34" charset="0"/>
                        </a:rPr>
                        <a:t>821</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Calibri" panose="020F0502020204030204" pitchFamily="34" charset="0"/>
                        </a:rPr>
                        <a:t>15</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chemeClr val="accent1"/>
                    </a:solidFill>
                  </a:tcPr>
                </a:tc>
                <a:tc>
                  <a:txBody>
                    <a:bodyPr/>
                    <a:lstStyle/>
                    <a:p>
                      <a:pPr algn="r" fontAlgn="b"/>
                      <a:r>
                        <a:rPr lang="en-GB" sz="2400" b="0" i="0" u="none" strike="noStrike" dirty="0">
                          <a:solidFill>
                            <a:srgbClr val="000000"/>
                          </a:solidFill>
                          <a:effectLst/>
                          <a:latin typeface="Trebuchet MS" panose="020B0603020202020204" pitchFamily="34" charset="0"/>
                        </a:rPr>
                        <a:t>3,459</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865</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501</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Calibri" panose="020F0502020204030204" pitchFamily="34" charset="0"/>
                        </a:rPr>
                        <a:t>58</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chemeClr val="accent1"/>
                    </a:solidFill>
                  </a:tcPr>
                </a:tc>
                <a:extLst>
                  <a:ext uri="{0D108BD9-81ED-4DB2-BD59-A6C34878D82A}">
                    <a16:rowId xmlns:a16="http://schemas.microsoft.com/office/drawing/2014/main" val="2373333797"/>
                  </a:ext>
                </a:extLst>
              </a:tr>
              <a:tr h="502920">
                <a:tc>
                  <a:txBody>
                    <a:bodyPr/>
                    <a:lstStyle/>
                    <a:p>
                      <a:pPr algn="l" fontAlgn="b"/>
                      <a:r>
                        <a:rPr lang="en-US" sz="2400" b="0" i="0" u="none" strike="noStrike" dirty="0">
                          <a:solidFill>
                            <a:srgbClr val="000000"/>
                          </a:solidFill>
                          <a:effectLst/>
                          <a:latin typeface="Trebuchet MS" panose="020B0603020202020204" pitchFamily="34" charset="0"/>
                        </a:rPr>
                        <a:t>Agriculture</a:t>
                      </a:r>
                    </a:p>
                  </a:txBody>
                  <a:tcPr marL="0" marR="0" marT="0" marB="0" anchor="b">
                    <a:lnL>
                      <a:noFill/>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5,385</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1,346</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dirty="0">
                          <a:solidFill>
                            <a:srgbClr val="000000"/>
                          </a:solidFill>
                          <a:effectLst/>
                          <a:latin typeface="Trebuchet MS" panose="020B0603020202020204" pitchFamily="34" charset="0"/>
                        </a:rPr>
                        <a:t>135</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Calibri" panose="020F0502020204030204" pitchFamily="34" charset="0"/>
                        </a:rPr>
                        <a:t>10</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chemeClr val="accent1"/>
                    </a:solidFill>
                  </a:tcPr>
                </a:tc>
                <a:tc>
                  <a:txBody>
                    <a:bodyPr/>
                    <a:lstStyle/>
                    <a:p>
                      <a:pPr algn="r" fontAlgn="b"/>
                      <a:r>
                        <a:rPr lang="en-GB" sz="2400" b="0" i="0" u="none" strike="noStrike" dirty="0">
                          <a:solidFill>
                            <a:srgbClr val="000000"/>
                          </a:solidFill>
                          <a:effectLst/>
                          <a:latin typeface="Trebuchet MS" panose="020B0603020202020204" pitchFamily="34" charset="0"/>
                        </a:rPr>
                        <a:t>10,151</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2,538</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185</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Calibri" panose="020F0502020204030204" pitchFamily="34" charset="0"/>
                        </a:rPr>
                        <a:t>7</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chemeClr val="accent1"/>
                    </a:solidFill>
                  </a:tcPr>
                </a:tc>
                <a:extLst>
                  <a:ext uri="{0D108BD9-81ED-4DB2-BD59-A6C34878D82A}">
                    <a16:rowId xmlns:a16="http://schemas.microsoft.com/office/drawing/2014/main" val="1672992832"/>
                  </a:ext>
                </a:extLst>
              </a:tr>
              <a:tr h="502920">
                <a:tc>
                  <a:txBody>
                    <a:bodyPr/>
                    <a:lstStyle/>
                    <a:p>
                      <a:pPr algn="l" fontAlgn="b"/>
                      <a:r>
                        <a:rPr lang="en-US" sz="2400" b="0" i="0" u="none" strike="noStrike" dirty="0">
                          <a:solidFill>
                            <a:srgbClr val="000000"/>
                          </a:solidFill>
                          <a:effectLst/>
                          <a:latin typeface="Trebuchet MS" panose="020B0603020202020204" pitchFamily="34" charset="0"/>
                        </a:rPr>
                        <a:t>CBD</a:t>
                      </a:r>
                    </a:p>
                  </a:txBody>
                  <a:tcPr marL="0" marR="0" marT="0" marB="0" anchor="b">
                    <a:lnL>
                      <a:noFill/>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6</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2</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dirty="0">
                          <a:solidFill>
                            <a:srgbClr val="000000"/>
                          </a:solidFill>
                          <a:effectLst/>
                          <a:latin typeface="Trebuchet MS" panose="020B0603020202020204" pitchFamily="34" charset="0"/>
                        </a:rPr>
                        <a:t>4</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rgbClr val="000000"/>
                          </a:solidFill>
                          <a:effectLst/>
                          <a:latin typeface="Calibri" panose="020F0502020204030204" pitchFamily="34" charset="0"/>
                        </a:rPr>
                        <a:t>243</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rgbClr val="92D050"/>
                    </a:solidFill>
                  </a:tcPr>
                </a:tc>
                <a:tc>
                  <a:txBody>
                    <a:bodyPr/>
                    <a:lstStyle/>
                    <a:p>
                      <a:pPr algn="r" fontAlgn="b"/>
                      <a:r>
                        <a:rPr lang="en-GB" sz="2400" b="0" i="0" u="none" strike="noStrike" dirty="0">
                          <a:solidFill>
                            <a:srgbClr val="000000"/>
                          </a:solidFill>
                          <a:effectLst/>
                          <a:latin typeface="Trebuchet MS" panose="020B0603020202020204" pitchFamily="34" charset="0"/>
                        </a:rPr>
                        <a:t>265</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66</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8</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Calibri" panose="020F0502020204030204" pitchFamily="34" charset="0"/>
                        </a:rPr>
                        <a:t>12</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chemeClr val="accent1"/>
                    </a:solidFill>
                  </a:tcPr>
                </a:tc>
                <a:extLst>
                  <a:ext uri="{0D108BD9-81ED-4DB2-BD59-A6C34878D82A}">
                    <a16:rowId xmlns:a16="http://schemas.microsoft.com/office/drawing/2014/main" val="1821105320"/>
                  </a:ext>
                </a:extLst>
              </a:tr>
              <a:tr h="502920">
                <a:tc>
                  <a:txBody>
                    <a:bodyPr/>
                    <a:lstStyle/>
                    <a:p>
                      <a:pPr algn="l" fontAlgn="b"/>
                      <a:r>
                        <a:rPr lang="en-US" sz="2400" b="0" i="0" u="none" strike="noStrike" dirty="0">
                          <a:solidFill>
                            <a:srgbClr val="000000"/>
                          </a:solidFill>
                          <a:effectLst/>
                          <a:latin typeface="Trebuchet MS" panose="020B0603020202020204" pitchFamily="34" charset="0"/>
                        </a:rPr>
                        <a:t>Education Family</a:t>
                      </a:r>
                    </a:p>
                  </a:txBody>
                  <a:tcPr marL="0" marR="0" marT="0" marB="0" anchor="b">
                    <a:lnL>
                      <a:noFill/>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1,939</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485</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dirty="0">
                          <a:solidFill>
                            <a:srgbClr val="000000"/>
                          </a:solidFill>
                          <a:effectLst/>
                          <a:latin typeface="Trebuchet MS" panose="020B0603020202020204" pitchFamily="34" charset="0"/>
                        </a:rPr>
                        <a:t>206</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Calibri" panose="020F0502020204030204" pitchFamily="34" charset="0"/>
                        </a:rPr>
                        <a:t>43</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chemeClr val="accent1"/>
                    </a:solidFill>
                  </a:tcPr>
                </a:tc>
                <a:tc>
                  <a:txBody>
                    <a:bodyPr/>
                    <a:lstStyle/>
                    <a:p>
                      <a:pPr algn="r" fontAlgn="b"/>
                      <a:r>
                        <a:rPr lang="en-GB" sz="2400" b="0" i="0" u="none" strike="noStrike" dirty="0">
                          <a:solidFill>
                            <a:srgbClr val="000000"/>
                          </a:solidFill>
                          <a:effectLst/>
                          <a:latin typeface="Trebuchet MS" panose="020B0603020202020204" pitchFamily="34" charset="0"/>
                        </a:rPr>
                        <a:t>43,290</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10,822</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6,918</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rgbClr val="000000"/>
                          </a:solidFill>
                          <a:effectLst/>
                          <a:latin typeface="Calibri" panose="020F0502020204030204" pitchFamily="34" charset="0"/>
                        </a:rPr>
                        <a:t>64</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rgbClr val="FFFF00"/>
                    </a:solidFill>
                  </a:tcPr>
                </a:tc>
                <a:extLst>
                  <a:ext uri="{0D108BD9-81ED-4DB2-BD59-A6C34878D82A}">
                    <a16:rowId xmlns:a16="http://schemas.microsoft.com/office/drawing/2014/main" val="369218528"/>
                  </a:ext>
                </a:extLst>
              </a:tr>
              <a:tr h="502920">
                <a:tc>
                  <a:txBody>
                    <a:bodyPr/>
                    <a:lstStyle/>
                    <a:p>
                      <a:pPr algn="l" fontAlgn="b"/>
                      <a:r>
                        <a:rPr lang="en-US" sz="2400" b="0" i="0" u="none" strike="noStrike" dirty="0">
                          <a:solidFill>
                            <a:srgbClr val="000000"/>
                          </a:solidFill>
                          <a:effectLst/>
                          <a:latin typeface="Trebuchet MS" panose="020B0603020202020204" pitchFamily="34" charset="0"/>
                        </a:rPr>
                        <a:t>LIRS</a:t>
                      </a:r>
                    </a:p>
                  </a:txBody>
                  <a:tcPr marL="0" marR="0" marT="0" marB="0" anchor="b">
                    <a:lnL>
                      <a:noFill/>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512,000</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128,000</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dirty="0">
                          <a:solidFill>
                            <a:srgbClr val="000000"/>
                          </a:solidFill>
                          <a:effectLst/>
                          <a:latin typeface="Trebuchet MS" panose="020B0603020202020204" pitchFamily="34" charset="0"/>
                        </a:rPr>
                        <a:t>68,875</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Calibri" panose="020F0502020204030204" pitchFamily="34" charset="0"/>
                        </a:rPr>
                        <a:t>54</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chemeClr val="accent1"/>
                    </a:solidFill>
                  </a:tcPr>
                </a:tc>
                <a:tc>
                  <a:txBody>
                    <a:bodyPr/>
                    <a:lstStyle/>
                    <a:p>
                      <a:pPr algn="r" fontAlgn="b"/>
                      <a:r>
                        <a:rPr lang="en-GB" sz="2400" b="0" i="0" u="none" strike="noStrike" dirty="0">
                          <a:solidFill>
                            <a:srgbClr val="000000"/>
                          </a:solidFill>
                          <a:effectLst/>
                          <a:latin typeface="Trebuchet MS" panose="020B0603020202020204" pitchFamily="34" charset="0"/>
                        </a:rPr>
                        <a:t>1,000</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250</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dirty="0">
                          <a:solidFill>
                            <a:srgbClr val="000000"/>
                          </a:solidFill>
                          <a:effectLst/>
                          <a:latin typeface="Trebuchet MS" panose="020B0603020202020204" pitchFamily="34" charset="0"/>
                        </a:rPr>
                        <a:t>0</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0" i="0" u="none" strike="noStrike" dirty="0">
                          <a:solidFill>
                            <a:schemeClr val="bg1"/>
                          </a:solidFill>
                          <a:effectLst/>
                          <a:latin typeface="Calibri" panose="020F0502020204030204" pitchFamily="34" charset="0"/>
                        </a:rPr>
                        <a:t>0</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chemeClr val="accent1"/>
                    </a:solidFill>
                  </a:tcPr>
                </a:tc>
                <a:extLst>
                  <a:ext uri="{0D108BD9-81ED-4DB2-BD59-A6C34878D82A}">
                    <a16:rowId xmlns:a16="http://schemas.microsoft.com/office/drawing/2014/main" val="2064973712"/>
                  </a:ext>
                </a:extLst>
              </a:tr>
            </a:tbl>
          </a:graphicData>
        </a:graphic>
      </p:graphicFrame>
    </p:spTree>
    <p:extLst>
      <p:ext uri="{BB962C8B-B14F-4D97-AF65-F5344CB8AC3E}">
        <p14:creationId xmlns:p14="http://schemas.microsoft.com/office/powerpoint/2010/main" val="4176742796"/>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5" name="Text Box 3"/>
          <p:cNvSpPr txBox="1"/>
          <p:nvPr/>
        </p:nvSpPr>
        <p:spPr>
          <a:xfrm>
            <a:off x="2247857" y="848982"/>
            <a:ext cx="18098812" cy="72327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8100" tIns="38100" rIns="38100" bIns="38100" anchor="ctr">
            <a:spAutoFit/>
          </a:bodyPr>
          <a:lstStyle/>
          <a:p>
            <a:pPr>
              <a:defRPr>
                <a:solidFill>
                  <a:schemeClr val="accent3"/>
                </a:solidFill>
                <a:latin typeface="Trebuchet MS"/>
                <a:ea typeface="Trebuchet MS"/>
                <a:cs typeface="Trebuchet MS"/>
                <a:sym typeface="Trebuchet MS"/>
              </a:defRPr>
            </a:pPr>
            <a:r>
              <a:rPr lang="fr-FR" dirty="0"/>
              <a:t>Cumulative (Q1 Y2021) Revenue &amp; Expenditure Performance (CONT’D)</a:t>
            </a:r>
          </a:p>
        </p:txBody>
      </p:sp>
      <p:graphicFrame>
        <p:nvGraphicFramePr>
          <p:cNvPr id="4" name="Table 3"/>
          <p:cNvGraphicFramePr>
            <a:graphicFrameLocks noGrp="1"/>
          </p:cNvGraphicFramePr>
          <p:nvPr>
            <p:extLst>
              <p:ext uri="{D42A27DB-BD31-4B8C-83A1-F6EECF244321}">
                <p14:modId xmlns:p14="http://schemas.microsoft.com/office/powerpoint/2010/main" val="1063652822"/>
              </p:ext>
            </p:extLst>
          </p:nvPr>
        </p:nvGraphicFramePr>
        <p:xfrm>
          <a:off x="940844" y="2595706"/>
          <a:ext cx="21892709" cy="10022205"/>
        </p:xfrm>
        <a:graphic>
          <a:graphicData uri="http://schemas.openxmlformats.org/drawingml/2006/table">
            <a:tbl>
              <a:tblPr/>
              <a:tblGrid>
                <a:gridCol w="4345480">
                  <a:extLst>
                    <a:ext uri="{9D8B030D-6E8A-4147-A177-3AD203B41FA5}">
                      <a16:colId xmlns:a16="http://schemas.microsoft.com/office/drawing/2014/main" val="605792573"/>
                    </a:ext>
                  </a:extLst>
                </a:gridCol>
                <a:gridCol w="2338056">
                  <a:extLst>
                    <a:ext uri="{9D8B030D-6E8A-4147-A177-3AD203B41FA5}">
                      <a16:colId xmlns:a16="http://schemas.microsoft.com/office/drawing/2014/main" val="204178325"/>
                    </a:ext>
                  </a:extLst>
                </a:gridCol>
                <a:gridCol w="2338056">
                  <a:extLst>
                    <a:ext uri="{9D8B030D-6E8A-4147-A177-3AD203B41FA5}">
                      <a16:colId xmlns:a16="http://schemas.microsoft.com/office/drawing/2014/main" val="3172314624"/>
                    </a:ext>
                  </a:extLst>
                </a:gridCol>
                <a:gridCol w="2338056">
                  <a:extLst>
                    <a:ext uri="{9D8B030D-6E8A-4147-A177-3AD203B41FA5}">
                      <a16:colId xmlns:a16="http://schemas.microsoft.com/office/drawing/2014/main" val="1364024166"/>
                    </a:ext>
                  </a:extLst>
                </a:gridCol>
                <a:gridCol w="1603143">
                  <a:extLst>
                    <a:ext uri="{9D8B030D-6E8A-4147-A177-3AD203B41FA5}">
                      <a16:colId xmlns:a16="http://schemas.microsoft.com/office/drawing/2014/main" val="596409949"/>
                    </a:ext>
                  </a:extLst>
                </a:gridCol>
                <a:gridCol w="2464530">
                  <a:extLst>
                    <a:ext uri="{9D8B030D-6E8A-4147-A177-3AD203B41FA5}">
                      <a16:colId xmlns:a16="http://schemas.microsoft.com/office/drawing/2014/main" val="3144061607"/>
                    </a:ext>
                  </a:extLst>
                </a:gridCol>
                <a:gridCol w="2592558">
                  <a:extLst>
                    <a:ext uri="{9D8B030D-6E8A-4147-A177-3AD203B41FA5}">
                      <a16:colId xmlns:a16="http://schemas.microsoft.com/office/drawing/2014/main" val="4123069469"/>
                    </a:ext>
                  </a:extLst>
                </a:gridCol>
                <a:gridCol w="2243276">
                  <a:extLst>
                    <a:ext uri="{9D8B030D-6E8A-4147-A177-3AD203B41FA5}">
                      <a16:colId xmlns:a16="http://schemas.microsoft.com/office/drawing/2014/main" val="431982021"/>
                    </a:ext>
                  </a:extLst>
                </a:gridCol>
                <a:gridCol w="1629554">
                  <a:extLst>
                    <a:ext uri="{9D8B030D-6E8A-4147-A177-3AD203B41FA5}">
                      <a16:colId xmlns:a16="http://schemas.microsoft.com/office/drawing/2014/main" val="67716788"/>
                    </a:ext>
                  </a:extLst>
                </a:gridCol>
              </a:tblGrid>
              <a:tr h="1108815">
                <a:tc>
                  <a:txBody>
                    <a:bodyPr/>
                    <a:lstStyle/>
                    <a:p>
                      <a:pPr algn="ctr" fontAlgn="b"/>
                      <a:r>
                        <a:rPr lang="en-GB" sz="2400" b="1" i="0" u="none" strike="noStrike" dirty="0">
                          <a:solidFill>
                            <a:srgbClr val="FFFFFF"/>
                          </a:solidFill>
                          <a:effectLst/>
                          <a:latin typeface="Trebuchet MS" panose="020B0603020202020204" pitchFamily="34" charset="0"/>
                        </a:rPr>
                        <a:t>MDAs</a:t>
                      </a:r>
                    </a:p>
                  </a:txBody>
                  <a:tcPr marL="9525" marR="9525" marT="9525" marB="0" anchor="b">
                    <a:lnL>
                      <a:noFill/>
                    </a:lnL>
                    <a:lnR w="12700" cap="flat" cmpd="sng" algn="ctr">
                      <a:solidFill>
                        <a:srgbClr val="FFFFFF"/>
                      </a:solidFill>
                      <a:prstDash val="dash"/>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ot"/>
                      <a:round/>
                      <a:headEnd type="none" w="med" len="med"/>
                      <a:tailEnd type="none" w="med" len="med"/>
                    </a:lnB>
                    <a:solidFill>
                      <a:srgbClr val="1A77B9"/>
                    </a:solidFill>
                  </a:tcPr>
                </a:tc>
                <a:tc>
                  <a:txBody>
                    <a:bodyPr/>
                    <a:lstStyle/>
                    <a:p>
                      <a:pPr algn="ctr" fontAlgn="b"/>
                      <a:r>
                        <a:rPr lang="en-US" sz="2400" b="1" i="0" u="none" strike="noStrike" dirty="0">
                          <a:solidFill>
                            <a:srgbClr val="FFFFFF"/>
                          </a:solidFill>
                          <a:effectLst/>
                          <a:latin typeface="Trebuchet MS" panose="020B0603020202020204" pitchFamily="34" charset="0"/>
                        </a:rPr>
                        <a:t>Y2021 Group </a:t>
                      </a:r>
                      <a:r>
                        <a:rPr lang="en-US" sz="2400" b="1" i="0" u="none" strike="noStrike" baseline="0" dirty="0">
                          <a:solidFill>
                            <a:srgbClr val="FFFFFF"/>
                          </a:solidFill>
                          <a:effectLst/>
                          <a:latin typeface="Trebuchet MS" panose="020B0603020202020204" pitchFamily="34" charset="0"/>
                        </a:rPr>
                        <a:t>Budget</a:t>
                      </a:r>
                      <a:r>
                        <a:rPr lang="en-US" sz="2400" b="1" i="0" u="none" strike="noStrike" dirty="0">
                          <a:solidFill>
                            <a:srgbClr val="FFFFFF"/>
                          </a:solidFill>
                          <a:effectLst/>
                          <a:latin typeface="Trebuchet MS" panose="020B0603020202020204" pitchFamily="34" charset="0"/>
                        </a:rPr>
                        <a:t> Revenue </a:t>
                      </a:r>
                    </a:p>
                    <a:p>
                      <a:pPr marL="0" marR="0" lvl="0" indent="0" algn="ctr" defTabSz="914400" eaLnBrk="1" fontAlgn="b" latinLnBrk="0" hangingPunct="1">
                        <a:lnSpc>
                          <a:spcPct val="100000"/>
                        </a:lnSpc>
                        <a:spcBef>
                          <a:spcPts val="0"/>
                        </a:spcBef>
                        <a:spcAft>
                          <a:spcPts val="0"/>
                        </a:spcAft>
                        <a:buClrTx/>
                        <a:buSzTx/>
                        <a:buFontTx/>
                        <a:buNone/>
                        <a:tabLst/>
                        <a:defRPr/>
                      </a:pPr>
                      <a:r>
                        <a:rPr lang="en-GB" sz="2400" b="1" i="0" u="none" strike="noStrike" dirty="0">
                          <a:solidFill>
                            <a:srgbClr val="FFFFFF"/>
                          </a:solidFill>
                          <a:effectLst/>
                          <a:latin typeface="Trebuchet MS" panose="020B0603020202020204" pitchFamily="34" charset="0"/>
                        </a:rPr>
                        <a:t>(₦’</a:t>
                      </a:r>
                      <a:r>
                        <a:rPr lang="en-GB" sz="2400" b="1" i="0" u="none" strike="noStrike" dirty="0" err="1">
                          <a:solidFill>
                            <a:srgbClr val="FFFFFF"/>
                          </a:solidFill>
                          <a:effectLst/>
                          <a:latin typeface="Trebuchet MS" panose="020B0603020202020204" pitchFamily="34" charset="0"/>
                        </a:rPr>
                        <a:t>mn</a:t>
                      </a:r>
                      <a:r>
                        <a:rPr lang="en-GB" sz="2400" b="1" i="0" u="none" strike="noStrike" dirty="0">
                          <a:solidFill>
                            <a:srgbClr val="FFFFFF"/>
                          </a:solidFill>
                          <a:effectLst/>
                          <a:latin typeface="Trebuchet MS" panose="020B0603020202020204" pitchFamily="34" charset="0"/>
                        </a:rPr>
                        <a:t>)</a:t>
                      </a:r>
                    </a:p>
                  </a:txBody>
                  <a:tcPr marL="9525" marR="9525" marT="9525" marB="0" anchor="b">
                    <a:lnL w="12700" cap="flat" cmpd="sng" algn="ctr">
                      <a:solidFill>
                        <a:srgbClr val="FFFFFF"/>
                      </a:solidFill>
                      <a:prstDash val="dash"/>
                      <a:round/>
                      <a:headEnd type="none" w="med" len="med"/>
                      <a:tailEnd type="none" w="med" len="med"/>
                    </a:lnL>
                    <a:lnR w="12700" cap="flat" cmpd="sng" algn="ctr">
                      <a:solidFill>
                        <a:srgbClr val="FFFFFF"/>
                      </a:solidFill>
                      <a:prstDash val="dash"/>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ot"/>
                      <a:round/>
                      <a:headEnd type="none" w="med" len="med"/>
                      <a:tailEnd type="none" w="med" len="med"/>
                    </a:lnB>
                    <a:solidFill>
                      <a:srgbClr val="1A77B9"/>
                    </a:solidFill>
                  </a:tcPr>
                </a:tc>
                <a:tc>
                  <a:txBody>
                    <a:bodyPr/>
                    <a:lstStyle/>
                    <a:p>
                      <a:pPr algn="ctr" fontAlgn="b"/>
                      <a:r>
                        <a:rPr lang="en-US" sz="2400" b="1" i="0" u="none" strike="noStrike" dirty="0">
                          <a:solidFill>
                            <a:srgbClr val="FFFFFF"/>
                          </a:solidFill>
                          <a:effectLst/>
                          <a:latin typeface="Trebuchet MS" panose="020B0603020202020204" pitchFamily="34" charset="0"/>
                        </a:rPr>
                        <a:t>Q1 MDA Budget</a:t>
                      </a:r>
                    </a:p>
                    <a:p>
                      <a:pPr algn="ctr" fontAlgn="b"/>
                      <a:r>
                        <a:rPr lang="en-US" sz="2400" b="1" i="0" u="none" strike="noStrike" dirty="0">
                          <a:solidFill>
                            <a:srgbClr val="FFFFFF"/>
                          </a:solidFill>
                          <a:effectLst/>
                          <a:latin typeface="Trebuchet MS" panose="020B0603020202020204" pitchFamily="34" charset="0"/>
                        </a:rPr>
                        <a:t>Revenue</a:t>
                      </a:r>
                    </a:p>
                    <a:p>
                      <a:pPr marL="0" marR="0" lvl="0" indent="0" algn="ctr" defTabSz="914400" eaLnBrk="1" fontAlgn="b" latinLnBrk="0" hangingPunct="1">
                        <a:lnSpc>
                          <a:spcPct val="100000"/>
                        </a:lnSpc>
                        <a:spcBef>
                          <a:spcPts val="0"/>
                        </a:spcBef>
                        <a:spcAft>
                          <a:spcPts val="0"/>
                        </a:spcAft>
                        <a:buClrTx/>
                        <a:buSzTx/>
                        <a:buFontTx/>
                        <a:buNone/>
                        <a:tabLst/>
                        <a:defRPr/>
                      </a:pPr>
                      <a:r>
                        <a:rPr lang="en-GB" sz="2400" b="1" i="0" u="none" strike="noStrike" dirty="0">
                          <a:solidFill>
                            <a:srgbClr val="FFFFFF"/>
                          </a:solidFill>
                          <a:effectLst/>
                          <a:latin typeface="Trebuchet MS" panose="020B0603020202020204" pitchFamily="34" charset="0"/>
                        </a:rPr>
                        <a:t>(₦’</a:t>
                      </a:r>
                      <a:r>
                        <a:rPr lang="en-GB" sz="2400" b="1" i="0" u="none" strike="noStrike" dirty="0" err="1">
                          <a:solidFill>
                            <a:srgbClr val="FFFFFF"/>
                          </a:solidFill>
                          <a:effectLst/>
                          <a:latin typeface="Trebuchet MS" panose="020B0603020202020204" pitchFamily="34" charset="0"/>
                        </a:rPr>
                        <a:t>mn</a:t>
                      </a:r>
                      <a:r>
                        <a:rPr lang="en-GB" sz="2400" b="1" i="0" u="none" strike="noStrike" dirty="0">
                          <a:solidFill>
                            <a:srgbClr val="FFFFFF"/>
                          </a:solidFill>
                          <a:effectLst/>
                          <a:latin typeface="Trebuchet MS" panose="020B0603020202020204" pitchFamily="34" charset="0"/>
                        </a:rPr>
                        <a:t>)</a:t>
                      </a:r>
                    </a:p>
                  </a:txBody>
                  <a:tcPr marL="9525" marR="9525" marT="9525" marB="0" anchor="b">
                    <a:lnL w="12700" cap="flat" cmpd="sng" algn="ctr">
                      <a:solidFill>
                        <a:srgbClr val="FFFFFF"/>
                      </a:solidFill>
                      <a:prstDash val="dash"/>
                      <a:round/>
                      <a:headEnd type="none" w="med" len="med"/>
                      <a:tailEnd type="none" w="med" len="med"/>
                    </a:lnL>
                    <a:lnR w="12700" cap="flat" cmpd="sng" algn="ctr">
                      <a:solidFill>
                        <a:srgbClr val="FFFFFF"/>
                      </a:solidFill>
                      <a:prstDash val="dash"/>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ot"/>
                      <a:round/>
                      <a:headEnd type="none" w="med" len="med"/>
                      <a:tailEnd type="none" w="med" len="med"/>
                    </a:lnB>
                    <a:solidFill>
                      <a:srgbClr val="1A77B9"/>
                    </a:solidFill>
                  </a:tcPr>
                </a:tc>
                <a:tc>
                  <a:txBody>
                    <a:bodyPr/>
                    <a:lstStyle/>
                    <a:p>
                      <a:pPr algn="ctr" fontAlgn="b"/>
                      <a:endParaRPr lang="en-US" sz="2400" b="1" i="0" u="none" strike="noStrike" dirty="0">
                        <a:solidFill>
                          <a:srgbClr val="FFFFFF"/>
                        </a:solidFill>
                        <a:effectLst/>
                        <a:latin typeface="Trebuchet MS" panose="020B0603020202020204" pitchFamily="34" charset="0"/>
                      </a:endParaRPr>
                    </a:p>
                    <a:p>
                      <a:pPr algn="ctr" fontAlgn="b"/>
                      <a:r>
                        <a:rPr lang="en-US" sz="2400" b="1" i="0" u="none" strike="noStrike" dirty="0">
                          <a:solidFill>
                            <a:srgbClr val="FFFFFF"/>
                          </a:solidFill>
                          <a:effectLst/>
                          <a:latin typeface="Trebuchet MS" panose="020B0603020202020204" pitchFamily="34" charset="0"/>
                        </a:rPr>
                        <a:t>Q1 MDA Actual</a:t>
                      </a:r>
                    </a:p>
                    <a:p>
                      <a:pPr algn="ctr" fontAlgn="b"/>
                      <a:r>
                        <a:rPr lang="en-US" sz="2400" b="1" i="0" u="none" strike="noStrike" dirty="0">
                          <a:solidFill>
                            <a:srgbClr val="FFFFFF"/>
                          </a:solidFill>
                          <a:effectLst/>
                          <a:latin typeface="Trebuchet MS" panose="020B0603020202020204" pitchFamily="34" charset="0"/>
                        </a:rPr>
                        <a:t>Revenue</a:t>
                      </a:r>
                    </a:p>
                    <a:p>
                      <a:pPr marL="0" marR="0" lvl="0" indent="0" algn="ctr" defTabSz="914400" eaLnBrk="1" fontAlgn="b" latinLnBrk="0" hangingPunct="1">
                        <a:lnSpc>
                          <a:spcPct val="100000"/>
                        </a:lnSpc>
                        <a:spcBef>
                          <a:spcPts val="0"/>
                        </a:spcBef>
                        <a:spcAft>
                          <a:spcPts val="0"/>
                        </a:spcAft>
                        <a:buClrTx/>
                        <a:buSzTx/>
                        <a:buFontTx/>
                        <a:buNone/>
                        <a:tabLst/>
                        <a:defRPr/>
                      </a:pPr>
                      <a:r>
                        <a:rPr lang="en-GB" sz="2400" b="1" i="0" u="none" strike="noStrike" dirty="0">
                          <a:solidFill>
                            <a:srgbClr val="FFFFFF"/>
                          </a:solidFill>
                          <a:effectLst/>
                          <a:latin typeface="Trebuchet MS" panose="020B0603020202020204" pitchFamily="34" charset="0"/>
                        </a:rPr>
                        <a:t>(₦’</a:t>
                      </a:r>
                      <a:r>
                        <a:rPr lang="en-GB" sz="2400" b="1" i="0" u="none" strike="noStrike" dirty="0" err="1">
                          <a:solidFill>
                            <a:srgbClr val="FFFFFF"/>
                          </a:solidFill>
                          <a:effectLst/>
                          <a:latin typeface="Trebuchet MS" panose="020B0603020202020204" pitchFamily="34" charset="0"/>
                        </a:rPr>
                        <a:t>mn</a:t>
                      </a:r>
                      <a:r>
                        <a:rPr lang="en-GB" sz="2400" b="1" i="0" u="none" strike="noStrike" dirty="0">
                          <a:solidFill>
                            <a:srgbClr val="FFFFFF"/>
                          </a:solidFill>
                          <a:effectLst/>
                          <a:latin typeface="Trebuchet MS" panose="020B0603020202020204" pitchFamily="34" charset="0"/>
                        </a:rPr>
                        <a:t>)</a:t>
                      </a:r>
                    </a:p>
                  </a:txBody>
                  <a:tcPr marL="9525" marR="9525" marT="9525" marB="0" anchor="b">
                    <a:lnL w="12700" cap="flat" cmpd="sng" algn="ctr">
                      <a:solidFill>
                        <a:srgbClr val="FFFFFF"/>
                      </a:solidFill>
                      <a:prstDash val="dash"/>
                      <a:round/>
                      <a:headEnd type="none" w="med" len="med"/>
                      <a:tailEnd type="none" w="med" len="med"/>
                    </a:lnL>
                    <a:lnR w="12700" cap="flat" cmpd="sng" algn="ctr">
                      <a:solidFill>
                        <a:srgbClr val="FFFFFF"/>
                      </a:solidFill>
                      <a:prstDash val="dash"/>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ot"/>
                      <a:round/>
                      <a:headEnd type="none" w="med" len="med"/>
                      <a:tailEnd type="none" w="med" len="med"/>
                    </a:lnB>
                    <a:solidFill>
                      <a:srgbClr val="1A77B9"/>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GB" sz="2400" b="1" i="0" u="none" strike="noStrike" dirty="0">
                          <a:solidFill>
                            <a:srgbClr val="FFFFFF"/>
                          </a:solidFill>
                          <a:effectLst/>
                          <a:latin typeface="Trebuchet MS" panose="020B0603020202020204" pitchFamily="34" charset="0"/>
                        </a:rPr>
                        <a:t>PERF. </a:t>
                      </a:r>
                      <a:br>
                        <a:rPr lang="en-GB" sz="2400" b="1" i="0" u="none" strike="noStrike" dirty="0">
                          <a:solidFill>
                            <a:srgbClr val="FFFFFF"/>
                          </a:solidFill>
                          <a:effectLst/>
                          <a:latin typeface="Trebuchet MS" panose="020B0603020202020204" pitchFamily="34" charset="0"/>
                        </a:rPr>
                      </a:br>
                      <a:r>
                        <a:rPr lang="en-GB" sz="2400" b="1" i="0" u="none" strike="noStrike" dirty="0">
                          <a:solidFill>
                            <a:srgbClr val="FFFFFF"/>
                          </a:solidFill>
                          <a:effectLst/>
                          <a:latin typeface="Trebuchet MS" panose="020B0603020202020204" pitchFamily="34" charset="0"/>
                        </a:rPr>
                        <a:t>(%)</a:t>
                      </a:r>
                    </a:p>
                  </a:txBody>
                  <a:tcPr marL="9525" marR="9525" marT="9525" marB="0" anchor="b">
                    <a:lnL w="12700" cap="flat" cmpd="sng" algn="ctr">
                      <a:solidFill>
                        <a:srgbClr val="FFFFFF"/>
                      </a:solidFill>
                      <a:prstDash val="dash"/>
                      <a:round/>
                      <a:headEnd type="none" w="med" len="med"/>
                      <a:tailEnd type="none" w="med" len="med"/>
                    </a:lnL>
                    <a:lnR w="12700" cap="flat" cmpd="sng" algn="ctr">
                      <a:solidFill>
                        <a:srgbClr val="FFFFFF"/>
                      </a:solidFill>
                      <a:prstDash val="dash"/>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ot"/>
                      <a:round/>
                      <a:headEnd type="none" w="med" len="med"/>
                      <a:tailEnd type="none" w="med" len="med"/>
                    </a:lnB>
                    <a:solidFill>
                      <a:srgbClr val="1A77B9"/>
                    </a:solidFill>
                  </a:tcPr>
                </a:tc>
                <a:tc>
                  <a:txBody>
                    <a:bodyPr/>
                    <a:lstStyle/>
                    <a:p>
                      <a:pPr algn="ctr" fontAlgn="b"/>
                      <a:r>
                        <a:rPr lang="en-US" sz="2400" b="1" i="0" u="none" strike="noStrike" dirty="0">
                          <a:solidFill>
                            <a:srgbClr val="FFFFFF"/>
                          </a:solidFill>
                          <a:effectLst/>
                          <a:latin typeface="Trebuchet MS" panose="020B0603020202020204" pitchFamily="34" charset="0"/>
                        </a:rPr>
                        <a:t>Y2021 Group</a:t>
                      </a:r>
                      <a:r>
                        <a:rPr lang="en-US" sz="2400" b="1" i="0" u="none" strike="noStrike" baseline="0" dirty="0">
                          <a:solidFill>
                            <a:srgbClr val="FFFFFF"/>
                          </a:solidFill>
                          <a:effectLst/>
                          <a:latin typeface="Trebuchet MS" panose="020B0603020202020204" pitchFamily="34" charset="0"/>
                        </a:rPr>
                        <a:t> Budget</a:t>
                      </a:r>
                      <a:r>
                        <a:rPr lang="en-US" sz="2400" b="1" i="0" u="none" strike="noStrike" dirty="0">
                          <a:solidFill>
                            <a:srgbClr val="FFFFFF"/>
                          </a:solidFill>
                          <a:effectLst/>
                          <a:latin typeface="Trebuchet MS" panose="020B0603020202020204" pitchFamily="34" charset="0"/>
                        </a:rPr>
                        <a:t> </a:t>
                      </a:r>
                    </a:p>
                    <a:p>
                      <a:pPr algn="ctr" fontAlgn="b"/>
                      <a:r>
                        <a:rPr lang="en-US" sz="2400" b="1" i="0" u="none" strike="noStrike" dirty="0">
                          <a:solidFill>
                            <a:srgbClr val="FFFFFF"/>
                          </a:solidFill>
                          <a:effectLst/>
                          <a:latin typeface="Trebuchet MS" panose="020B0603020202020204" pitchFamily="34" charset="0"/>
                        </a:rPr>
                        <a:t>Capex</a:t>
                      </a:r>
                    </a:p>
                    <a:p>
                      <a:pPr marL="0" marR="0" lvl="0" indent="0" algn="ctr" defTabSz="914400" eaLnBrk="1" fontAlgn="b" latinLnBrk="0" hangingPunct="1">
                        <a:lnSpc>
                          <a:spcPct val="100000"/>
                        </a:lnSpc>
                        <a:spcBef>
                          <a:spcPts val="0"/>
                        </a:spcBef>
                        <a:spcAft>
                          <a:spcPts val="0"/>
                        </a:spcAft>
                        <a:buClrTx/>
                        <a:buSzTx/>
                        <a:buFontTx/>
                        <a:buNone/>
                        <a:tabLst/>
                        <a:defRPr/>
                      </a:pPr>
                      <a:r>
                        <a:rPr lang="en-GB" sz="2400" b="1" i="0" u="none" strike="noStrike" dirty="0">
                          <a:solidFill>
                            <a:srgbClr val="FFFFFF"/>
                          </a:solidFill>
                          <a:effectLst/>
                          <a:latin typeface="Trebuchet MS" panose="020B0603020202020204" pitchFamily="34" charset="0"/>
                        </a:rPr>
                        <a:t>(₦’</a:t>
                      </a:r>
                      <a:r>
                        <a:rPr lang="en-GB" sz="2400" b="1" i="0" u="none" strike="noStrike" dirty="0" err="1">
                          <a:solidFill>
                            <a:srgbClr val="FFFFFF"/>
                          </a:solidFill>
                          <a:effectLst/>
                          <a:latin typeface="Trebuchet MS" panose="020B0603020202020204" pitchFamily="34" charset="0"/>
                        </a:rPr>
                        <a:t>mn</a:t>
                      </a:r>
                      <a:r>
                        <a:rPr lang="en-GB" sz="2400" b="1" i="0" u="none" strike="noStrike" dirty="0">
                          <a:solidFill>
                            <a:srgbClr val="FFFFFF"/>
                          </a:solidFill>
                          <a:effectLst/>
                          <a:latin typeface="Trebuchet MS" panose="020B0603020202020204" pitchFamily="34" charset="0"/>
                        </a:rPr>
                        <a:t>)</a:t>
                      </a:r>
                    </a:p>
                  </a:txBody>
                  <a:tcPr marL="9525" marR="9525" marT="9525" marB="0" anchor="b">
                    <a:lnL w="12700" cap="flat" cmpd="sng" algn="ctr">
                      <a:solidFill>
                        <a:srgbClr val="FFFFFF"/>
                      </a:solidFill>
                      <a:prstDash val="dash"/>
                      <a:round/>
                      <a:headEnd type="none" w="med" len="med"/>
                      <a:tailEnd type="none" w="med" len="med"/>
                    </a:lnL>
                    <a:lnR w="12700" cap="flat" cmpd="sng" algn="ctr">
                      <a:solidFill>
                        <a:srgbClr val="FFFFFF"/>
                      </a:solidFill>
                      <a:prstDash val="dash"/>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ot"/>
                      <a:round/>
                      <a:headEnd type="none" w="med" len="med"/>
                      <a:tailEnd type="none" w="med" len="med"/>
                    </a:lnB>
                    <a:solidFill>
                      <a:srgbClr val="1A77B9"/>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GB" sz="2400" b="1" i="0" u="none" strike="noStrike" dirty="0">
                          <a:solidFill>
                            <a:srgbClr val="FFFFFF"/>
                          </a:solidFill>
                          <a:effectLst/>
                          <a:latin typeface="Trebuchet MS" panose="020B0603020202020204" pitchFamily="34" charset="0"/>
                        </a:rPr>
                        <a:t>Q1 MDA</a:t>
                      </a:r>
                      <a:r>
                        <a:rPr lang="en-GB" sz="2400" b="1" i="0" u="none" strike="noStrike" baseline="0" dirty="0">
                          <a:solidFill>
                            <a:srgbClr val="FFFFFF"/>
                          </a:solidFill>
                          <a:effectLst/>
                          <a:latin typeface="Trebuchet MS" panose="020B0603020202020204" pitchFamily="34" charset="0"/>
                        </a:rPr>
                        <a:t> </a:t>
                      </a:r>
                    </a:p>
                    <a:p>
                      <a:pPr marL="0" marR="0" lvl="0" indent="0" algn="ctr" defTabSz="914400" eaLnBrk="1" fontAlgn="b" latinLnBrk="0" hangingPunct="1">
                        <a:lnSpc>
                          <a:spcPct val="100000"/>
                        </a:lnSpc>
                        <a:spcBef>
                          <a:spcPts val="0"/>
                        </a:spcBef>
                        <a:spcAft>
                          <a:spcPts val="0"/>
                        </a:spcAft>
                        <a:buClrTx/>
                        <a:buSzTx/>
                        <a:buFontTx/>
                        <a:buNone/>
                        <a:tabLst/>
                        <a:defRPr/>
                      </a:pPr>
                      <a:r>
                        <a:rPr lang="en-GB" sz="2400" b="1" i="0" u="none" strike="noStrike" dirty="0">
                          <a:solidFill>
                            <a:srgbClr val="FFFFFF"/>
                          </a:solidFill>
                          <a:effectLst/>
                          <a:latin typeface="Trebuchet MS" panose="020B0603020202020204" pitchFamily="34" charset="0"/>
                        </a:rPr>
                        <a:t>Budget</a:t>
                      </a:r>
                      <a:br>
                        <a:rPr lang="en-GB" sz="2400" b="1" i="0" u="none" strike="noStrike" dirty="0">
                          <a:solidFill>
                            <a:srgbClr val="FFFFFF"/>
                          </a:solidFill>
                          <a:effectLst/>
                          <a:latin typeface="Trebuchet MS" panose="020B0603020202020204" pitchFamily="34" charset="0"/>
                        </a:rPr>
                      </a:br>
                      <a:r>
                        <a:rPr lang="en-GB" sz="2400" b="1" i="0" u="none" strike="noStrike" dirty="0">
                          <a:solidFill>
                            <a:srgbClr val="FFFFFF"/>
                          </a:solidFill>
                          <a:effectLst/>
                          <a:latin typeface="Trebuchet MS" panose="020B0603020202020204" pitchFamily="34" charset="0"/>
                        </a:rPr>
                        <a:t>Capex</a:t>
                      </a:r>
                      <a:br>
                        <a:rPr lang="en-GB" sz="2400" b="1" i="0" u="none" strike="noStrike" dirty="0">
                          <a:solidFill>
                            <a:srgbClr val="FFFFFF"/>
                          </a:solidFill>
                          <a:effectLst/>
                          <a:latin typeface="Trebuchet MS" panose="020B0603020202020204" pitchFamily="34" charset="0"/>
                        </a:rPr>
                      </a:br>
                      <a:r>
                        <a:rPr lang="en-GB" sz="2400" b="1" i="0" u="none" strike="noStrike" dirty="0">
                          <a:solidFill>
                            <a:srgbClr val="FFFFFF"/>
                          </a:solidFill>
                          <a:effectLst/>
                          <a:latin typeface="Trebuchet MS" panose="020B0603020202020204" pitchFamily="34" charset="0"/>
                        </a:rPr>
                        <a:t>(₦’</a:t>
                      </a:r>
                      <a:r>
                        <a:rPr lang="en-GB" sz="2400" b="1" i="0" u="none" strike="noStrike" dirty="0" err="1">
                          <a:solidFill>
                            <a:srgbClr val="FFFFFF"/>
                          </a:solidFill>
                          <a:effectLst/>
                          <a:latin typeface="Trebuchet MS" panose="020B0603020202020204" pitchFamily="34" charset="0"/>
                        </a:rPr>
                        <a:t>mn</a:t>
                      </a:r>
                      <a:r>
                        <a:rPr lang="en-GB" sz="2400" b="1" i="0" u="none" strike="noStrike" dirty="0">
                          <a:solidFill>
                            <a:srgbClr val="FFFFFF"/>
                          </a:solidFill>
                          <a:effectLst/>
                          <a:latin typeface="Trebuchet MS" panose="020B0603020202020204" pitchFamily="34" charset="0"/>
                        </a:rPr>
                        <a:t>)</a:t>
                      </a:r>
                    </a:p>
                  </a:txBody>
                  <a:tcPr marL="9525" marR="9525" marT="9525" marB="0" anchor="b">
                    <a:lnL w="12700" cap="flat" cmpd="sng" algn="ctr">
                      <a:solidFill>
                        <a:srgbClr val="FFFFFF"/>
                      </a:solidFill>
                      <a:prstDash val="dash"/>
                      <a:round/>
                      <a:headEnd type="none" w="med" len="med"/>
                      <a:tailEnd type="none" w="med" len="med"/>
                    </a:lnL>
                    <a:lnR w="12700" cap="flat" cmpd="sng" algn="ctr">
                      <a:solidFill>
                        <a:srgbClr val="FFFFFF"/>
                      </a:solidFill>
                      <a:prstDash val="dash"/>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ot"/>
                      <a:round/>
                      <a:headEnd type="none" w="med" len="med"/>
                      <a:tailEnd type="none" w="med" len="med"/>
                    </a:lnB>
                    <a:solidFill>
                      <a:srgbClr val="1A77B9"/>
                    </a:solidFill>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lang="en-GB" sz="2400" b="1" i="0" u="none" strike="noStrike" dirty="0">
                          <a:solidFill>
                            <a:srgbClr val="FFFFFF"/>
                          </a:solidFill>
                          <a:effectLst/>
                          <a:latin typeface="Trebuchet MS" panose="020B0603020202020204" pitchFamily="34" charset="0"/>
                        </a:rPr>
                        <a:t>Q1 MDA Actual</a:t>
                      </a:r>
                      <a:br>
                        <a:rPr lang="en-GB" sz="2400" b="1" i="0" u="none" strike="noStrike" dirty="0">
                          <a:solidFill>
                            <a:srgbClr val="FFFFFF"/>
                          </a:solidFill>
                          <a:effectLst/>
                          <a:latin typeface="Trebuchet MS" panose="020B0603020202020204" pitchFamily="34" charset="0"/>
                        </a:rPr>
                      </a:br>
                      <a:r>
                        <a:rPr lang="en-GB" sz="2400" b="1" i="0" u="none" strike="noStrike" dirty="0">
                          <a:solidFill>
                            <a:srgbClr val="FFFFFF"/>
                          </a:solidFill>
                          <a:effectLst/>
                          <a:latin typeface="Trebuchet MS" panose="020B0603020202020204" pitchFamily="34" charset="0"/>
                        </a:rPr>
                        <a:t>Capex</a:t>
                      </a:r>
                      <a:br>
                        <a:rPr lang="en-GB" sz="2400" b="1" i="0" u="none" strike="noStrike" dirty="0">
                          <a:solidFill>
                            <a:srgbClr val="FFFFFF"/>
                          </a:solidFill>
                          <a:effectLst/>
                          <a:latin typeface="Trebuchet MS" panose="020B0603020202020204" pitchFamily="34" charset="0"/>
                        </a:rPr>
                      </a:br>
                      <a:r>
                        <a:rPr lang="en-GB" sz="2400" b="1" i="0" u="none" strike="noStrike" dirty="0">
                          <a:solidFill>
                            <a:srgbClr val="FFFFFF"/>
                          </a:solidFill>
                          <a:effectLst/>
                          <a:latin typeface="Trebuchet MS" panose="020B0603020202020204" pitchFamily="34" charset="0"/>
                        </a:rPr>
                        <a:t>(₦’</a:t>
                      </a:r>
                      <a:r>
                        <a:rPr lang="en-GB" sz="2400" b="1" i="0" u="none" strike="noStrike" dirty="0" err="1">
                          <a:solidFill>
                            <a:srgbClr val="FFFFFF"/>
                          </a:solidFill>
                          <a:effectLst/>
                          <a:latin typeface="Trebuchet MS" panose="020B0603020202020204" pitchFamily="34" charset="0"/>
                        </a:rPr>
                        <a:t>mn</a:t>
                      </a:r>
                      <a:r>
                        <a:rPr lang="en-GB" sz="2400" b="1" i="0" u="none" strike="noStrike" dirty="0">
                          <a:solidFill>
                            <a:srgbClr val="FFFFFF"/>
                          </a:solidFill>
                          <a:effectLst/>
                          <a:latin typeface="Trebuchet MS" panose="020B0603020202020204" pitchFamily="34" charset="0"/>
                        </a:rPr>
                        <a:t>)</a:t>
                      </a:r>
                    </a:p>
                  </a:txBody>
                  <a:tcPr marL="9525" marR="9525" marT="9525" marB="0" anchor="b">
                    <a:lnL w="12700" cap="flat" cmpd="sng" algn="ctr">
                      <a:solidFill>
                        <a:srgbClr val="FFFFFF"/>
                      </a:solidFill>
                      <a:prstDash val="dash"/>
                      <a:round/>
                      <a:headEnd type="none" w="med" len="med"/>
                      <a:tailEnd type="none" w="med" len="med"/>
                    </a:lnL>
                    <a:lnR w="12700" cap="flat" cmpd="sng" algn="ctr">
                      <a:solidFill>
                        <a:srgbClr val="FFFFFF"/>
                      </a:solidFill>
                      <a:prstDash val="dash"/>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ot"/>
                      <a:round/>
                      <a:headEnd type="none" w="med" len="med"/>
                      <a:tailEnd type="none" w="med" len="med"/>
                    </a:lnB>
                    <a:solidFill>
                      <a:srgbClr val="1A77B9"/>
                    </a:solidFill>
                  </a:tcPr>
                </a:tc>
                <a:tc>
                  <a:txBody>
                    <a:bodyPr/>
                    <a:lstStyle/>
                    <a:p>
                      <a:pPr algn="ctr" fontAlgn="b"/>
                      <a:r>
                        <a:rPr lang="en-GB" sz="2400" b="1" i="0" u="none" strike="noStrike" dirty="0">
                          <a:solidFill>
                            <a:srgbClr val="FFFFFF"/>
                          </a:solidFill>
                          <a:effectLst/>
                          <a:latin typeface="Trebuchet MS" panose="020B0603020202020204" pitchFamily="34" charset="0"/>
                        </a:rPr>
                        <a:t>PERF </a:t>
                      </a:r>
                      <a:br>
                        <a:rPr lang="en-GB" sz="2400" b="1" i="0" u="none" strike="noStrike" dirty="0">
                          <a:solidFill>
                            <a:srgbClr val="FFFFFF"/>
                          </a:solidFill>
                          <a:effectLst/>
                          <a:latin typeface="Trebuchet MS" panose="020B0603020202020204" pitchFamily="34" charset="0"/>
                        </a:rPr>
                      </a:br>
                      <a:r>
                        <a:rPr lang="en-GB" sz="2400" b="1" i="0" u="none" strike="noStrike" dirty="0">
                          <a:solidFill>
                            <a:srgbClr val="FFFFFF"/>
                          </a:solidFill>
                          <a:effectLst/>
                          <a:latin typeface="Trebuchet MS" panose="020B0603020202020204" pitchFamily="34" charset="0"/>
                        </a:rPr>
                        <a:t>(%)</a:t>
                      </a:r>
                    </a:p>
                  </a:txBody>
                  <a:tcPr marL="9525" marR="9525" marT="9525" marB="0" anchor="b">
                    <a:lnL w="12700" cap="flat" cmpd="sng" algn="ctr">
                      <a:solidFill>
                        <a:srgbClr val="FFFFFF"/>
                      </a:solidFill>
                      <a:prstDash val="dash"/>
                      <a:round/>
                      <a:headEnd type="none" w="med" len="med"/>
                      <a:tailEnd type="none" w="med" len="med"/>
                    </a:lnL>
                    <a:lnR w="6350" cap="flat" cmpd="sng" algn="ctr">
                      <a:solidFill>
                        <a:srgbClr val="A6A6A6"/>
                      </a:solidFill>
                      <a:prstDash val="dot"/>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ot"/>
                      <a:round/>
                      <a:headEnd type="none" w="med" len="med"/>
                      <a:tailEnd type="none" w="med" len="med"/>
                    </a:lnB>
                    <a:solidFill>
                      <a:srgbClr val="1A77B9"/>
                    </a:solidFill>
                  </a:tcPr>
                </a:tc>
                <a:extLst>
                  <a:ext uri="{0D108BD9-81ED-4DB2-BD59-A6C34878D82A}">
                    <a16:rowId xmlns:a16="http://schemas.microsoft.com/office/drawing/2014/main" val="3598845676"/>
                  </a:ext>
                </a:extLst>
              </a:tr>
              <a:tr h="502920">
                <a:tc>
                  <a:txBody>
                    <a:bodyPr/>
                    <a:lstStyle/>
                    <a:p>
                      <a:pPr algn="l" fontAlgn="b"/>
                      <a:r>
                        <a:rPr lang="en-US" sz="2400" b="0" i="0" u="none" strike="noStrike" dirty="0">
                          <a:solidFill>
                            <a:srgbClr val="000000"/>
                          </a:solidFill>
                          <a:effectLst/>
                          <a:latin typeface="Trebuchet MS" panose="020B0603020202020204" pitchFamily="34" charset="0"/>
                        </a:rPr>
                        <a:t>Waterfront Infrastructure</a:t>
                      </a:r>
                    </a:p>
                  </a:txBody>
                  <a:tcPr marL="0" marR="0" marT="0" marB="0" anchor="b">
                    <a:lnL>
                      <a:noFill/>
                    </a:lnL>
                    <a:lnR w="6350" cap="flat" cmpd="sng" algn="ctr">
                      <a:solidFill>
                        <a:srgbClr val="A6A6A6"/>
                      </a:solidFill>
                      <a:prstDash val="dash"/>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8,050</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2,013</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243</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Trebuchet MS" panose="020B0603020202020204" pitchFamily="34" charset="0"/>
                        </a:rPr>
                        <a:t>12</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ash"/>
                      <a:round/>
                      <a:headEnd type="none" w="med" len="med"/>
                      <a:tailEnd type="none" w="med" len="med"/>
                    </a:lnB>
                    <a:solidFill>
                      <a:schemeClr val="accent1"/>
                    </a:solidFill>
                  </a:tcPr>
                </a:tc>
                <a:tc>
                  <a:txBody>
                    <a:bodyPr/>
                    <a:lstStyle/>
                    <a:p>
                      <a:pPr algn="r" fontAlgn="b"/>
                      <a:r>
                        <a:rPr lang="en-GB" sz="2400" b="0" i="0" u="none" strike="noStrike">
                          <a:solidFill>
                            <a:srgbClr val="000000"/>
                          </a:solidFill>
                          <a:effectLst/>
                          <a:latin typeface="Trebuchet MS" panose="020B0603020202020204" pitchFamily="34" charset="0"/>
                        </a:rPr>
                        <a:t>8,756</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2,189</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1,838</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rgbClr val="000000"/>
                          </a:solidFill>
                          <a:effectLst/>
                          <a:latin typeface="Trebuchet MS" panose="020B0603020202020204" pitchFamily="34" charset="0"/>
                        </a:rPr>
                        <a:t>84</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ash"/>
                      <a:round/>
                      <a:headEnd type="none" w="med" len="med"/>
                      <a:tailEnd type="none" w="med" len="med"/>
                    </a:lnB>
                    <a:solidFill>
                      <a:srgbClr val="92D050"/>
                    </a:solidFill>
                  </a:tcPr>
                </a:tc>
                <a:extLst>
                  <a:ext uri="{0D108BD9-81ED-4DB2-BD59-A6C34878D82A}">
                    <a16:rowId xmlns:a16="http://schemas.microsoft.com/office/drawing/2014/main" val="3494647633"/>
                  </a:ext>
                </a:extLst>
              </a:tr>
              <a:tr h="502920">
                <a:tc>
                  <a:txBody>
                    <a:bodyPr/>
                    <a:lstStyle/>
                    <a:p>
                      <a:pPr algn="l" fontAlgn="b"/>
                      <a:r>
                        <a:rPr lang="en-US" sz="2400" b="0" i="0" u="none" strike="noStrike" dirty="0">
                          <a:solidFill>
                            <a:srgbClr val="000000"/>
                          </a:solidFill>
                          <a:effectLst/>
                          <a:latin typeface="Trebuchet MS" panose="020B0603020202020204" pitchFamily="34" charset="0"/>
                        </a:rPr>
                        <a:t>Special Duties Family</a:t>
                      </a:r>
                    </a:p>
                  </a:txBody>
                  <a:tcPr marL="0" marR="0" marT="0" marB="0" anchor="b">
                    <a:lnL>
                      <a:noFill/>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137</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34</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65</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0" i="0" u="none" strike="noStrike" dirty="0">
                          <a:solidFill>
                            <a:srgbClr val="000000"/>
                          </a:solidFill>
                          <a:effectLst/>
                          <a:latin typeface="Trebuchet MS" panose="020B0603020202020204" pitchFamily="34" charset="0"/>
                        </a:rPr>
                        <a:t>191</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rgbClr val="92D050"/>
                    </a:solidFill>
                  </a:tcPr>
                </a:tc>
                <a:tc>
                  <a:txBody>
                    <a:bodyPr/>
                    <a:lstStyle/>
                    <a:p>
                      <a:pPr algn="r" fontAlgn="b"/>
                      <a:r>
                        <a:rPr lang="en-GB" sz="2400" b="0" i="0" u="none" strike="noStrike">
                          <a:solidFill>
                            <a:srgbClr val="000000"/>
                          </a:solidFill>
                          <a:effectLst/>
                          <a:latin typeface="Trebuchet MS" panose="020B0603020202020204" pitchFamily="34" charset="0"/>
                        </a:rPr>
                        <a:t>9,983</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2,496</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734</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Trebuchet MS" panose="020B0603020202020204" pitchFamily="34" charset="0"/>
                        </a:rPr>
                        <a:t>29</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rgbClr val="FF0000"/>
                    </a:solidFill>
                  </a:tcPr>
                </a:tc>
                <a:extLst>
                  <a:ext uri="{0D108BD9-81ED-4DB2-BD59-A6C34878D82A}">
                    <a16:rowId xmlns:a16="http://schemas.microsoft.com/office/drawing/2014/main" val="1582516704"/>
                  </a:ext>
                </a:extLst>
              </a:tr>
              <a:tr h="502920">
                <a:tc>
                  <a:txBody>
                    <a:bodyPr/>
                    <a:lstStyle/>
                    <a:p>
                      <a:pPr algn="l" fontAlgn="b"/>
                      <a:r>
                        <a:rPr lang="en-US" sz="2400" b="0" i="0" u="none" strike="noStrike" dirty="0">
                          <a:solidFill>
                            <a:srgbClr val="000000"/>
                          </a:solidFill>
                          <a:effectLst/>
                          <a:latin typeface="Trebuchet MS" panose="020B0603020202020204" pitchFamily="34" charset="0"/>
                        </a:rPr>
                        <a:t>Lands Family (Includes Valuation &amp; Surveyor General Office and NTDA</a:t>
                      </a:r>
                    </a:p>
                  </a:txBody>
                  <a:tcPr marL="0" marR="0" marT="0" marB="0" anchor="b">
                    <a:lnL>
                      <a:noFill/>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64,283</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16,071</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8,028</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Trebuchet MS" panose="020B0603020202020204" pitchFamily="34" charset="0"/>
                        </a:rPr>
                        <a:t>50</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chemeClr val="accent1"/>
                    </a:solidFill>
                  </a:tcPr>
                </a:tc>
                <a:tc>
                  <a:txBody>
                    <a:bodyPr/>
                    <a:lstStyle/>
                    <a:p>
                      <a:pPr algn="r" fontAlgn="b"/>
                      <a:r>
                        <a:rPr lang="en-GB" sz="2400" b="0" i="0" u="none" strike="noStrike">
                          <a:solidFill>
                            <a:srgbClr val="000000"/>
                          </a:solidFill>
                          <a:effectLst/>
                          <a:latin typeface="Trebuchet MS" panose="020B0603020202020204" pitchFamily="34" charset="0"/>
                        </a:rPr>
                        <a:t>3,310</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827</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131</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Trebuchet MS" panose="020B0603020202020204" pitchFamily="34" charset="0"/>
                        </a:rPr>
                        <a:t>16</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rgbClr val="FF0000"/>
                    </a:solidFill>
                  </a:tcPr>
                </a:tc>
                <a:extLst>
                  <a:ext uri="{0D108BD9-81ED-4DB2-BD59-A6C34878D82A}">
                    <a16:rowId xmlns:a16="http://schemas.microsoft.com/office/drawing/2014/main" val="1952367488"/>
                  </a:ext>
                </a:extLst>
              </a:tr>
              <a:tr h="502920">
                <a:tc>
                  <a:txBody>
                    <a:bodyPr/>
                    <a:lstStyle/>
                    <a:p>
                      <a:pPr algn="l" fontAlgn="b"/>
                      <a:r>
                        <a:rPr lang="en-US" sz="2400" b="0" i="0" u="none" strike="noStrike" dirty="0">
                          <a:solidFill>
                            <a:srgbClr val="000000"/>
                          </a:solidFill>
                          <a:effectLst/>
                          <a:latin typeface="Trebuchet MS" panose="020B0603020202020204" pitchFamily="34" charset="0"/>
                        </a:rPr>
                        <a:t>Women Affairs and Poverty Alleviation</a:t>
                      </a:r>
                    </a:p>
                  </a:txBody>
                  <a:tcPr marL="0" marR="0" marT="0" marB="0" anchor="b">
                    <a:lnL>
                      <a:noFill/>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16</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4</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4</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0" i="0" u="none" strike="noStrike" dirty="0">
                          <a:solidFill>
                            <a:srgbClr val="000000"/>
                          </a:solidFill>
                          <a:effectLst/>
                          <a:latin typeface="Trebuchet MS" panose="020B0603020202020204" pitchFamily="34" charset="0"/>
                        </a:rPr>
                        <a:t>98</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rgbClr val="92D050"/>
                    </a:solidFill>
                  </a:tcPr>
                </a:tc>
                <a:tc>
                  <a:txBody>
                    <a:bodyPr/>
                    <a:lstStyle/>
                    <a:p>
                      <a:pPr algn="r" fontAlgn="b"/>
                      <a:r>
                        <a:rPr lang="en-GB" sz="2400" b="0" i="0" u="none" strike="noStrike" dirty="0">
                          <a:solidFill>
                            <a:srgbClr val="000000"/>
                          </a:solidFill>
                          <a:effectLst/>
                          <a:latin typeface="Trebuchet MS" panose="020B0603020202020204" pitchFamily="34" charset="0"/>
                        </a:rPr>
                        <a:t>1,987</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497</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138</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Trebuchet MS" panose="020B0603020202020204" pitchFamily="34" charset="0"/>
                        </a:rPr>
                        <a:t>28</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rgbClr val="FF0000"/>
                    </a:solidFill>
                  </a:tcPr>
                </a:tc>
                <a:extLst>
                  <a:ext uri="{0D108BD9-81ED-4DB2-BD59-A6C34878D82A}">
                    <a16:rowId xmlns:a16="http://schemas.microsoft.com/office/drawing/2014/main" val="3314307618"/>
                  </a:ext>
                </a:extLst>
              </a:tr>
              <a:tr h="502920">
                <a:tc>
                  <a:txBody>
                    <a:bodyPr/>
                    <a:lstStyle/>
                    <a:p>
                      <a:pPr algn="l" fontAlgn="b"/>
                      <a:r>
                        <a:rPr lang="en-US" sz="2400" b="0" i="0" u="none" strike="noStrike" dirty="0">
                          <a:solidFill>
                            <a:srgbClr val="000000"/>
                          </a:solidFill>
                          <a:effectLst/>
                          <a:latin typeface="Trebuchet MS" panose="020B0603020202020204" pitchFamily="34" charset="0"/>
                        </a:rPr>
                        <a:t>Information &amp; Strategy Family (Including its Parastatals)</a:t>
                      </a:r>
                    </a:p>
                  </a:txBody>
                  <a:tcPr marL="0" marR="0" marT="0" marB="0" anchor="b">
                    <a:lnL>
                      <a:noFill/>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1,802</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450</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223</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Trebuchet MS" panose="020B0603020202020204" pitchFamily="34" charset="0"/>
                        </a:rPr>
                        <a:t>50</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chemeClr val="accent1"/>
                    </a:solidFill>
                  </a:tcPr>
                </a:tc>
                <a:tc>
                  <a:txBody>
                    <a:bodyPr/>
                    <a:lstStyle/>
                    <a:p>
                      <a:pPr algn="r" fontAlgn="b"/>
                      <a:r>
                        <a:rPr lang="en-GB" sz="2400" b="0" i="0" u="none" strike="noStrike" dirty="0">
                          <a:solidFill>
                            <a:srgbClr val="000000"/>
                          </a:solidFill>
                          <a:effectLst/>
                          <a:latin typeface="Trebuchet MS" panose="020B0603020202020204" pitchFamily="34" charset="0"/>
                        </a:rPr>
                        <a:t>2,672</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668</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322</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Trebuchet MS" panose="020B0603020202020204" pitchFamily="34" charset="0"/>
                        </a:rPr>
                        <a:t>48</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rgbClr val="FF0000"/>
                    </a:solidFill>
                  </a:tcPr>
                </a:tc>
                <a:extLst>
                  <a:ext uri="{0D108BD9-81ED-4DB2-BD59-A6C34878D82A}">
                    <a16:rowId xmlns:a16="http://schemas.microsoft.com/office/drawing/2014/main" val="1755304447"/>
                  </a:ext>
                </a:extLst>
              </a:tr>
              <a:tr h="502920">
                <a:tc>
                  <a:txBody>
                    <a:bodyPr/>
                    <a:lstStyle/>
                    <a:p>
                      <a:pPr algn="l" fontAlgn="b"/>
                      <a:r>
                        <a:rPr lang="en-US" sz="2400" b="0" i="0" u="none" strike="noStrike" dirty="0">
                          <a:solidFill>
                            <a:srgbClr val="000000"/>
                          </a:solidFill>
                          <a:effectLst/>
                          <a:latin typeface="Trebuchet MS" panose="020B0603020202020204" pitchFamily="34" charset="0"/>
                        </a:rPr>
                        <a:t>Tourism Family</a:t>
                      </a:r>
                    </a:p>
                  </a:txBody>
                  <a:tcPr marL="0" marR="0" marT="0" marB="0" anchor="b">
                    <a:lnL>
                      <a:noFill/>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286</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72</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44</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0" i="0" u="none" strike="noStrike" dirty="0">
                          <a:solidFill>
                            <a:srgbClr val="000000"/>
                          </a:solidFill>
                          <a:effectLst/>
                          <a:latin typeface="Trebuchet MS" panose="020B0603020202020204" pitchFamily="34" charset="0"/>
                        </a:rPr>
                        <a:t>62</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rgbClr val="FFFF00"/>
                    </a:solidFill>
                  </a:tcPr>
                </a:tc>
                <a:tc>
                  <a:txBody>
                    <a:bodyPr/>
                    <a:lstStyle/>
                    <a:p>
                      <a:pPr algn="r" fontAlgn="b"/>
                      <a:r>
                        <a:rPr lang="en-GB" sz="2400" b="0" i="0" u="none" strike="noStrike" dirty="0">
                          <a:solidFill>
                            <a:srgbClr val="000000"/>
                          </a:solidFill>
                          <a:effectLst/>
                          <a:latin typeface="Trebuchet MS" panose="020B0603020202020204" pitchFamily="34" charset="0"/>
                        </a:rPr>
                        <a:t>2,280</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570</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1</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Trebuchet MS" panose="020B0603020202020204" pitchFamily="34" charset="0"/>
                        </a:rPr>
                        <a:t>0</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rgbClr val="FF0000"/>
                    </a:solidFill>
                  </a:tcPr>
                </a:tc>
                <a:extLst>
                  <a:ext uri="{0D108BD9-81ED-4DB2-BD59-A6C34878D82A}">
                    <a16:rowId xmlns:a16="http://schemas.microsoft.com/office/drawing/2014/main" val="781927941"/>
                  </a:ext>
                </a:extLst>
              </a:tr>
              <a:tr h="502920">
                <a:tc>
                  <a:txBody>
                    <a:bodyPr/>
                    <a:lstStyle/>
                    <a:p>
                      <a:pPr algn="l" fontAlgn="b"/>
                      <a:r>
                        <a:rPr lang="en-US" sz="2400" b="0" i="0" u="none" strike="noStrike" dirty="0">
                          <a:solidFill>
                            <a:srgbClr val="000000"/>
                          </a:solidFill>
                          <a:effectLst/>
                          <a:latin typeface="Trebuchet MS" panose="020B0603020202020204" pitchFamily="34" charset="0"/>
                        </a:rPr>
                        <a:t>Local Government</a:t>
                      </a:r>
                    </a:p>
                  </a:txBody>
                  <a:tcPr marL="0" marR="0" marT="0" marB="0" anchor="b">
                    <a:lnL>
                      <a:noFill/>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64</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16</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4</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Trebuchet MS" panose="020B0603020202020204" pitchFamily="34" charset="0"/>
                        </a:rPr>
                        <a:t>23</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chemeClr val="accent1"/>
                    </a:solidFill>
                  </a:tcPr>
                </a:tc>
                <a:tc>
                  <a:txBody>
                    <a:bodyPr/>
                    <a:lstStyle/>
                    <a:p>
                      <a:pPr algn="r" fontAlgn="b"/>
                      <a:r>
                        <a:rPr lang="en-GB" sz="2400" b="0" i="0" u="none" strike="noStrike" dirty="0">
                          <a:solidFill>
                            <a:srgbClr val="000000"/>
                          </a:solidFill>
                          <a:effectLst/>
                          <a:latin typeface="Trebuchet MS" panose="020B0603020202020204" pitchFamily="34" charset="0"/>
                        </a:rPr>
                        <a:t>4,563</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1,141</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3</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Trebuchet MS" panose="020B0603020202020204" pitchFamily="34" charset="0"/>
                        </a:rPr>
                        <a:t>0</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rgbClr val="FF0000"/>
                    </a:solidFill>
                  </a:tcPr>
                </a:tc>
                <a:extLst>
                  <a:ext uri="{0D108BD9-81ED-4DB2-BD59-A6C34878D82A}">
                    <a16:rowId xmlns:a16="http://schemas.microsoft.com/office/drawing/2014/main" val="3178743386"/>
                  </a:ext>
                </a:extLst>
              </a:tr>
              <a:tr h="502920">
                <a:tc>
                  <a:txBody>
                    <a:bodyPr/>
                    <a:lstStyle/>
                    <a:p>
                      <a:pPr algn="l" fontAlgn="b"/>
                      <a:r>
                        <a:rPr lang="en-US" sz="2400" b="0" i="0" u="none" strike="noStrike" dirty="0">
                          <a:solidFill>
                            <a:srgbClr val="000000"/>
                          </a:solidFill>
                          <a:effectLst/>
                          <a:latin typeface="Trebuchet MS" panose="020B0603020202020204" pitchFamily="34" charset="0"/>
                        </a:rPr>
                        <a:t>Health Family (Including Hospital Units)</a:t>
                      </a:r>
                    </a:p>
                  </a:txBody>
                  <a:tcPr marL="0" marR="0" marT="0" marB="0" anchor="b">
                    <a:lnL>
                      <a:noFill/>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14,471</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3,618</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1,974</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Trebuchet MS" panose="020B0603020202020204" pitchFamily="34" charset="0"/>
                        </a:rPr>
                        <a:t>55</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chemeClr val="accent1"/>
                    </a:solidFill>
                  </a:tcPr>
                </a:tc>
                <a:tc>
                  <a:txBody>
                    <a:bodyPr/>
                    <a:lstStyle/>
                    <a:p>
                      <a:pPr algn="r" fontAlgn="b"/>
                      <a:r>
                        <a:rPr lang="en-GB" sz="2400" b="0" i="0" u="none" strike="noStrike" dirty="0">
                          <a:solidFill>
                            <a:srgbClr val="000000"/>
                          </a:solidFill>
                          <a:effectLst/>
                          <a:latin typeface="Trebuchet MS" panose="020B0603020202020204" pitchFamily="34" charset="0"/>
                        </a:rPr>
                        <a:t>32,460</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8,115</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1,356</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Trebuchet MS" panose="020B0603020202020204" pitchFamily="34" charset="0"/>
                        </a:rPr>
                        <a:t>17</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rgbClr val="FF0000"/>
                    </a:solidFill>
                  </a:tcPr>
                </a:tc>
                <a:extLst>
                  <a:ext uri="{0D108BD9-81ED-4DB2-BD59-A6C34878D82A}">
                    <a16:rowId xmlns:a16="http://schemas.microsoft.com/office/drawing/2014/main" val="891268033"/>
                  </a:ext>
                </a:extLst>
              </a:tr>
              <a:tr h="502920">
                <a:tc>
                  <a:txBody>
                    <a:bodyPr/>
                    <a:lstStyle/>
                    <a:p>
                      <a:pPr algn="l" fontAlgn="b"/>
                      <a:r>
                        <a:rPr lang="en-US" sz="2400" b="0" i="0" u="none" strike="noStrike" dirty="0">
                          <a:solidFill>
                            <a:srgbClr val="000000"/>
                          </a:solidFill>
                          <a:effectLst/>
                          <a:latin typeface="Trebuchet MS" panose="020B0603020202020204" pitchFamily="34" charset="0"/>
                        </a:rPr>
                        <a:t>Justice</a:t>
                      </a:r>
                    </a:p>
                  </a:txBody>
                  <a:tcPr marL="0" marR="0" marT="0" marB="0" anchor="b">
                    <a:lnL>
                      <a:noFill/>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1,974</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494</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178</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Trebuchet MS" panose="020B0603020202020204" pitchFamily="34" charset="0"/>
                        </a:rPr>
                        <a:t>36</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chemeClr val="accent1"/>
                    </a:solidFill>
                  </a:tcPr>
                </a:tc>
                <a:tc>
                  <a:txBody>
                    <a:bodyPr/>
                    <a:lstStyle/>
                    <a:p>
                      <a:pPr algn="r" fontAlgn="b"/>
                      <a:r>
                        <a:rPr lang="en-GB" sz="2400" b="0" i="0" u="none" strike="noStrike" dirty="0">
                          <a:solidFill>
                            <a:srgbClr val="000000"/>
                          </a:solidFill>
                          <a:effectLst/>
                          <a:latin typeface="Trebuchet MS" panose="020B0603020202020204" pitchFamily="34" charset="0"/>
                        </a:rPr>
                        <a:t>3,793</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948</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0</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Trebuchet MS" panose="020B0603020202020204" pitchFamily="34" charset="0"/>
                        </a:rPr>
                        <a:t>0</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rgbClr val="FF0000"/>
                    </a:solidFill>
                  </a:tcPr>
                </a:tc>
                <a:extLst>
                  <a:ext uri="{0D108BD9-81ED-4DB2-BD59-A6C34878D82A}">
                    <a16:rowId xmlns:a16="http://schemas.microsoft.com/office/drawing/2014/main" val="3190095831"/>
                  </a:ext>
                </a:extLst>
              </a:tr>
              <a:tr h="502920">
                <a:tc>
                  <a:txBody>
                    <a:bodyPr/>
                    <a:lstStyle/>
                    <a:p>
                      <a:pPr algn="l" fontAlgn="b"/>
                      <a:r>
                        <a:rPr lang="en-US" sz="2400" b="0" i="0" u="none" strike="noStrike" dirty="0">
                          <a:solidFill>
                            <a:srgbClr val="000000"/>
                          </a:solidFill>
                          <a:effectLst/>
                          <a:latin typeface="Trebuchet MS" panose="020B0603020202020204" pitchFamily="34" charset="0"/>
                        </a:rPr>
                        <a:t>Physical Planning &amp; Urban Development</a:t>
                      </a:r>
                    </a:p>
                  </a:txBody>
                  <a:tcPr marL="0" marR="0" marT="0" marB="0" anchor="b">
                    <a:lnL>
                      <a:noFill/>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42,088</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10,522</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3,393</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Trebuchet MS" panose="020B0603020202020204" pitchFamily="34" charset="0"/>
                        </a:rPr>
                        <a:t>32</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chemeClr val="accent1"/>
                    </a:solidFill>
                  </a:tcPr>
                </a:tc>
                <a:tc>
                  <a:txBody>
                    <a:bodyPr/>
                    <a:lstStyle/>
                    <a:p>
                      <a:pPr algn="r" fontAlgn="b"/>
                      <a:r>
                        <a:rPr lang="en-GB" sz="2400" b="0" i="0" u="none" strike="noStrike" dirty="0">
                          <a:solidFill>
                            <a:srgbClr val="000000"/>
                          </a:solidFill>
                          <a:effectLst/>
                          <a:latin typeface="Trebuchet MS" panose="020B0603020202020204" pitchFamily="34" charset="0"/>
                        </a:rPr>
                        <a:t>11,265</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2,816</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139</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Trebuchet MS" panose="020B0603020202020204" pitchFamily="34" charset="0"/>
                        </a:rPr>
                        <a:t>5</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rgbClr val="FF0000"/>
                    </a:solidFill>
                  </a:tcPr>
                </a:tc>
                <a:extLst>
                  <a:ext uri="{0D108BD9-81ED-4DB2-BD59-A6C34878D82A}">
                    <a16:rowId xmlns:a16="http://schemas.microsoft.com/office/drawing/2014/main" val="563957454"/>
                  </a:ext>
                </a:extLst>
              </a:tr>
              <a:tr h="502920">
                <a:tc>
                  <a:txBody>
                    <a:bodyPr/>
                    <a:lstStyle/>
                    <a:p>
                      <a:pPr algn="l" fontAlgn="b"/>
                      <a:r>
                        <a:rPr lang="en-US" sz="2400" b="0" i="0" u="none" strike="noStrike" dirty="0">
                          <a:solidFill>
                            <a:srgbClr val="000000"/>
                          </a:solidFill>
                          <a:effectLst/>
                          <a:latin typeface="Trebuchet MS" panose="020B0603020202020204" pitchFamily="34" charset="0"/>
                        </a:rPr>
                        <a:t>SDGI (O/H)</a:t>
                      </a:r>
                    </a:p>
                  </a:txBody>
                  <a:tcPr marL="0" marR="0" marT="0" marB="0" anchor="b">
                    <a:lnL>
                      <a:noFill/>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0</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0</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0</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Trebuchet MS" panose="020B0603020202020204" pitchFamily="34" charset="0"/>
                        </a:rPr>
                        <a:t> </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chemeClr val="accent1"/>
                    </a:solidFill>
                  </a:tcPr>
                </a:tc>
                <a:tc>
                  <a:txBody>
                    <a:bodyPr/>
                    <a:lstStyle/>
                    <a:p>
                      <a:pPr algn="r" fontAlgn="b"/>
                      <a:r>
                        <a:rPr lang="en-GB" sz="2400" b="0" i="0" u="none" strike="noStrike" dirty="0">
                          <a:solidFill>
                            <a:srgbClr val="000000"/>
                          </a:solidFill>
                          <a:effectLst/>
                          <a:latin typeface="Trebuchet MS" panose="020B0603020202020204" pitchFamily="34" charset="0"/>
                        </a:rPr>
                        <a:t>2,831</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708</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4</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Trebuchet MS" panose="020B0603020202020204" pitchFamily="34" charset="0"/>
                        </a:rPr>
                        <a:t>1</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rgbClr val="FF0000"/>
                    </a:solidFill>
                  </a:tcPr>
                </a:tc>
                <a:extLst>
                  <a:ext uri="{0D108BD9-81ED-4DB2-BD59-A6C34878D82A}">
                    <a16:rowId xmlns:a16="http://schemas.microsoft.com/office/drawing/2014/main" val="2373333797"/>
                  </a:ext>
                </a:extLst>
              </a:tr>
              <a:tr h="502920">
                <a:tc>
                  <a:txBody>
                    <a:bodyPr/>
                    <a:lstStyle/>
                    <a:p>
                      <a:pPr algn="l" fontAlgn="b"/>
                      <a:r>
                        <a:rPr lang="en-US" sz="2400" b="0" i="0" u="none" strike="noStrike" dirty="0">
                          <a:solidFill>
                            <a:srgbClr val="000000"/>
                          </a:solidFill>
                          <a:effectLst/>
                          <a:latin typeface="Trebuchet MS" panose="020B0603020202020204" pitchFamily="34" charset="0"/>
                        </a:rPr>
                        <a:t>Home Affairs &amp; Culture</a:t>
                      </a:r>
                    </a:p>
                  </a:txBody>
                  <a:tcPr marL="0" marR="0" marT="0" marB="0" anchor="b">
                    <a:lnL>
                      <a:noFill/>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85</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21</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11</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Trebuchet MS" panose="020B0603020202020204" pitchFamily="34" charset="0"/>
                        </a:rPr>
                        <a:t>52</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chemeClr val="accent1"/>
                    </a:solidFill>
                  </a:tcPr>
                </a:tc>
                <a:tc>
                  <a:txBody>
                    <a:bodyPr/>
                    <a:lstStyle/>
                    <a:p>
                      <a:pPr algn="r" fontAlgn="b"/>
                      <a:r>
                        <a:rPr lang="en-GB" sz="2400" b="0" i="0" u="none" strike="noStrike" dirty="0">
                          <a:solidFill>
                            <a:srgbClr val="000000"/>
                          </a:solidFill>
                          <a:effectLst/>
                          <a:latin typeface="Trebuchet MS" panose="020B0603020202020204" pitchFamily="34" charset="0"/>
                        </a:rPr>
                        <a:t>827</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207</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0</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Trebuchet MS" panose="020B0603020202020204" pitchFamily="34" charset="0"/>
                        </a:rPr>
                        <a:t>0</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rgbClr val="FF0000"/>
                    </a:solidFill>
                  </a:tcPr>
                </a:tc>
                <a:extLst>
                  <a:ext uri="{0D108BD9-81ED-4DB2-BD59-A6C34878D82A}">
                    <a16:rowId xmlns:a16="http://schemas.microsoft.com/office/drawing/2014/main" val="1672992832"/>
                  </a:ext>
                </a:extLst>
              </a:tr>
              <a:tr h="502920">
                <a:tc>
                  <a:txBody>
                    <a:bodyPr/>
                    <a:lstStyle/>
                    <a:p>
                      <a:pPr algn="l" fontAlgn="b"/>
                      <a:r>
                        <a:rPr lang="en-US" sz="2400" b="0" i="0" u="none" strike="noStrike" dirty="0">
                          <a:solidFill>
                            <a:srgbClr val="000000"/>
                          </a:solidFill>
                          <a:effectLst/>
                          <a:latin typeface="Trebuchet MS" panose="020B0603020202020204" pitchFamily="34" charset="0"/>
                        </a:rPr>
                        <a:t>Commerce</a:t>
                      </a:r>
                    </a:p>
                  </a:txBody>
                  <a:tcPr marL="0" marR="0" marT="0" marB="0" anchor="b">
                    <a:lnL>
                      <a:noFill/>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127</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32</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9</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Trebuchet MS" panose="020B0603020202020204" pitchFamily="34" charset="0"/>
                        </a:rPr>
                        <a:t>30</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chemeClr val="accent1"/>
                    </a:solidFill>
                  </a:tcPr>
                </a:tc>
                <a:tc>
                  <a:txBody>
                    <a:bodyPr/>
                    <a:lstStyle/>
                    <a:p>
                      <a:pPr algn="r" fontAlgn="b"/>
                      <a:r>
                        <a:rPr lang="en-GB" sz="2400" b="0" i="0" u="none" strike="noStrike">
                          <a:solidFill>
                            <a:srgbClr val="000000"/>
                          </a:solidFill>
                          <a:effectLst/>
                          <a:latin typeface="Trebuchet MS" panose="020B0603020202020204" pitchFamily="34" charset="0"/>
                        </a:rPr>
                        <a:t>2,374</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594</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2</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Trebuchet MS" panose="020B0603020202020204" pitchFamily="34" charset="0"/>
                        </a:rPr>
                        <a:t>0</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rgbClr val="FF0000"/>
                    </a:solidFill>
                  </a:tcPr>
                </a:tc>
                <a:extLst>
                  <a:ext uri="{0D108BD9-81ED-4DB2-BD59-A6C34878D82A}">
                    <a16:rowId xmlns:a16="http://schemas.microsoft.com/office/drawing/2014/main" val="1821105320"/>
                  </a:ext>
                </a:extLst>
              </a:tr>
              <a:tr h="502920">
                <a:tc>
                  <a:txBody>
                    <a:bodyPr/>
                    <a:lstStyle/>
                    <a:p>
                      <a:pPr algn="l" fontAlgn="b"/>
                      <a:r>
                        <a:rPr lang="en-US" sz="2400" b="0" i="0" u="none" strike="noStrike" dirty="0">
                          <a:solidFill>
                            <a:srgbClr val="000000"/>
                          </a:solidFill>
                          <a:effectLst/>
                          <a:latin typeface="Trebuchet MS" panose="020B0603020202020204" pitchFamily="34" charset="0"/>
                        </a:rPr>
                        <a:t>Wealth Creation</a:t>
                      </a:r>
                    </a:p>
                  </a:txBody>
                  <a:tcPr marL="0" marR="0" marT="0" marB="0" anchor="b">
                    <a:lnL>
                      <a:noFill/>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5</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1</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dirty="0">
                          <a:solidFill>
                            <a:srgbClr val="000000"/>
                          </a:solidFill>
                          <a:effectLst/>
                          <a:latin typeface="Trebuchet MS" panose="020B0603020202020204" pitchFamily="34" charset="0"/>
                        </a:rPr>
                        <a:t>2</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rgbClr val="000000"/>
                          </a:solidFill>
                          <a:effectLst/>
                          <a:latin typeface="Trebuchet MS" panose="020B0603020202020204" pitchFamily="34" charset="0"/>
                        </a:rPr>
                        <a:t>144</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rgbClr val="92D050"/>
                    </a:solidFill>
                  </a:tcPr>
                </a:tc>
                <a:tc>
                  <a:txBody>
                    <a:bodyPr/>
                    <a:lstStyle/>
                    <a:p>
                      <a:pPr algn="r" fontAlgn="b"/>
                      <a:r>
                        <a:rPr lang="en-GB" sz="2400" b="0" i="0" u="none" strike="noStrike">
                          <a:solidFill>
                            <a:srgbClr val="000000"/>
                          </a:solidFill>
                          <a:effectLst/>
                          <a:latin typeface="Trebuchet MS" panose="020B0603020202020204" pitchFamily="34" charset="0"/>
                        </a:rPr>
                        <a:t>5,154</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a:solidFill>
                            <a:srgbClr val="000000"/>
                          </a:solidFill>
                          <a:effectLst/>
                          <a:latin typeface="Trebuchet MS" panose="020B0603020202020204" pitchFamily="34" charset="0"/>
                        </a:rPr>
                        <a:t>1,288</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r" fontAlgn="b"/>
                      <a:r>
                        <a:rPr lang="en-GB" sz="2400" b="0" i="0" u="none" strike="noStrike" dirty="0">
                          <a:solidFill>
                            <a:srgbClr val="000000"/>
                          </a:solidFill>
                          <a:effectLst/>
                          <a:latin typeface="Trebuchet MS" panose="020B0603020202020204" pitchFamily="34" charset="0"/>
                        </a:rPr>
                        <a:t>32</a:t>
                      </a:r>
                    </a:p>
                  </a:txBody>
                  <a:tcPr marL="9525" marR="9525" marT="9525"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tcPr>
                </a:tc>
                <a:tc>
                  <a:txBody>
                    <a:bodyPr/>
                    <a:lstStyle/>
                    <a:p>
                      <a:pPr algn="ctr" fontAlgn="b"/>
                      <a:r>
                        <a:rPr lang="en-US" sz="2400" b="1" i="0" u="none" strike="noStrike" dirty="0">
                          <a:solidFill>
                            <a:schemeClr val="bg1"/>
                          </a:solidFill>
                          <a:effectLst/>
                          <a:latin typeface="Trebuchet MS" panose="020B0603020202020204" pitchFamily="34" charset="0"/>
                        </a:rPr>
                        <a:t>2</a:t>
                      </a:r>
                    </a:p>
                  </a:txBody>
                  <a:tcPr marL="0" marR="0" marT="0" marB="0" anchor="b">
                    <a:lnL w="6350" cap="flat" cmpd="sng" algn="ctr">
                      <a:solidFill>
                        <a:srgbClr val="A6A6A6"/>
                      </a:solidFill>
                      <a:prstDash val="dash"/>
                      <a:round/>
                      <a:headEnd type="none" w="med" len="med"/>
                      <a:tailEnd type="none" w="med" len="med"/>
                    </a:lnL>
                    <a:lnR w="6350" cap="flat" cmpd="sng" algn="ctr">
                      <a:solidFill>
                        <a:srgbClr val="A6A6A6"/>
                      </a:solidFill>
                      <a:prstDash val="dash"/>
                      <a:round/>
                      <a:headEnd type="none" w="med" len="med"/>
                      <a:tailEnd type="none" w="med" len="med"/>
                    </a:lnR>
                    <a:lnT w="6350" cap="flat" cmpd="sng" algn="ctr">
                      <a:solidFill>
                        <a:srgbClr val="A6A6A6"/>
                      </a:solidFill>
                      <a:prstDash val="dash"/>
                      <a:round/>
                      <a:headEnd type="none" w="med" len="med"/>
                      <a:tailEnd type="none" w="med" len="med"/>
                    </a:lnT>
                    <a:lnB w="6350" cap="flat" cmpd="sng" algn="ctr">
                      <a:solidFill>
                        <a:srgbClr val="A6A6A6"/>
                      </a:solidFill>
                      <a:prstDash val="dash"/>
                      <a:round/>
                      <a:headEnd type="none" w="med" len="med"/>
                      <a:tailEnd type="none" w="med" len="med"/>
                    </a:lnB>
                    <a:solidFill>
                      <a:srgbClr val="FF0000"/>
                    </a:solidFill>
                  </a:tcPr>
                </a:tc>
                <a:extLst>
                  <a:ext uri="{0D108BD9-81ED-4DB2-BD59-A6C34878D82A}">
                    <a16:rowId xmlns:a16="http://schemas.microsoft.com/office/drawing/2014/main" val="369218528"/>
                  </a:ext>
                </a:extLst>
              </a:tr>
            </a:tbl>
          </a:graphicData>
        </a:graphic>
      </p:graphicFrame>
    </p:spTree>
    <p:extLst>
      <p:ext uri="{BB962C8B-B14F-4D97-AF65-F5344CB8AC3E}">
        <p14:creationId xmlns:p14="http://schemas.microsoft.com/office/powerpoint/2010/main" val="4277712032"/>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 name="Text Box 3"/>
          <p:cNvSpPr txBox="1"/>
          <p:nvPr/>
        </p:nvSpPr>
        <p:spPr>
          <a:xfrm>
            <a:off x="8417273" y="837449"/>
            <a:ext cx="7549458" cy="72327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8100" tIns="38100" rIns="38100" bIns="38100" anchor="ctr">
            <a:spAutoFit/>
          </a:bodyPr>
          <a:lstStyle/>
          <a:p>
            <a:r>
              <a:rPr dirty="0"/>
              <a:t>Outline</a:t>
            </a:r>
          </a:p>
        </p:txBody>
      </p:sp>
      <p:sp>
        <p:nvSpPr>
          <p:cNvPr id="156" name="Rectangle"/>
          <p:cNvSpPr/>
          <p:nvPr/>
        </p:nvSpPr>
        <p:spPr>
          <a:xfrm>
            <a:off x="454612" y="12813645"/>
            <a:ext cx="23474776" cy="635002"/>
          </a:xfrm>
          <a:prstGeom prst="rect">
            <a:avLst/>
          </a:prstGeom>
          <a:solidFill>
            <a:srgbClr val="FFFFFF"/>
          </a:solidFill>
          <a:ln w="12700">
            <a:miter lim="400000"/>
          </a:ln>
        </p:spPr>
        <p:txBody>
          <a:bodyPr lIns="38100" tIns="38100" rIns="38100" bIns="38100" anchor="ctr"/>
          <a:lstStyle/>
          <a:p>
            <a:pPr algn="l">
              <a:defRPr sz="2000" b="0" cap="none">
                <a:solidFill>
                  <a:srgbClr val="252D30"/>
                </a:solidFill>
                <a:effectLst/>
                <a:latin typeface="+mn-lt"/>
                <a:ea typeface="+mn-ea"/>
                <a:cs typeface="+mn-cs"/>
                <a:sym typeface="Helvetica Neue"/>
              </a:defRPr>
            </a:pPr>
            <a:endParaRPr sz="2000"/>
          </a:p>
        </p:txBody>
      </p:sp>
      <p:graphicFrame>
        <p:nvGraphicFramePr>
          <p:cNvPr id="5" name="Table"/>
          <p:cNvGraphicFramePr/>
          <p:nvPr>
            <p:extLst>
              <p:ext uri="{D42A27DB-BD31-4B8C-83A1-F6EECF244321}">
                <p14:modId xmlns:p14="http://schemas.microsoft.com/office/powerpoint/2010/main" val="1576019588"/>
              </p:ext>
            </p:extLst>
          </p:nvPr>
        </p:nvGraphicFramePr>
        <p:xfrm>
          <a:off x="1060938" y="3339649"/>
          <a:ext cx="22262124" cy="4323688"/>
        </p:xfrm>
        <a:graphic>
          <a:graphicData uri="http://schemas.openxmlformats.org/drawingml/2006/table">
            <a:tbl>
              <a:tblPr bandRow="1">
                <a:tableStyleId>{4C3C2611-4C71-4FC5-86AE-919BDF0F9419}</a:tableStyleId>
              </a:tblPr>
              <a:tblGrid>
                <a:gridCol w="19798534">
                  <a:extLst>
                    <a:ext uri="{9D8B030D-6E8A-4147-A177-3AD203B41FA5}">
                      <a16:colId xmlns:a16="http://schemas.microsoft.com/office/drawing/2014/main" val="20000"/>
                    </a:ext>
                  </a:extLst>
                </a:gridCol>
                <a:gridCol w="2463590">
                  <a:extLst>
                    <a:ext uri="{9D8B030D-6E8A-4147-A177-3AD203B41FA5}">
                      <a16:colId xmlns:a16="http://schemas.microsoft.com/office/drawing/2014/main" val="20001"/>
                    </a:ext>
                  </a:extLst>
                </a:gridCol>
              </a:tblGrid>
              <a:tr h="540461">
                <a:tc>
                  <a:txBody>
                    <a:bodyPr/>
                    <a:lstStyle/>
                    <a:p>
                      <a:pPr algn="l" defTabSz="825500">
                        <a:lnSpc>
                          <a:spcPct val="110000"/>
                        </a:lnSpc>
                        <a:spcBef>
                          <a:spcPts val="100"/>
                        </a:spcBef>
                        <a:defRPr sz="1800">
                          <a:solidFill>
                            <a:srgbClr val="000000"/>
                          </a:solidFill>
                          <a:effectLst/>
                        </a:defRPr>
                      </a:pPr>
                      <a:r>
                        <a:rPr sz="2400" dirty="0">
                          <a:latin typeface="Trebuchet MS" panose="020B0603020202020204" pitchFamily="34" charset="0"/>
                          <a:ea typeface="Trebuchet MS"/>
                          <a:cs typeface="Trebuchet MS"/>
                        </a:rPr>
                        <a:t>Vision and Mission</a:t>
                      </a:r>
                    </a:p>
                  </a:txBody>
                  <a:tcPr marL="0" marR="0" marT="0" marB="0" anchor="ctr" horzOverflow="overflow">
                    <a:lnL w="12700">
                      <a:solidFill>
                        <a:srgbClr val="FFFFFF"/>
                      </a:solidFill>
                    </a:lnL>
                    <a:lnR w="12700">
                      <a:solidFill>
                        <a:srgbClr val="FFFFFF"/>
                      </a:solidFill>
                    </a:lnR>
                    <a:lnT w="12700">
                      <a:solidFill>
                        <a:srgbClr val="FFFFFF"/>
                      </a:solidFill>
                    </a:lnT>
                    <a:lnB>
                      <a:solidFill>
                        <a:schemeClr val="accent3"/>
                      </a:solidFill>
                      <a:custDash>
                        <a:ds d="200000" sp="200000"/>
                      </a:custDash>
                      <a:miter lim="400000"/>
                    </a:lnB>
                    <a:noFill/>
                  </a:tcPr>
                </a:tc>
                <a:tc>
                  <a:txBody>
                    <a:bodyPr/>
                    <a:lstStyle/>
                    <a:p>
                      <a:pPr algn="r" defTabSz="825500">
                        <a:lnSpc>
                          <a:spcPct val="110000"/>
                        </a:lnSpc>
                        <a:spcBef>
                          <a:spcPts val="100"/>
                        </a:spcBef>
                        <a:defRPr sz="1800">
                          <a:solidFill>
                            <a:srgbClr val="000000"/>
                          </a:solidFill>
                          <a:effectLst/>
                        </a:defRPr>
                      </a:pPr>
                      <a:r>
                        <a:rPr sz="2400" dirty="0">
                          <a:latin typeface="Trebuchet MS" panose="020B0603020202020204" pitchFamily="34" charset="0"/>
                          <a:ea typeface="Trebuchet MS"/>
                          <a:cs typeface="Trebuchet MS"/>
                        </a:rPr>
                        <a:t>3</a:t>
                      </a:r>
                    </a:p>
                  </a:txBody>
                  <a:tcPr marL="0" marR="0" marT="0" marB="0" anchor="ctr" horzOverflow="overflow">
                    <a:lnL w="12700">
                      <a:solidFill>
                        <a:srgbClr val="FFFFFF"/>
                      </a:solidFill>
                    </a:lnL>
                    <a:lnR w="12700">
                      <a:solidFill>
                        <a:srgbClr val="FFFFFF"/>
                      </a:solidFill>
                    </a:lnR>
                    <a:lnT w="12700">
                      <a:solidFill>
                        <a:srgbClr val="FFFFFF"/>
                      </a:solidFill>
                    </a:lnT>
                    <a:lnB>
                      <a:solidFill>
                        <a:schemeClr val="accent3"/>
                      </a:solidFill>
                      <a:custDash>
                        <a:ds d="200000" sp="200000"/>
                      </a:custDash>
                      <a:miter lim="400000"/>
                    </a:lnB>
                    <a:noFill/>
                  </a:tcPr>
                </a:tc>
                <a:extLst>
                  <a:ext uri="{0D108BD9-81ED-4DB2-BD59-A6C34878D82A}">
                    <a16:rowId xmlns:a16="http://schemas.microsoft.com/office/drawing/2014/main" val="10000"/>
                  </a:ext>
                </a:extLst>
              </a:tr>
              <a:tr h="540461">
                <a:tc>
                  <a:txBody>
                    <a:bodyPr/>
                    <a:lstStyle/>
                    <a:p>
                      <a:pPr algn="l" defTabSz="825500">
                        <a:lnSpc>
                          <a:spcPct val="110000"/>
                        </a:lnSpc>
                        <a:spcBef>
                          <a:spcPts val="100"/>
                        </a:spcBef>
                        <a:defRPr sz="1800">
                          <a:solidFill>
                            <a:srgbClr val="000000"/>
                          </a:solidFill>
                          <a:effectLst/>
                        </a:defRPr>
                      </a:pPr>
                      <a:r>
                        <a:rPr sz="2400" dirty="0">
                          <a:latin typeface="Trebuchet MS" panose="020B0603020202020204" pitchFamily="34" charset="0"/>
                          <a:ea typeface="Trebuchet MS"/>
                          <a:cs typeface="Trebuchet MS"/>
                        </a:rPr>
                        <a:t>Memo from the Commissioner</a:t>
                      </a:r>
                    </a:p>
                  </a:txBody>
                  <a:tcPr marL="0" marR="0" marT="0" marB="0" anchor="ctr" horzOverflow="overflow">
                    <a:lnL w="12700">
                      <a:solidFill>
                        <a:srgbClr val="FFFFFF"/>
                      </a:solidFill>
                    </a:lnL>
                    <a:lnR w="12700">
                      <a:solidFill>
                        <a:srgbClr val="FFFFFF"/>
                      </a:solidFill>
                    </a:lnR>
                    <a:lnT>
                      <a:solidFill>
                        <a:schemeClr val="accent3"/>
                      </a:solidFill>
                      <a:custDash>
                        <a:ds d="200000" sp="200000"/>
                      </a:custDash>
                      <a:miter lim="400000"/>
                    </a:lnT>
                    <a:lnB>
                      <a:solidFill>
                        <a:schemeClr val="accent3"/>
                      </a:solidFill>
                      <a:custDash>
                        <a:ds d="200000" sp="200000"/>
                      </a:custDash>
                      <a:miter lim="400000"/>
                    </a:lnB>
                    <a:noFill/>
                  </a:tcPr>
                </a:tc>
                <a:tc>
                  <a:txBody>
                    <a:bodyPr/>
                    <a:lstStyle/>
                    <a:p>
                      <a:pPr algn="r" defTabSz="825500">
                        <a:lnSpc>
                          <a:spcPct val="110000"/>
                        </a:lnSpc>
                        <a:spcBef>
                          <a:spcPts val="100"/>
                        </a:spcBef>
                        <a:defRPr sz="1800">
                          <a:solidFill>
                            <a:srgbClr val="000000"/>
                          </a:solidFill>
                          <a:effectLst/>
                        </a:defRPr>
                      </a:pPr>
                      <a:r>
                        <a:rPr sz="2400" dirty="0">
                          <a:latin typeface="Trebuchet MS" panose="020B0603020202020204" pitchFamily="34" charset="0"/>
                          <a:ea typeface="Trebuchet MS"/>
                          <a:cs typeface="Trebuchet MS"/>
                        </a:rPr>
                        <a:t>4</a:t>
                      </a:r>
                    </a:p>
                  </a:txBody>
                  <a:tcPr marL="0" marR="0" marT="0" marB="0" anchor="ctr" horzOverflow="overflow">
                    <a:lnL w="12700">
                      <a:solidFill>
                        <a:srgbClr val="FFFFFF"/>
                      </a:solidFill>
                    </a:lnL>
                    <a:lnR w="12700">
                      <a:solidFill>
                        <a:srgbClr val="FFFFFF"/>
                      </a:solidFill>
                    </a:lnR>
                    <a:lnT>
                      <a:solidFill>
                        <a:schemeClr val="accent3"/>
                      </a:solidFill>
                      <a:custDash>
                        <a:ds d="200000" sp="200000"/>
                      </a:custDash>
                      <a:miter lim="400000"/>
                    </a:lnT>
                    <a:lnB>
                      <a:solidFill>
                        <a:schemeClr val="accent3"/>
                      </a:solidFill>
                      <a:custDash>
                        <a:ds d="200000" sp="200000"/>
                      </a:custDash>
                      <a:miter lim="400000"/>
                    </a:lnB>
                    <a:noFill/>
                  </a:tcPr>
                </a:tc>
                <a:extLst>
                  <a:ext uri="{0D108BD9-81ED-4DB2-BD59-A6C34878D82A}">
                    <a16:rowId xmlns:a16="http://schemas.microsoft.com/office/drawing/2014/main" val="10001"/>
                  </a:ext>
                </a:extLst>
              </a:tr>
              <a:tr h="540461">
                <a:tc>
                  <a:txBody>
                    <a:bodyPr/>
                    <a:lstStyle/>
                    <a:p>
                      <a:pPr algn="l" defTabSz="825500">
                        <a:lnSpc>
                          <a:spcPct val="110000"/>
                        </a:lnSpc>
                        <a:spcBef>
                          <a:spcPts val="100"/>
                        </a:spcBef>
                        <a:defRPr sz="1800">
                          <a:solidFill>
                            <a:srgbClr val="000000"/>
                          </a:solidFill>
                          <a:effectLst/>
                        </a:defRPr>
                      </a:pPr>
                      <a:r>
                        <a:rPr sz="2400" dirty="0">
                          <a:latin typeface="Trebuchet MS" panose="020B0603020202020204" pitchFamily="34" charset="0"/>
                          <a:ea typeface="Trebuchet MS"/>
                          <a:cs typeface="Trebuchet MS"/>
                        </a:rPr>
                        <a:t>Purpose of the Report</a:t>
                      </a:r>
                    </a:p>
                  </a:txBody>
                  <a:tcPr marL="0" marR="0" marT="0" marB="0" anchor="ctr" horzOverflow="overflow">
                    <a:lnL w="12700">
                      <a:solidFill>
                        <a:srgbClr val="FFFFFF"/>
                      </a:solidFill>
                    </a:lnL>
                    <a:lnR w="12700">
                      <a:solidFill>
                        <a:srgbClr val="FFFFFF"/>
                      </a:solidFill>
                    </a:lnR>
                    <a:lnT>
                      <a:solidFill>
                        <a:schemeClr val="accent3"/>
                      </a:solidFill>
                      <a:custDash>
                        <a:ds d="200000" sp="200000"/>
                      </a:custDash>
                      <a:miter lim="400000"/>
                    </a:lnT>
                    <a:lnB>
                      <a:solidFill>
                        <a:schemeClr val="accent3"/>
                      </a:solidFill>
                      <a:custDash>
                        <a:ds d="200000" sp="200000"/>
                      </a:custDash>
                      <a:miter lim="400000"/>
                    </a:lnB>
                    <a:noFill/>
                  </a:tcPr>
                </a:tc>
                <a:tc>
                  <a:txBody>
                    <a:bodyPr/>
                    <a:lstStyle/>
                    <a:p>
                      <a:pPr algn="r" defTabSz="825500">
                        <a:lnSpc>
                          <a:spcPct val="110000"/>
                        </a:lnSpc>
                        <a:spcBef>
                          <a:spcPts val="100"/>
                        </a:spcBef>
                        <a:defRPr sz="1800">
                          <a:solidFill>
                            <a:srgbClr val="000000"/>
                          </a:solidFill>
                          <a:effectLst/>
                        </a:defRPr>
                      </a:pPr>
                      <a:r>
                        <a:rPr sz="2400" dirty="0">
                          <a:latin typeface="Trebuchet MS" panose="020B0603020202020204" pitchFamily="34" charset="0"/>
                          <a:ea typeface="Trebuchet MS"/>
                          <a:cs typeface="Trebuchet MS"/>
                        </a:rPr>
                        <a:t>5</a:t>
                      </a:r>
                    </a:p>
                  </a:txBody>
                  <a:tcPr marL="0" marR="0" marT="0" marB="0" anchor="ctr" horzOverflow="overflow">
                    <a:lnL w="12700">
                      <a:solidFill>
                        <a:srgbClr val="FFFFFF"/>
                      </a:solidFill>
                    </a:lnL>
                    <a:lnR w="12700">
                      <a:solidFill>
                        <a:srgbClr val="FFFFFF"/>
                      </a:solidFill>
                    </a:lnR>
                    <a:lnT>
                      <a:solidFill>
                        <a:schemeClr val="accent3"/>
                      </a:solidFill>
                      <a:custDash>
                        <a:ds d="200000" sp="200000"/>
                      </a:custDash>
                      <a:miter lim="400000"/>
                    </a:lnT>
                    <a:lnB>
                      <a:solidFill>
                        <a:schemeClr val="accent3"/>
                      </a:solidFill>
                      <a:custDash>
                        <a:ds d="200000" sp="200000"/>
                      </a:custDash>
                      <a:miter lim="400000"/>
                    </a:lnB>
                    <a:noFill/>
                  </a:tcPr>
                </a:tc>
                <a:extLst>
                  <a:ext uri="{0D108BD9-81ED-4DB2-BD59-A6C34878D82A}">
                    <a16:rowId xmlns:a16="http://schemas.microsoft.com/office/drawing/2014/main" val="10002"/>
                  </a:ext>
                </a:extLst>
              </a:tr>
              <a:tr h="540461">
                <a:tc>
                  <a:txBody>
                    <a:bodyPr/>
                    <a:lstStyle/>
                    <a:p>
                      <a:pPr algn="l" defTabSz="825500">
                        <a:lnSpc>
                          <a:spcPct val="110000"/>
                        </a:lnSpc>
                        <a:spcBef>
                          <a:spcPts val="100"/>
                        </a:spcBef>
                        <a:defRPr sz="1800">
                          <a:solidFill>
                            <a:srgbClr val="000000"/>
                          </a:solidFill>
                          <a:effectLst/>
                        </a:defRPr>
                      </a:pPr>
                      <a:r>
                        <a:rPr sz="2400" dirty="0">
                          <a:latin typeface="Trebuchet MS" panose="020B0603020202020204" pitchFamily="34" charset="0"/>
                          <a:ea typeface="Trebuchet MS"/>
                          <a:cs typeface="Trebuchet MS"/>
                        </a:rPr>
                        <a:t>Economic Profile</a:t>
                      </a:r>
                    </a:p>
                  </a:txBody>
                  <a:tcPr marL="0" marR="0" marT="0" marB="0" anchor="ctr" horzOverflow="overflow">
                    <a:lnL w="12700">
                      <a:solidFill>
                        <a:srgbClr val="FFFFFF"/>
                      </a:solidFill>
                    </a:lnL>
                    <a:lnR w="12700">
                      <a:solidFill>
                        <a:srgbClr val="FFFFFF"/>
                      </a:solidFill>
                    </a:lnR>
                    <a:lnT>
                      <a:solidFill>
                        <a:schemeClr val="accent3"/>
                      </a:solidFill>
                      <a:custDash>
                        <a:ds d="200000" sp="200000"/>
                      </a:custDash>
                      <a:miter lim="400000"/>
                    </a:lnT>
                    <a:lnB>
                      <a:solidFill>
                        <a:schemeClr val="accent3"/>
                      </a:solidFill>
                      <a:custDash>
                        <a:ds d="200000" sp="200000"/>
                      </a:custDash>
                      <a:miter lim="400000"/>
                    </a:lnB>
                    <a:noFill/>
                  </a:tcPr>
                </a:tc>
                <a:tc>
                  <a:txBody>
                    <a:bodyPr/>
                    <a:lstStyle/>
                    <a:p>
                      <a:pPr algn="r" defTabSz="825500">
                        <a:lnSpc>
                          <a:spcPct val="110000"/>
                        </a:lnSpc>
                        <a:spcBef>
                          <a:spcPts val="100"/>
                        </a:spcBef>
                        <a:defRPr sz="1800">
                          <a:solidFill>
                            <a:srgbClr val="000000"/>
                          </a:solidFill>
                          <a:effectLst/>
                        </a:defRPr>
                      </a:pPr>
                      <a:r>
                        <a:rPr sz="2400" dirty="0">
                          <a:latin typeface="Trebuchet MS" panose="020B0603020202020204" pitchFamily="34" charset="0"/>
                          <a:ea typeface="Trebuchet MS"/>
                          <a:cs typeface="Trebuchet MS"/>
                        </a:rPr>
                        <a:t>6</a:t>
                      </a:r>
                      <a:r>
                        <a:rPr lang="en-GB" sz="2400" dirty="0">
                          <a:latin typeface="Trebuchet MS" panose="020B0603020202020204" pitchFamily="34" charset="0"/>
                          <a:ea typeface="Trebuchet MS"/>
                          <a:cs typeface="Trebuchet MS"/>
                        </a:rPr>
                        <a:t>-9</a:t>
                      </a:r>
                      <a:endParaRPr sz="2400" dirty="0">
                        <a:latin typeface="Trebuchet MS" panose="020B0603020202020204" pitchFamily="34" charset="0"/>
                        <a:ea typeface="Trebuchet MS"/>
                        <a:cs typeface="Trebuchet MS"/>
                      </a:endParaRPr>
                    </a:p>
                  </a:txBody>
                  <a:tcPr marL="0" marR="0" marT="0" marB="0" anchor="ctr" horzOverflow="overflow">
                    <a:lnL w="12700">
                      <a:solidFill>
                        <a:srgbClr val="FFFFFF"/>
                      </a:solidFill>
                    </a:lnL>
                    <a:lnR w="12700">
                      <a:solidFill>
                        <a:srgbClr val="FFFFFF"/>
                      </a:solidFill>
                    </a:lnR>
                    <a:lnT>
                      <a:solidFill>
                        <a:schemeClr val="accent3"/>
                      </a:solidFill>
                      <a:custDash>
                        <a:ds d="200000" sp="200000"/>
                      </a:custDash>
                      <a:miter lim="400000"/>
                    </a:lnT>
                    <a:lnB>
                      <a:solidFill>
                        <a:schemeClr val="accent3"/>
                      </a:solidFill>
                      <a:custDash>
                        <a:ds d="200000" sp="200000"/>
                      </a:custDash>
                      <a:miter lim="400000"/>
                    </a:lnB>
                    <a:noFill/>
                  </a:tcPr>
                </a:tc>
                <a:extLst>
                  <a:ext uri="{0D108BD9-81ED-4DB2-BD59-A6C34878D82A}">
                    <a16:rowId xmlns:a16="http://schemas.microsoft.com/office/drawing/2014/main" val="10003"/>
                  </a:ext>
                </a:extLst>
              </a:tr>
              <a:tr h="540461">
                <a:tc>
                  <a:txBody>
                    <a:bodyPr/>
                    <a:lstStyle/>
                    <a:p>
                      <a:pPr algn="l" defTabSz="825500">
                        <a:lnSpc>
                          <a:spcPct val="110000"/>
                        </a:lnSpc>
                        <a:spcBef>
                          <a:spcPts val="100"/>
                        </a:spcBef>
                        <a:defRPr sz="1800">
                          <a:solidFill>
                            <a:srgbClr val="000000"/>
                          </a:solidFill>
                          <a:effectLst/>
                        </a:defRPr>
                      </a:pPr>
                      <a:r>
                        <a:rPr sz="2400" dirty="0">
                          <a:latin typeface="Trebuchet MS" panose="020B0603020202020204" pitchFamily="34" charset="0"/>
                          <a:ea typeface="Trebuchet MS"/>
                          <a:cs typeface="Trebuchet MS"/>
                        </a:rPr>
                        <a:t>Function Group Allocation - 202</a:t>
                      </a:r>
                      <a:r>
                        <a:rPr lang="en-US" sz="2400" dirty="0">
                          <a:latin typeface="Trebuchet MS" panose="020B0603020202020204" pitchFamily="34" charset="0"/>
                          <a:ea typeface="Trebuchet MS"/>
                          <a:cs typeface="Trebuchet MS"/>
                        </a:rPr>
                        <a:t>1</a:t>
                      </a:r>
                      <a:endParaRPr sz="2400" dirty="0">
                        <a:latin typeface="Trebuchet MS" panose="020B0603020202020204" pitchFamily="34" charset="0"/>
                        <a:ea typeface="Trebuchet MS"/>
                        <a:cs typeface="Trebuchet MS"/>
                      </a:endParaRPr>
                    </a:p>
                  </a:txBody>
                  <a:tcPr marL="0" marR="0" marT="0" marB="0" anchor="ctr" horzOverflow="overflow">
                    <a:lnL w="12700">
                      <a:solidFill>
                        <a:srgbClr val="FFFFFF"/>
                      </a:solidFill>
                    </a:lnL>
                    <a:lnR w="12700" cap="flat" cmpd="sng" algn="ctr">
                      <a:solidFill>
                        <a:srgbClr val="FFFFFF"/>
                      </a:solidFill>
                      <a:prstDash val="solid"/>
                      <a:round/>
                      <a:headEnd type="none" w="med" len="med"/>
                      <a:tailEnd type="none" w="med" len="med"/>
                    </a:lnR>
                    <a:lnT w="9525" cap="flat" cmpd="sng" algn="ctr">
                      <a:solidFill>
                        <a:schemeClr val="accent3"/>
                      </a:solidFill>
                      <a:custDash>
                        <a:ds d="200000" sp="200000"/>
                      </a:custDash>
                      <a:miter lim="400000"/>
                      <a:headEnd type="none" w="med" len="med"/>
                      <a:tailEnd type="none" w="med" len="med"/>
                    </a:lnT>
                    <a:lnB>
                      <a:solidFill>
                        <a:schemeClr val="accent3"/>
                      </a:solidFill>
                      <a:custDash>
                        <a:ds d="200000" sp="200000"/>
                      </a:custDash>
                      <a:miter lim="400000"/>
                    </a:lnB>
                    <a:noFill/>
                  </a:tcPr>
                </a:tc>
                <a:tc>
                  <a:txBody>
                    <a:bodyPr/>
                    <a:lstStyle/>
                    <a:p>
                      <a:pPr algn="r" defTabSz="825500">
                        <a:lnSpc>
                          <a:spcPct val="110000"/>
                        </a:lnSpc>
                        <a:spcBef>
                          <a:spcPts val="100"/>
                        </a:spcBef>
                        <a:defRPr sz="1800">
                          <a:solidFill>
                            <a:srgbClr val="000000"/>
                          </a:solidFill>
                          <a:effectLst/>
                        </a:defRPr>
                      </a:pPr>
                      <a:r>
                        <a:rPr lang="en-GB" sz="2400" dirty="0">
                          <a:latin typeface="Trebuchet MS" panose="020B0603020202020204" pitchFamily="34" charset="0"/>
                          <a:ea typeface="Trebuchet MS"/>
                          <a:cs typeface="Trebuchet MS"/>
                        </a:rPr>
                        <a:t>10</a:t>
                      </a:r>
                      <a:r>
                        <a:rPr sz="2400" dirty="0">
                          <a:latin typeface="Trebuchet MS" panose="020B0603020202020204" pitchFamily="34" charset="0"/>
                          <a:ea typeface="Trebuchet MS"/>
                          <a:cs typeface="Trebuchet MS"/>
                        </a:rPr>
                        <a:t>-</a:t>
                      </a:r>
                      <a:r>
                        <a:rPr lang="en-US" sz="2400" dirty="0">
                          <a:latin typeface="Trebuchet MS" panose="020B0603020202020204" pitchFamily="34" charset="0"/>
                          <a:ea typeface="Trebuchet MS"/>
                          <a:cs typeface="Trebuchet MS"/>
                        </a:rPr>
                        <a:t>11</a:t>
                      </a:r>
                      <a:endParaRPr sz="2400" dirty="0">
                        <a:latin typeface="Trebuchet MS" panose="020B0603020202020204" pitchFamily="34" charset="0"/>
                        <a:ea typeface="Trebuchet MS"/>
                        <a:cs typeface="Trebuchet MS"/>
                      </a:endParaRPr>
                    </a:p>
                  </a:txBody>
                  <a:tcPr marL="0" marR="0" marT="0" marB="0" anchor="ctr" horzOverflow="overflow">
                    <a:lnL w="12700" cap="flat" cmpd="sng" algn="ctr">
                      <a:solidFill>
                        <a:srgbClr val="FFFFFF"/>
                      </a:solidFill>
                      <a:prstDash val="solid"/>
                      <a:round/>
                      <a:headEnd type="none" w="med" len="med"/>
                      <a:tailEnd type="none" w="med" len="med"/>
                    </a:lnL>
                    <a:lnR w="12700">
                      <a:solidFill>
                        <a:srgbClr val="FFFFFF"/>
                      </a:solidFill>
                    </a:lnR>
                    <a:lnT w="9525" cap="flat" cmpd="sng" algn="ctr">
                      <a:solidFill>
                        <a:schemeClr val="accent3"/>
                      </a:solidFill>
                      <a:custDash>
                        <a:ds d="200000" sp="200000"/>
                      </a:custDash>
                      <a:miter lim="400000"/>
                      <a:headEnd type="none" w="med" len="med"/>
                      <a:tailEnd type="none" w="med" len="med"/>
                    </a:lnT>
                    <a:lnB>
                      <a:solidFill>
                        <a:schemeClr val="accent3"/>
                      </a:solidFill>
                      <a:custDash>
                        <a:ds d="200000" sp="200000"/>
                      </a:custDash>
                      <a:miter lim="400000"/>
                    </a:lnB>
                    <a:noFill/>
                  </a:tcPr>
                </a:tc>
                <a:extLst>
                  <a:ext uri="{0D108BD9-81ED-4DB2-BD59-A6C34878D82A}">
                    <a16:rowId xmlns:a16="http://schemas.microsoft.com/office/drawing/2014/main" val="10005"/>
                  </a:ext>
                </a:extLst>
              </a:tr>
              <a:tr h="540461">
                <a:tc>
                  <a:txBody>
                    <a:bodyPr/>
                    <a:lstStyle/>
                    <a:p>
                      <a:pPr algn="l" defTabSz="825500">
                        <a:lnSpc>
                          <a:spcPct val="110000"/>
                        </a:lnSpc>
                        <a:spcBef>
                          <a:spcPts val="100"/>
                        </a:spcBef>
                        <a:defRPr sz="2400">
                          <a:solidFill>
                            <a:srgbClr val="000000"/>
                          </a:solidFill>
                          <a:effectLst/>
                          <a:latin typeface="Trebuchet MS"/>
                          <a:ea typeface="Trebuchet MS"/>
                          <a:cs typeface="Trebuchet MS"/>
                        </a:defRPr>
                      </a:pPr>
                      <a:r>
                        <a:rPr lang="en-US" sz="2400" dirty="0">
                          <a:latin typeface="Trebuchet MS" panose="020B0603020202020204" pitchFamily="34" charset="0"/>
                        </a:rPr>
                        <a:t>Budget Performance Summary</a:t>
                      </a:r>
                      <a:endParaRPr sz="2400" dirty="0">
                        <a:latin typeface="Trebuchet MS" panose="020B0603020202020204" pitchFamily="34" charset="0"/>
                      </a:endParaRPr>
                    </a:p>
                  </a:txBody>
                  <a:tcPr marL="0" marR="0" marT="0" marB="0" anchor="ctr" horzOverflow="overflow">
                    <a:lnL w="12700">
                      <a:solidFill>
                        <a:srgbClr val="FFFFFF"/>
                      </a:solidFill>
                    </a:lnL>
                    <a:lnR w="12700" cap="flat" cmpd="sng" algn="ctr">
                      <a:solidFill>
                        <a:srgbClr val="FFFFFF"/>
                      </a:solidFill>
                      <a:prstDash val="solid"/>
                      <a:round/>
                      <a:headEnd type="none" w="med" len="med"/>
                      <a:tailEnd type="none" w="med" len="med"/>
                    </a:lnR>
                    <a:lnT w="9525" cap="flat" cmpd="sng" algn="ctr">
                      <a:solidFill>
                        <a:schemeClr val="accent3"/>
                      </a:solidFill>
                      <a:custDash>
                        <a:ds d="200000" sp="200000"/>
                      </a:custDash>
                      <a:miter lim="400000"/>
                      <a:headEnd type="none" w="med" len="med"/>
                      <a:tailEnd type="none" w="med" len="med"/>
                    </a:lnT>
                    <a:lnB w="9525" cap="flat" cmpd="sng" algn="ctr">
                      <a:solidFill>
                        <a:schemeClr val="accent3"/>
                      </a:solidFill>
                      <a:custDash>
                        <a:ds d="200000" sp="200000"/>
                      </a:custDash>
                      <a:miter lim="400000"/>
                      <a:headEnd type="none" w="med" len="med"/>
                      <a:tailEnd type="none" w="med" len="med"/>
                    </a:lnB>
                    <a:noFill/>
                  </a:tcPr>
                </a:tc>
                <a:tc>
                  <a:txBody>
                    <a:bodyPr/>
                    <a:lstStyle/>
                    <a:p>
                      <a:pPr algn="r" defTabSz="825500">
                        <a:lnSpc>
                          <a:spcPct val="110000"/>
                        </a:lnSpc>
                        <a:spcBef>
                          <a:spcPts val="100"/>
                        </a:spcBef>
                        <a:defRPr sz="1800">
                          <a:solidFill>
                            <a:srgbClr val="000000"/>
                          </a:solidFill>
                          <a:effectLst/>
                        </a:defRPr>
                      </a:pPr>
                      <a:r>
                        <a:rPr lang="en-US" sz="2400" dirty="0">
                          <a:latin typeface="Trebuchet MS" panose="020B0603020202020204" pitchFamily="34" charset="0"/>
                          <a:ea typeface="Trebuchet MS"/>
                          <a:cs typeface="Trebuchet MS"/>
                        </a:rPr>
                        <a:t>12-15</a:t>
                      </a:r>
                      <a:endParaRPr sz="2400" dirty="0">
                        <a:latin typeface="Trebuchet MS" panose="020B0603020202020204" pitchFamily="34" charset="0"/>
                        <a:ea typeface="Trebuchet MS"/>
                        <a:cs typeface="Trebuchet MS"/>
                      </a:endParaRPr>
                    </a:p>
                  </a:txBody>
                  <a:tcPr marL="0" marR="0" marT="0" marB="0" anchor="ctr" horzOverflow="overflow">
                    <a:lnL w="12700" cap="flat" cmpd="sng" algn="ctr">
                      <a:solidFill>
                        <a:srgbClr val="FFFFFF"/>
                      </a:solidFill>
                      <a:prstDash val="solid"/>
                      <a:round/>
                      <a:headEnd type="none" w="med" len="med"/>
                      <a:tailEnd type="none" w="med" len="med"/>
                    </a:lnL>
                    <a:lnR w="12700">
                      <a:solidFill>
                        <a:srgbClr val="FFFFFF"/>
                      </a:solidFill>
                    </a:lnR>
                    <a:lnT w="9525" cap="flat" cmpd="sng" algn="ctr">
                      <a:solidFill>
                        <a:schemeClr val="accent3"/>
                      </a:solidFill>
                      <a:custDash>
                        <a:ds d="200000" sp="200000"/>
                      </a:custDash>
                      <a:miter lim="400000"/>
                      <a:headEnd type="none" w="med" len="med"/>
                      <a:tailEnd type="none" w="med" len="med"/>
                    </a:lnT>
                    <a:lnB w="9525" cap="flat" cmpd="sng" algn="ctr">
                      <a:solidFill>
                        <a:schemeClr val="accent3"/>
                      </a:solidFill>
                      <a:custDash>
                        <a:ds d="200000" sp="200000"/>
                      </a:custDash>
                      <a:miter lim="400000"/>
                      <a:headEnd type="none" w="med" len="med"/>
                      <a:tailEnd type="none" w="med" len="med"/>
                    </a:lnB>
                    <a:noFill/>
                  </a:tcPr>
                </a:tc>
                <a:extLst>
                  <a:ext uri="{0D108BD9-81ED-4DB2-BD59-A6C34878D82A}">
                    <a16:rowId xmlns:a16="http://schemas.microsoft.com/office/drawing/2014/main" val="2050827592"/>
                  </a:ext>
                </a:extLst>
              </a:tr>
              <a:tr h="540461">
                <a:tc>
                  <a:txBody>
                    <a:bodyPr/>
                    <a:lstStyle/>
                    <a:p>
                      <a:pPr algn="l" defTabSz="825500">
                        <a:lnSpc>
                          <a:spcPct val="110000"/>
                        </a:lnSpc>
                        <a:spcBef>
                          <a:spcPts val="100"/>
                        </a:spcBef>
                        <a:defRPr sz="2400">
                          <a:solidFill>
                            <a:srgbClr val="000000"/>
                          </a:solidFill>
                          <a:effectLst/>
                          <a:latin typeface="Trebuchet MS"/>
                          <a:ea typeface="Trebuchet MS"/>
                          <a:cs typeface="Trebuchet MS"/>
                        </a:defRPr>
                      </a:pPr>
                      <a:r>
                        <a:rPr sz="2400" dirty="0">
                          <a:latin typeface="Trebuchet MS" panose="020B0603020202020204" pitchFamily="34" charset="0"/>
                        </a:rPr>
                        <a:t>Budget Performance Highlights</a:t>
                      </a:r>
                    </a:p>
                  </a:txBody>
                  <a:tcPr marL="0" marR="0" marT="0" marB="0" anchor="ctr" horzOverflow="overflow">
                    <a:lnL w="12700">
                      <a:solidFill>
                        <a:srgbClr val="FFFFFF"/>
                      </a:solidFill>
                    </a:lnL>
                    <a:lnR w="12700">
                      <a:solidFill>
                        <a:srgbClr val="FFFFFF"/>
                      </a:solidFill>
                    </a:lnR>
                    <a:lnT>
                      <a:solidFill>
                        <a:schemeClr val="accent3"/>
                      </a:solidFill>
                      <a:custDash>
                        <a:ds d="200000" sp="200000"/>
                      </a:custDash>
                      <a:miter lim="400000"/>
                    </a:lnT>
                    <a:lnB>
                      <a:solidFill>
                        <a:schemeClr val="accent3"/>
                      </a:solidFill>
                      <a:custDash>
                        <a:ds d="200000" sp="200000"/>
                      </a:custDash>
                      <a:miter lim="400000"/>
                    </a:lnB>
                    <a:noFill/>
                  </a:tcPr>
                </a:tc>
                <a:tc>
                  <a:txBody>
                    <a:bodyPr/>
                    <a:lstStyle/>
                    <a:p>
                      <a:pPr algn="r" defTabSz="825500">
                        <a:lnSpc>
                          <a:spcPct val="110000"/>
                        </a:lnSpc>
                        <a:spcBef>
                          <a:spcPts val="100"/>
                        </a:spcBef>
                        <a:defRPr sz="1800">
                          <a:solidFill>
                            <a:srgbClr val="000000"/>
                          </a:solidFill>
                          <a:effectLst/>
                        </a:defRPr>
                      </a:pPr>
                      <a:r>
                        <a:rPr lang="en-US" sz="2400" dirty="0">
                          <a:latin typeface="Trebuchet MS" panose="020B0603020202020204" pitchFamily="34" charset="0"/>
                          <a:ea typeface="Trebuchet MS"/>
                          <a:cs typeface="Trebuchet MS"/>
                        </a:rPr>
                        <a:t>16</a:t>
                      </a:r>
                      <a:r>
                        <a:rPr sz="2400" dirty="0">
                          <a:latin typeface="Trebuchet MS" panose="020B0603020202020204" pitchFamily="34" charset="0"/>
                          <a:ea typeface="Trebuchet MS"/>
                          <a:cs typeface="Trebuchet MS"/>
                        </a:rPr>
                        <a:t>-</a:t>
                      </a:r>
                      <a:r>
                        <a:rPr lang="en-US" sz="2400" dirty="0">
                          <a:latin typeface="Trebuchet MS" panose="020B0603020202020204" pitchFamily="34" charset="0"/>
                          <a:ea typeface="Trebuchet MS"/>
                          <a:cs typeface="Trebuchet MS"/>
                        </a:rPr>
                        <a:t>19</a:t>
                      </a:r>
                      <a:endParaRPr sz="2400" dirty="0">
                        <a:latin typeface="Trebuchet MS" panose="020B0603020202020204" pitchFamily="34" charset="0"/>
                        <a:ea typeface="Trebuchet MS"/>
                        <a:cs typeface="Trebuchet MS"/>
                      </a:endParaRPr>
                    </a:p>
                  </a:txBody>
                  <a:tcPr marL="0" marR="0" marT="0" marB="0" anchor="ctr" horzOverflow="overflow">
                    <a:lnL w="12700">
                      <a:solidFill>
                        <a:srgbClr val="FFFFFF"/>
                      </a:solidFill>
                    </a:lnL>
                    <a:lnR w="12700">
                      <a:solidFill>
                        <a:srgbClr val="FFFFFF"/>
                      </a:solidFill>
                    </a:lnR>
                    <a:lnT>
                      <a:solidFill>
                        <a:schemeClr val="accent3"/>
                      </a:solidFill>
                      <a:custDash>
                        <a:ds d="200000" sp="200000"/>
                      </a:custDash>
                      <a:miter lim="400000"/>
                    </a:lnT>
                    <a:lnB>
                      <a:solidFill>
                        <a:schemeClr val="accent3"/>
                      </a:solidFill>
                      <a:custDash>
                        <a:ds d="200000" sp="200000"/>
                      </a:custDash>
                      <a:miter lim="400000"/>
                    </a:lnB>
                    <a:noFill/>
                  </a:tcPr>
                </a:tc>
                <a:extLst>
                  <a:ext uri="{0D108BD9-81ED-4DB2-BD59-A6C34878D82A}">
                    <a16:rowId xmlns:a16="http://schemas.microsoft.com/office/drawing/2014/main" val="10006"/>
                  </a:ext>
                </a:extLst>
              </a:tr>
              <a:tr h="540461">
                <a:tc>
                  <a:txBody>
                    <a:bodyPr/>
                    <a:lstStyle/>
                    <a:p>
                      <a:pPr algn="l" defTabSz="825500">
                        <a:lnSpc>
                          <a:spcPct val="110000"/>
                        </a:lnSpc>
                        <a:spcBef>
                          <a:spcPts val="100"/>
                        </a:spcBef>
                        <a:defRPr sz="1800">
                          <a:solidFill>
                            <a:srgbClr val="000000"/>
                          </a:solidFill>
                          <a:effectLst/>
                        </a:defRPr>
                      </a:pPr>
                      <a:r>
                        <a:rPr sz="2400" dirty="0">
                          <a:latin typeface="Trebuchet MS" panose="020B0603020202020204" pitchFamily="34" charset="0"/>
                          <a:ea typeface="Trebuchet MS"/>
                          <a:cs typeface="Trebuchet MS"/>
                        </a:rPr>
                        <a:t>Capital Expenditure Highlights</a:t>
                      </a:r>
                    </a:p>
                  </a:txBody>
                  <a:tcPr marL="0" marR="0" marT="0" marB="0" anchor="ctr" horzOverflow="overflow">
                    <a:lnL w="12700">
                      <a:solidFill>
                        <a:srgbClr val="FFFFFF"/>
                      </a:solidFill>
                    </a:lnL>
                    <a:lnR w="12700">
                      <a:solidFill>
                        <a:srgbClr val="FFFFFF"/>
                      </a:solidFill>
                    </a:lnR>
                    <a:lnT>
                      <a:solidFill>
                        <a:schemeClr val="accent3"/>
                      </a:solidFill>
                      <a:custDash>
                        <a:ds d="200000" sp="200000"/>
                      </a:custDash>
                      <a:miter lim="400000"/>
                    </a:lnT>
                    <a:lnB>
                      <a:solidFill>
                        <a:schemeClr val="accent3"/>
                      </a:solidFill>
                      <a:custDash>
                        <a:ds d="200000" sp="200000"/>
                      </a:custDash>
                      <a:miter lim="400000"/>
                    </a:lnB>
                    <a:noFill/>
                  </a:tcPr>
                </a:tc>
                <a:tc>
                  <a:txBody>
                    <a:bodyPr/>
                    <a:lstStyle/>
                    <a:p>
                      <a:pPr algn="r" defTabSz="825500">
                        <a:lnSpc>
                          <a:spcPct val="110000"/>
                        </a:lnSpc>
                        <a:spcBef>
                          <a:spcPts val="100"/>
                        </a:spcBef>
                        <a:defRPr sz="2400">
                          <a:solidFill>
                            <a:srgbClr val="000000"/>
                          </a:solidFill>
                          <a:effectLst/>
                          <a:latin typeface="Trebuchet MS"/>
                          <a:ea typeface="Trebuchet MS"/>
                          <a:cs typeface="Trebuchet MS"/>
                        </a:defRPr>
                      </a:pPr>
                      <a:r>
                        <a:rPr lang="en-GB" sz="2400" dirty="0">
                          <a:latin typeface="Trebuchet MS" panose="020B0603020202020204" pitchFamily="34" charset="0"/>
                        </a:rPr>
                        <a:t>20</a:t>
                      </a:r>
                      <a:r>
                        <a:rPr sz="2400" dirty="0">
                          <a:latin typeface="Trebuchet MS" panose="020B0603020202020204" pitchFamily="34" charset="0"/>
                        </a:rPr>
                        <a:t>-</a:t>
                      </a:r>
                      <a:r>
                        <a:rPr lang="en-GB" sz="2400" dirty="0">
                          <a:latin typeface="Trebuchet MS" panose="020B0603020202020204" pitchFamily="34" charset="0"/>
                        </a:rPr>
                        <a:t>22</a:t>
                      </a:r>
                      <a:endParaRPr sz="2400" dirty="0">
                        <a:latin typeface="Trebuchet MS" panose="020B0603020202020204" pitchFamily="34" charset="0"/>
                      </a:endParaRPr>
                    </a:p>
                  </a:txBody>
                  <a:tcPr marL="0" marR="0" marT="0" marB="0" anchor="ctr" horzOverflow="overflow">
                    <a:lnL w="12700">
                      <a:solidFill>
                        <a:srgbClr val="FFFFFF"/>
                      </a:solidFill>
                    </a:lnL>
                    <a:lnR w="12700">
                      <a:solidFill>
                        <a:srgbClr val="FFFFFF"/>
                      </a:solidFill>
                    </a:lnR>
                    <a:lnT>
                      <a:solidFill>
                        <a:schemeClr val="accent3"/>
                      </a:solidFill>
                      <a:custDash>
                        <a:ds d="200000" sp="200000"/>
                      </a:custDash>
                      <a:miter lim="400000"/>
                    </a:lnT>
                    <a:lnB>
                      <a:solidFill>
                        <a:schemeClr val="accent3"/>
                      </a:solidFill>
                      <a:custDash>
                        <a:ds d="200000" sp="200000"/>
                      </a:custDash>
                      <a:miter lim="400000"/>
                    </a:lnB>
                    <a:noFill/>
                  </a:tcPr>
                </a:tc>
                <a:extLst>
                  <a:ext uri="{0D108BD9-81ED-4DB2-BD59-A6C34878D82A}">
                    <a16:rowId xmlns:a16="http://schemas.microsoft.com/office/drawing/2014/main" val="10007"/>
                  </a:ext>
                </a:extLst>
              </a:tr>
            </a:tbl>
          </a:graphicData>
        </a:graphic>
      </p:graphicFrame>
    </p:spTree>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7" name="Approved Budget Overview"/>
          <p:cNvSpPr txBox="1"/>
          <p:nvPr/>
        </p:nvSpPr>
        <p:spPr>
          <a:xfrm>
            <a:off x="8756891" y="6588594"/>
            <a:ext cx="11074774" cy="891539"/>
          </a:xfrm>
          <a:prstGeom prst="rect">
            <a:avLst/>
          </a:prstGeom>
          <a:ln w="38100">
            <a:solidFill>
              <a:schemeClr val="accent3"/>
            </a:solidFill>
            <a:miter lim="400000"/>
          </a:ln>
          <a:effectLst>
            <a:outerShdw blurRad="12700" dist="12700" rotWithShape="0">
              <a:srgbClr val="000000">
                <a:alpha val="1508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21918" tIns="121918" rIns="121918" bIns="121918" anchor="ctr">
            <a:spAutoFit/>
          </a:bodyPr>
          <a:lstStyle/>
          <a:p>
            <a:r>
              <a:rPr dirty="0"/>
              <a:t>Capex Performance Highlights</a:t>
            </a:r>
          </a:p>
        </p:txBody>
      </p:sp>
      <p:sp>
        <p:nvSpPr>
          <p:cNvPr id="8" name="Rectangle 7">
            <a:extLst>
              <a:ext uri="{FF2B5EF4-FFF2-40B4-BE49-F238E27FC236}">
                <a16:creationId xmlns:a16="http://schemas.microsoft.com/office/drawing/2014/main" id="{00E443AE-4A5E-40D9-A89B-E7EF111050C9}"/>
              </a:ext>
            </a:extLst>
          </p:cNvPr>
          <p:cNvSpPr/>
          <p:nvPr/>
        </p:nvSpPr>
        <p:spPr>
          <a:xfrm>
            <a:off x="8775941" y="7649029"/>
            <a:ext cx="826321" cy="330969"/>
          </a:xfrm>
          <a:prstGeom prst="rect">
            <a:avLst/>
          </a:prstGeom>
          <a:solidFill>
            <a:srgbClr val="DCDCD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9" name="Rectangle 8">
            <a:extLst>
              <a:ext uri="{FF2B5EF4-FFF2-40B4-BE49-F238E27FC236}">
                <a16:creationId xmlns:a16="http://schemas.microsoft.com/office/drawing/2014/main" id="{3B39BF31-5354-4703-96B0-770D30764CBD}"/>
              </a:ext>
            </a:extLst>
          </p:cNvPr>
          <p:cNvSpPr/>
          <p:nvPr/>
        </p:nvSpPr>
        <p:spPr>
          <a:xfrm>
            <a:off x="9639504" y="7649029"/>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0" name="Rectangle 9">
            <a:extLst>
              <a:ext uri="{FF2B5EF4-FFF2-40B4-BE49-F238E27FC236}">
                <a16:creationId xmlns:a16="http://schemas.microsoft.com/office/drawing/2014/main" id="{653853DF-777E-4360-B2A5-52BE0FE4B1D9}"/>
              </a:ext>
            </a:extLst>
          </p:cNvPr>
          <p:cNvSpPr/>
          <p:nvPr/>
        </p:nvSpPr>
        <p:spPr>
          <a:xfrm>
            <a:off x="10503067" y="7649029"/>
            <a:ext cx="826321" cy="330969"/>
          </a:xfrm>
          <a:prstGeom prst="rect">
            <a:avLst/>
          </a:prstGeom>
          <a:solidFill>
            <a:srgbClr val="DCDCD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1" name="Rectangle 10">
            <a:extLst>
              <a:ext uri="{FF2B5EF4-FFF2-40B4-BE49-F238E27FC236}">
                <a16:creationId xmlns:a16="http://schemas.microsoft.com/office/drawing/2014/main" id="{8D6789FD-5526-48FC-B424-97390BE0D2D8}"/>
              </a:ext>
            </a:extLst>
          </p:cNvPr>
          <p:cNvSpPr/>
          <p:nvPr/>
        </p:nvSpPr>
        <p:spPr>
          <a:xfrm>
            <a:off x="11366630" y="7649029"/>
            <a:ext cx="826321" cy="330969"/>
          </a:xfrm>
          <a:prstGeom prst="rect">
            <a:avLst/>
          </a:prstGeom>
          <a:solidFill>
            <a:srgbClr val="DCDCD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2" name="Rectangle 11">
            <a:extLst>
              <a:ext uri="{FF2B5EF4-FFF2-40B4-BE49-F238E27FC236}">
                <a16:creationId xmlns:a16="http://schemas.microsoft.com/office/drawing/2014/main" id="{E90ABA4D-84EC-4D99-8432-CBB9759B6C08}"/>
              </a:ext>
            </a:extLst>
          </p:cNvPr>
          <p:cNvSpPr/>
          <p:nvPr/>
        </p:nvSpPr>
        <p:spPr>
          <a:xfrm>
            <a:off x="12230193" y="7649029"/>
            <a:ext cx="826321" cy="330969"/>
          </a:xfrm>
          <a:prstGeom prst="rect">
            <a:avLst/>
          </a:prstGeom>
          <a:solidFill>
            <a:srgbClr val="DCDCD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3" name="Rectangle 12">
            <a:extLst>
              <a:ext uri="{FF2B5EF4-FFF2-40B4-BE49-F238E27FC236}">
                <a16:creationId xmlns:a16="http://schemas.microsoft.com/office/drawing/2014/main" id="{59295221-7D45-4223-9F66-BFDA6DDAB5A6}"/>
              </a:ext>
            </a:extLst>
          </p:cNvPr>
          <p:cNvSpPr/>
          <p:nvPr/>
        </p:nvSpPr>
        <p:spPr>
          <a:xfrm>
            <a:off x="13093756" y="7649029"/>
            <a:ext cx="826321" cy="330969"/>
          </a:xfrm>
          <a:prstGeom prst="rect">
            <a:avLst/>
          </a:prstGeom>
          <a:solidFill>
            <a:srgbClr val="DCDCD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4" name="Rectangle 13">
            <a:extLst>
              <a:ext uri="{FF2B5EF4-FFF2-40B4-BE49-F238E27FC236}">
                <a16:creationId xmlns:a16="http://schemas.microsoft.com/office/drawing/2014/main" id="{69358124-6554-4A39-A0D1-D514316F85F8}"/>
              </a:ext>
            </a:extLst>
          </p:cNvPr>
          <p:cNvSpPr/>
          <p:nvPr/>
        </p:nvSpPr>
        <p:spPr>
          <a:xfrm>
            <a:off x="13957319" y="7649029"/>
            <a:ext cx="826321" cy="330969"/>
          </a:xfrm>
          <a:prstGeom prst="rect">
            <a:avLst/>
          </a:prstGeom>
          <a:solidFill>
            <a:srgbClr val="00AEEF"/>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5" name="Rectangle 14">
            <a:extLst>
              <a:ext uri="{FF2B5EF4-FFF2-40B4-BE49-F238E27FC236}">
                <a16:creationId xmlns:a16="http://schemas.microsoft.com/office/drawing/2014/main" id="{2FD5FE42-C5AA-4E26-BF53-5F9D05D80B03}"/>
              </a:ext>
            </a:extLst>
          </p:cNvPr>
          <p:cNvSpPr/>
          <p:nvPr/>
        </p:nvSpPr>
        <p:spPr>
          <a:xfrm>
            <a:off x="14820882" y="7649029"/>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6" name="Rectangle 15">
            <a:extLst>
              <a:ext uri="{FF2B5EF4-FFF2-40B4-BE49-F238E27FC236}">
                <a16:creationId xmlns:a16="http://schemas.microsoft.com/office/drawing/2014/main" id="{4A43212E-9F97-47C8-BA59-849664D3D414}"/>
              </a:ext>
            </a:extLst>
          </p:cNvPr>
          <p:cNvSpPr/>
          <p:nvPr/>
        </p:nvSpPr>
        <p:spPr>
          <a:xfrm>
            <a:off x="15684445" y="7649029"/>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7" name="Rectangle 16">
            <a:extLst>
              <a:ext uri="{FF2B5EF4-FFF2-40B4-BE49-F238E27FC236}">
                <a16:creationId xmlns:a16="http://schemas.microsoft.com/office/drawing/2014/main" id="{9299B1F1-FDD4-4040-92CB-615C779BD66E}"/>
              </a:ext>
            </a:extLst>
          </p:cNvPr>
          <p:cNvSpPr/>
          <p:nvPr/>
        </p:nvSpPr>
        <p:spPr>
          <a:xfrm>
            <a:off x="16548008" y="7649029"/>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8" name="Rectangle 17">
            <a:extLst>
              <a:ext uri="{FF2B5EF4-FFF2-40B4-BE49-F238E27FC236}">
                <a16:creationId xmlns:a16="http://schemas.microsoft.com/office/drawing/2014/main" id="{A0741652-14DE-4289-A6C9-384FCF36BBC3}"/>
              </a:ext>
            </a:extLst>
          </p:cNvPr>
          <p:cNvSpPr/>
          <p:nvPr/>
        </p:nvSpPr>
        <p:spPr>
          <a:xfrm>
            <a:off x="17411571" y="7649029"/>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9" name="Rectangle 18">
            <a:extLst>
              <a:ext uri="{FF2B5EF4-FFF2-40B4-BE49-F238E27FC236}">
                <a16:creationId xmlns:a16="http://schemas.microsoft.com/office/drawing/2014/main" id="{EA00D3A5-9EE6-40C7-8C68-FA5EF6A83815}"/>
              </a:ext>
            </a:extLst>
          </p:cNvPr>
          <p:cNvSpPr/>
          <p:nvPr/>
        </p:nvSpPr>
        <p:spPr>
          <a:xfrm>
            <a:off x="18275134" y="7649029"/>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20" name="Rectangle 19">
            <a:extLst>
              <a:ext uri="{FF2B5EF4-FFF2-40B4-BE49-F238E27FC236}">
                <a16:creationId xmlns:a16="http://schemas.microsoft.com/office/drawing/2014/main" id="{AEFB4434-47C2-4384-998F-379A4152DA9F}"/>
              </a:ext>
            </a:extLst>
          </p:cNvPr>
          <p:cNvSpPr/>
          <p:nvPr/>
        </p:nvSpPr>
        <p:spPr>
          <a:xfrm>
            <a:off x="19138694" y="7649029"/>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21" name="Approved Budget Overview">
            <a:extLst>
              <a:ext uri="{FF2B5EF4-FFF2-40B4-BE49-F238E27FC236}">
                <a16:creationId xmlns:a16="http://schemas.microsoft.com/office/drawing/2014/main" id="{0E628599-AAB5-4829-8CD2-5A9CF32097AC}"/>
              </a:ext>
            </a:extLst>
          </p:cNvPr>
          <p:cNvSpPr txBox="1"/>
          <p:nvPr/>
        </p:nvSpPr>
        <p:spPr>
          <a:xfrm>
            <a:off x="5811131" y="6588594"/>
            <a:ext cx="3108960" cy="891539"/>
          </a:xfrm>
          <a:prstGeom prst="rect">
            <a:avLst/>
          </a:prstGeom>
          <a:solidFill>
            <a:srgbClr val="1A77B9"/>
          </a:solidFill>
          <a:ln w="38100">
            <a:solidFill>
              <a:schemeClr val="accent3"/>
            </a:solidFill>
            <a:miter lim="400000"/>
          </a:ln>
          <a:effectLst>
            <a:outerShdw blurRad="12700" dist="12700" rotWithShape="0">
              <a:srgbClr val="000000">
                <a:alpha val="27675"/>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121918" tIns="121918" rIns="121918" bIns="121918" anchor="ctr">
            <a:spAutoFit/>
          </a:bodyPr>
          <a:lstStyle/>
          <a:p>
            <a:endParaRPr dirty="0"/>
          </a:p>
        </p:txBody>
      </p:sp>
      <p:sp>
        <p:nvSpPr>
          <p:cNvPr id="22" name="2019">
            <a:extLst>
              <a:ext uri="{FF2B5EF4-FFF2-40B4-BE49-F238E27FC236}">
                <a16:creationId xmlns:a16="http://schemas.microsoft.com/office/drawing/2014/main" id="{A4E1F68A-5840-4E24-AB70-5914D8555D51}"/>
              </a:ext>
            </a:extLst>
          </p:cNvPr>
          <p:cNvSpPr txBox="1"/>
          <p:nvPr/>
        </p:nvSpPr>
        <p:spPr>
          <a:xfrm>
            <a:off x="5649830" y="6566609"/>
            <a:ext cx="3421081" cy="984885"/>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defRPr sz="6400">
                <a:solidFill>
                  <a:schemeClr val="accent4"/>
                </a:solidFill>
                <a:effectLst>
                  <a:outerShdw blurRad="12700" dist="25400" dir="18900000" rotWithShape="0">
                    <a:srgbClr val="000000"/>
                  </a:outerShdw>
                </a:effectLst>
              </a:defRPr>
            </a:lvl1pPr>
          </a:lstStyle>
          <a:p>
            <a:r>
              <a:rPr lang="en-US" dirty="0">
                <a:solidFill>
                  <a:schemeClr val="bg1"/>
                </a:solidFill>
              </a:rPr>
              <a:t>Q1 2021</a:t>
            </a:r>
            <a:endParaRPr dirty="0">
              <a:solidFill>
                <a:schemeClr val="bg1"/>
              </a:solidFill>
            </a:endParaRPr>
          </a:p>
        </p:txBody>
      </p:sp>
    </p:spTree>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0" name="Text Box 3"/>
          <p:cNvSpPr txBox="1"/>
          <p:nvPr/>
        </p:nvSpPr>
        <p:spPr>
          <a:xfrm>
            <a:off x="4013937" y="837446"/>
            <a:ext cx="16356125" cy="72327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8100" tIns="38100" rIns="38100" bIns="38100" anchor="ctr">
            <a:spAutoFit/>
          </a:bodyPr>
          <a:lstStyle/>
          <a:p>
            <a:r>
              <a:rPr lang="en-US" dirty="0"/>
              <a:t>T</a:t>
            </a:r>
            <a:r>
              <a:rPr lang="en-US" sz="3600" dirty="0"/>
              <a:t>OTAL</a:t>
            </a:r>
            <a:r>
              <a:rPr lang="en-US" dirty="0"/>
              <a:t> Capital Expenditure — Q1</a:t>
            </a:r>
          </a:p>
        </p:txBody>
      </p:sp>
      <p:sp>
        <p:nvSpPr>
          <p:cNvPr id="581" name="Q3 data is inconclusive…"/>
          <p:cNvSpPr/>
          <p:nvPr/>
        </p:nvSpPr>
        <p:spPr>
          <a:xfrm>
            <a:off x="1421583" y="11626633"/>
            <a:ext cx="21539200" cy="1499681"/>
          </a:xfrm>
          <a:custGeom>
            <a:avLst/>
            <a:gdLst/>
            <a:ahLst/>
            <a:cxnLst>
              <a:cxn ang="0">
                <a:pos x="wd2" y="hd2"/>
              </a:cxn>
              <a:cxn ang="5400000">
                <a:pos x="wd2" y="hd2"/>
              </a:cxn>
              <a:cxn ang="10800000">
                <a:pos x="wd2" y="hd2"/>
              </a:cxn>
              <a:cxn ang="16200000">
                <a:pos x="wd2" y="hd2"/>
              </a:cxn>
            </a:cxnLst>
            <a:rect l="0" t="0" r="r" b="b"/>
            <a:pathLst>
              <a:path w="21600" h="21600" extrusionOk="0">
                <a:moveTo>
                  <a:pt x="20151" y="0"/>
                </a:moveTo>
                <a:lnTo>
                  <a:pt x="19710" y="2711"/>
                </a:lnTo>
                <a:lnTo>
                  <a:pt x="64" y="2711"/>
                </a:lnTo>
                <a:cubicBezTo>
                  <a:pt x="29" y="2711"/>
                  <a:pt x="0" y="2887"/>
                  <a:pt x="0" y="3103"/>
                </a:cubicBezTo>
                <a:lnTo>
                  <a:pt x="0" y="21208"/>
                </a:lnTo>
                <a:cubicBezTo>
                  <a:pt x="0" y="21425"/>
                  <a:pt x="29" y="21600"/>
                  <a:pt x="64" y="21600"/>
                </a:cubicBezTo>
                <a:lnTo>
                  <a:pt x="21536" y="21600"/>
                </a:lnTo>
                <a:cubicBezTo>
                  <a:pt x="21571" y="21600"/>
                  <a:pt x="21600" y="21425"/>
                  <a:pt x="21600" y="21208"/>
                </a:cubicBezTo>
                <a:lnTo>
                  <a:pt x="21600" y="3103"/>
                </a:lnTo>
                <a:cubicBezTo>
                  <a:pt x="21600" y="2887"/>
                  <a:pt x="21571" y="2711"/>
                  <a:pt x="21536" y="2711"/>
                </a:cubicBezTo>
                <a:lnTo>
                  <a:pt x="20591" y="2711"/>
                </a:lnTo>
                <a:lnTo>
                  <a:pt x="20151" y="0"/>
                </a:lnTo>
                <a:close/>
              </a:path>
            </a:pathLst>
          </a:custGeom>
          <a:solidFill>
            <a:srgbClr val="FFFFFF"/>
          </a:solidFill>
          <a:ln w="12700">
            <a:miter lim="400000"/>
          </a:ln>
          <a:effectLst>
            <a:outerShdw blurRad="76200" dist="30504" dir="5400000" rotWithShape="0">
              <a:srgbClr val="000000"/>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8100" tIns="38100" rIns="38100" bIns="38100" anchor="ctr"/>
          <a:lstStyle>
            <a:lvl1pPr marL="406400" indent="-330200" algn="l">
              <a:lnSpc>
                <a:spcPct val="140000"/>
              </a:lnSpc>
              <a:spcBef>
                <a:spcPts val="200"/>
              </a:spcBef>
              <a:buClr>
                <a:srgbClr val="22BF00"/>
              </a:buClr>
              <a:buSzPct val="122000"/>
              <a:buChar char="‣"/>
              <a:defRPr sz="2400" b="0" i="1" cap="none">
                <a:solidFill>
                  <a:srgbClr val="FF2600"/>
                </a:solidFill>
              </a:defRPr>
            </a:lvl1pPr>
          </a:lstStyle>
          <a:p>
            <a:pPr marL="635508" lvl="1" indent="-292608" algn="l">
              <a:lnSpc>
                <a:spcPct val="140000"/>
              </a:lnSpc>
              <a:spcBef>
                <a:spcPts val="200"/>
              </a:spcBef>
              <a:buClr>
                <a:schemeClr val="accent3"/>
              </a:buClr>
              <a:buSzPct val="100000"/>
              <a:buFont typeface="Helvetica"/>
              <a:buChar char="▹"/>
              <a:defRPr sz="2400" b="0" cap="none">
                <a:solidFill>
                  <a:srgbClr val="000000"/>
                </a:solidFill>
                <a:effectLst/>
              </a:defRPr>
            </a:pPr>
            <a:r>
              <a:rPr lang="en-GB" dirty="0"/>
              <a:t>The Total Capital Expenditure performed at 68% / ₦119.922bn in 2021 (Q1).</a:t>
            </a:r>
          </a:p>
        </p:txBody>
      </p:sp>
      <p:sp>
        <p:nvSpPr>
          <p:cNvPr id="28" name="Rectangle"/>
          <p:cNvSpPr/>
          <p:nvPr/>
        </p:nvSpPr>
        <p:spPr>
          <a:xfrm>
            <a:off x="12572184" y="2327136"/>
            <a:ext cx="10598412" cy="9052842"/>
          </a:xfrm>
          <a:prstGeom prst="rect">
            <a:avLst/>
          </a:prstGeom>
          <a:solidFill>
            <a:srgbClr val="FFFFFF"/>
          </a:solidFill>
          <a:ln w="12700">
            <a:miter lim="400000"/>
          </a:ln>
          <a:effectLst>
            <a:outerShdw blurRad="76200" dist="27134" dir="5400000" rotWithShape="0">
              <a:srgbClr val="000000"/>
            </a:outerShdw>
          </a:effectLst>
        </p:spPr>
        <p:txBody>
          <a:bodyPr lIns="38100" tIns="38100" rIns="38100" bIns="38100" anchor="ctr"/>
          <a:lstStyle/>
          <a:p>
            <a:pPr algn="l">
              <a:defRPr sz="2000" b="0" cap="none">
                <a:solidFill>
                  <a:srgbClr val="252D30"/>
                </a:solidFill>
                <a:effectLst/>
                <a:latin typeface="+mn-lt"/>
                <a:ea typeface="+mn-ea"/>
                <a:cs typeface="+mn-cs"/>
                <a:sym typeface="Helvetica Neue"/>
              </a:defRPr>
            </a:pPr>
            <a:endParaRPr dirty="0"/>
          </a:p>
        </p:txBody>
      </p:sp>
      <p:sp>
        <p:nvSpPr>
          <p:cNvPr id="29" name="CapeX Performance YoY (%)"/>
          <p:cNvSpPr txBox="1"/>
          <p:nvPr/>
        </p:nvSpPr>
        <p:spPr>
          <a:xfrm>
            <a:off x="13380949" y="2853966"/>
            <a:ext cx="8980881" cy="523216"/>
          </a:xfrm>
          <a:prstGeom prst="rect">
            <a:avLst/>
          </a:prstGeom>
          <a:ln w="25400">
            <a:solidFill>
              <a:schemeClr val="accent3"/>
            </a:solidFill>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8" tIns="45718" rIns="45718" bIns="45718">
            <a:spAutoFit/>
          </a:bodyPr>
          <a:lstStyle>
            <a:lvl1pPr defTabSz="2438400">
              <a:defRPr sz="2400">
                <a:solidFill>
                  <a:srgbClr val="000000"/>
                </a:solidFill>
                <a:effectLst>
                  <a:outerShdw blurRad="12700" dist="12700" dir="18900000" rotWithShape="0">
                    <a:srgbClr val="000000">
                      <a:alpha val="24000"/>
                    </a:srgbClr>
                  </a:outerShdw>
                </a:effectLst>
              </a:defRPr>
            </a:lvl1pPr>
          </a:lstStyle>
          <a:p>
            <a:r>
              <a:rPr sz="2800" dirty="0"/>
              <a:t>Cap</a:t>
            </a:r>
            <a:r>
              <a:rPr lang="en-GB" sz="2800" dirty="0"/>
              <a:t>Ex</a:t>
            </a:r>
            <a:r>
              <a:rPr sz="2800" dirty="0"/>
              <a:t> Performance </a:t>
            </a:r>
            <a:r>
              <a:rPr lang="en-US" sz="2800" dirty="0"/>
              <a:t>Q1 Y2021</a:t>
            </a:r>
            <a:r>
              <a:rPr sz="2800" dirty="0"/>
              <a:t> (%)</a:t>
            </a:r>
          </a:p>
        </p:txBody>
      </p:sp>
      <p:grpSp>
        <p:nvGrpSpPr>
          <p:cNvPr id="30" name="Group 29"/>
          <p:cNvGrpSpPr/>
          <p:nvPr/>
        </p:nvGrpSpPr>
        <p:grpSpPr>
          <a:xfrm>
            <a:off x="14031797" y="3600146"/>
            <a:ext cx="7837667" cy="5470507"/>
            <a:chOff x="15414088" y="4747659"/>
            <a:chExt cx="5542956" cy="3348420"/>
          </a:xfrm>
        </p:grpSpPr>
        <p:grpSp>
          <p:nvGrpSpPr>
            <p:cNvPr id="31" name="Group"/>
            <p:cNvGrpSpPr/>
            <p:nvPr/>
          </p:nvGrpSpPr>
          <p:grpSpPr>
            <a:xfrm>
              <a:off x="16201560" y="5355241"/>
              <a:ext cx="4041116" cy="2017379"/>
              <a:chOff x="0" y="0"/>
              <a:chExt cx="2448728" cy="1242197"/>
            </a:xfrm>
          </p:grpSpPr>
          <p:sp>
            <p:nvSpPr>
              <p:cNvPr id="40" name="Rectangle 140"/>
              <p:cNvSpPr/>
              <p:nvPr/>
            </p:nvSpPr>
            <p:spPr>
              <a:xfrm>
                <a:off x="0" y="1200296"/>
                <a:ext cx="243495" cy="41902"/>
              </a:xfrm>
              <a:prstGeom prst="rect">
                <a:avLst/>
              </a:prstGeom>
              <a:solidFill>
                <a:schemeClr val="accent3"/>
              </a:solidFill>
              <a:ln w="12700" cap="flat">
                <a:noFill/>
                <a:miter lim="400000"/>
              </a:ln>
              <a:effectLst>
                <a:outerShdw blurRad="50800" dist="30504" dir="5400000" rotWithShape="0">
                  <a:srgbClr val="000000">
                    <a:alpha val="41788"/>
                  </a:srgbClr>
                </a:outerShdw>
              </a:effectLst>
            </p:spPr>
            <p:txBody>
              <a:bodyPr wrap="square" lIns="38100" tIns="38100" rIns="38100" bIns="38100" numCol="1" anchor="ctr">
                <a:noAutofit/>
              </a:bodyPr>
              <a:lstStyle/>
              <a:p>
                <a:pPr defTabSz="1828800">
                  <a:defRPr sz="2400" b="0" cap="none">
                    <a:solidFill>
                      <a:srgbClr val="808080"/>
                    </a:solidFill>
                    <a:effectLst/>
                  </a:defRPr>
                </a:pPr>
                <a:endParaRPr dirty="0"/>
              </a:p>
            </p:txBody>
          </p:sp>
          <p:sp>
            <p:nvSpPr>
              <p:cNvPr id="41" name="Rectangle 141"/>
              <p:cNvSpPr/>
              <p:nvPr/>
            </p:nvSpPr>
            <p:spPr>
              <a:xfrm>
                <a:off x="2205234" y="1200296"/>
                <a:ext cx="243495" cy="41902"/>
              </a:xfrm>
              <a:prstGeom prst="rect">
                <a:avLst/>
              </a:prstGeom>
              <a:solidFill>
                <a:schemeClr val="accent3"/>
              </a:solidFill>
              <a:ln w="12700" cap="flat">
                <a:noFill/>
                <a:miter lim="400000"/>
              </a:ln>
              <a:effectLst>
                <a:outerShdw blurRad="50800" dist="30504" dir="5400000" rotWithShape="0">
                  <a:srgbClr val="000000">
                    <a:alpha val="41788"/>
                  </a:srgbClr>
                </a:outerShdw>
              </a:effectLst>
            </p:spPr>
            <p:txBody>
              <a:bodyPr wrap="square" lIns="38100" tIns="38100" rIns="38100" bIns="38100" numCol="1" anchor="ctr">
                <a:noAutofit/>
              </a:bodyPr>
              <a:lstStyle/>
              <a:p>
                <a:pPr defTabSz="1828800">
                  <a:defRPr sz="2400" b="0" cap="none">
                    <a:solidFill>
                      <a:srgbClr val="808080"/>
                    </a:solidFill>
                    <a:effectLst/>
                  </a:defRPr>
                </a:pPr>
                <a:endParaRPr dirty="0"/>
              </a:p>
            </p:txBody>
          </p:sp>
          <p:sp>
            <p:nvSpPr>
              <p:cNvPr id="42" name="Rectangle 142"/>
              <p:cNvSpPr/>
              <p:nvPr/>
            </p:nvSpPr>
            <p:spPr>
              <a:xfrm rot="8100000">
                <a:off x="1862909" y="396410"/>
                <a:ext cx="243495" cy="41902"/>
              </a:xfrm>
              <a:prstGeom prst="rect">
                <a:avLst/>
              </a:prstGeom>
              <a:solidFill>
                <a:schemeClr val="accent3"/>
              </a:solidFill>
              <a:ln w="12700" cap="flat">
                <a:noFill/>
                <a:miter lim="400000"/>
              </a:ln>
              <a:effectLst>
                <a:outerShdw blurRad="50800" dist="30504" dir="5400000" rotWithShape="0">
                  <a:srgbClr val="000000">
                    <a:alpha val="41788"/>
                  </a:srgbClr>
                </a:outerShdw>
              </a:effectLst>
            </p:spPr>
            <p:txBody>
              <a:bodyPr wrap="square" lIns="38100" tIns="38100" rIns="38100" bIns="38100" numCol="1" anchor="ctr">
                <a:noAutofit/>
              </a:bodyPr>
              <a:lstStyle/>
              <a:p>
                <a:pPr defTabSz="1828800">
                  <a:defRPr sz="2400" b="0" cap="none">
                    <a:solidFill>
                      <a:srgbClr val="808080"/>
                    </a:solidFill>
                    <a:effectLst/>
                  </a:defRPr>
                </a:pPr>
                <a:endParaRPr dirty="0"/>
              </a:p>
            </p:txBody>
          </p:sp>
          <p:sp>
            <p:nvSpPr>
              <p:cNvPr id="43" name="Rectangle 143"/>
              <p:cNvSpPr/>
              <p:nvPr/>
            </p:nvSpPr>
            <p:spPr>
              <a:xfrm rot="2700000">
                <a:off x="322312" y="431396"/>
                <a:ext cx="243495" cy="41902"/>
              </a:xfrm>
              <a:prstGeom prst="rect">
                <a:avLst/>
              </a:prstGeom>
              <a:solidFill>
                <a:schemeClr val="accent3"/>
              </a:solidFill>
              <a:ln w="12700" cap="flat">
                <a:noFill/>
                <a:miter lim="400000"/>
              </a:ln>
              <a:effectLst>
                <a:outerShdw blurRad="50800" dist="30504" dir="5400000" rotWithShape="0">
                  <a:srgbClr val="000000">
                    <a:alpha val="41788"/>
                  </a:srgbClr>
                </a:outerShdw>
              </a:effectLst>
            </p:spPr>
            <p:txBody>
              <a:bodyPr wrap="square" lIns="38100" tIns="38100" rIns="38100" bIns="38100" numCol="1" anchor="ctr">
                <a:noAutofit/>
              </a:bodyPr>
              <a:lstStyle/>
              <a:p>
                <a:pPr defTabSz="1828800">
                  <a:defRPr sz="2400" b="0" cap="none">
                    <a:solidFill>
                      <a:srgbClr val="808080"/>
                    </a:solidFill>
                    <a:effectLst/>
                  </a:defRPr>
                </a:pPr>
                <a:endParaRPr dirty="0"/>
              </a:p>
            </p:txBody>
          </p:sp>
          <p:sp>
            <p:nvSpPr>
              <p:cNvPr id="44" name="Rectangle 144"/>
              <p:cNvSpPr/>
              <p:nvPr/>
            </p:nvSpPr>
            <p:spPr>
              <a:xfrm rot="5400000">
                <a:off x="1081127" y="100796"/>
                <a:ext cx="243495" cy="41902"/>
              </a:xfrm>
              <a:prstGeom prst="rect">
                <a:avLst/>
              </a:prstGeom>
              <a:solidFill>
                <a:schemeClr val="accent3"/>
              </a:solidFill>
              <a:ln w="12700" cap="flat">
                <a:noFill/>
                <a:miter lim="400000"/>
              </a:ln>
              <a:effectLst>
                <a:outerShdw blurRad="50800" dist="30504" dir="5400000" rotWithShape="0">
                  <a:srgbClr val="000000">
                    <a:alpha val="41788"/>
                  </a:srgbClr>
                </a:outerShdw>
              </a:effectLst>
            </p:spPr>
            <p:txBody>
              <a:bodyPr wrap="square" lIns="38100" tIns="38100" rIns="38100" bIns="38100" numCol="1" anchor="ctr">
                <a:noAutofit/>
              </a:bodyPr>
              <a:lstStyle/>
              <a:p>
                <a:pPr defTabSz="1828800">
                  <a:defRPr sz="2400" b="0" cap="none">
                    <a:solidFill>
                      <a:srgbClr val="808080"/>
                    </a:solidFill>
                    <a:effectLst/>
                  </a:defRPr>
                </a:pPr>
                <a:endParaRPr dirty="0"/>
              </a:p>
            </p:txBody>
          </p:sp>
          <p:sp>
            <p:nvSpPr>
              <p:cNvPr id="45" name="Rectangle 145"/>
              <p:cNvSpPr/>
              <p:nvPr/>
            </p:nvSpPr>
            <p:spPr>
              <a:xfrm rot="9121187">
                <a:off x="2116385" y="648235"/>
                <a:ext cx="99442" cy="28426"/>
              </a:xfrm>
              <a:prstGeom prst="rect">
                <a:avLst/>
              </a:prstGeom>
              <a:solidFill>
                <a:schemeClr val="accent3"/>
              </a:solidFill>
              <a:ln w="12700" cap="flat">
                <a:noFill/>
                <a:miter lim="400000"/>
              </a:ln>
              <a:effectLst>
                <a:outerShdw blurRad="50800" dist="30504" dir="5400000" rotWithShape="0">
                  <a:srgbClr val="000000">
                    <a:alpha val="41788"/>
                  </a:srgbClr>
                </a:outerShdw>
              </a:effectLst>
            </p:spPr>
            <p:txBody>
              <a:bodyPr wrap="square" lIns="38100" tIns="38100" rIns="38100" bIns="38100" numCol="1" anchor="ctr">
                <a:noAutofit/>
              </a:bodyPr>
              <a:lstStyle/>
              <a:p>
                <a:pPr defTabSz="1828800">
                  <a:defRPr sz="2400" b="0" cap="none">
                    <a:solidFill>
                      <a:srgbClr val="FFFFFF"/>
                    </a:solidFill>
                    <a:effectLst/>
                  </a:defRPr>
                </a:pPr>
                <a:endParaRPr dirty="0"/>
              </a:p>
            </p:txBody>
          </p:sp>
          <p:sp>
            <p:nvSpPr>
              <p:cNvPr id="46" name="Rectangle 146"/>
              <p:cNvSpPr/>
              <p:nvPr/>
            </p:nvSpPr>
            <p:spPr>
              <a:xfrm rot="10021187">
                <a:off x="2223420" y="917274"/>
                <a:ext cx="99442" cy="28426"/>
              </a:xfrm>
              <a:prstGeom prst="rect">
                <a:avLst/>
              </a:prstGeom>
              <a:solidFill>
                <a:schemeClr val="accent3"/>
              </a:solidFill>
              <a:ln w="12700" cap="flat">
                <a:noFill/>
                <a:miter lim="400000"/>
              </a:ln>
              <a:effectLst>
                <a:outerShdw blurRad="50800" dist="30504" dir="5400000" rotWithShape="0">
                  <a:srgbClr val="000000">
                    <a:alpha val="41788"/>
                  </a:srgbClr>
                </a:outerShdw>
              </a:effectLst>
            </p:spPr>
            <p:txBody>
              <a:bodyPr wrap="square" lIns="38100" tIns="38100" rIns="38100" bIns="38100" numCol="1" anchor="ctr">
                <a:noAutofit/>
              </a:bodyPr>
              <a:lstStyle/>
              <a:p>
                <a:pPr defTabSz="1828800">
                  <a:defRPr sz="2400" b="0" cap="none">
                    <a:solidFill>
                      <a:srgbClr val="FFFFFF"/>
                    </a:solidFill>
                    <a:effectLst/>
                  </a:defRPr>
                </a:pPr>
                <a:endParaRPr dirty="0"/>
              </a:p>
            </p:txBody>
          </p:sp>
          <p:sp>
            <p:nvSpPr>
              <p:cNvPr id="47" name="Rectangle 147"/>
              <p:cNvSpPr/>
              <p:nvPr/>
            </p:nvSpPr>
            <p:spPr>
              <a:xfrm rot="7321187">
                <a:off x="1701069" y="254694"/>
                <a:ext cx="99442" cy="28426"/>
              </a:xfrm>
              <a:prstGeom prst="rect">
                <a:avLst/>
              </a:prstGeom>
              <a:solidFill>
                <a:schemeClr val="accent3"/>
              </a:solidFill>
              <a:ln w="12700" cap="flat">
                <a:noFill/>
                <a:miter lim="400000"/>
              </a:ln>
              <a:effectLst>
                <a:outerShdw blurRad="50800" dist="30504" dir="5400000" rotWithShape="0">
                  <a:srgbClr val="000000">
                    <a:alpha val="41788"/>
                  </a:srgbClr>
                </a:outerShdw>
              </a:effectLst>
            </p:spPr>
            <p:txBody>
              <a:bodyPr wrap="square" lIns="38100" tIns="38100" rIns="38100" bIns="38100" numCol="1" anchor="ctr">
                <a:noAutofit/>
              </a:bodyPr>
              <a:lstStyle/>
              <a:p>
                <a:pPr defTabSz="1828800">
                  <a:defRPr sz="2400" b="0" cap="none">
                    <a:solidFill>
                      <a:srgbClr val="FFFFFF"/>
                    </a:solidFill>
                    <a:effectLst/>
                  </a:defRPr>
                </a:pPr>
                <a:endParaRPr dirty="0"/>
              </a:p>
            </p:txBody>
          </p:sp>
          <p:sp>
            <p:nvSpPr>
              <p:cNvPr id="48" name="Rectangle 148"/>
              <p:cNvSpPr/>
              <p:nvPr/>
            </p:nvSpPr>
            <p:spPr>
              <a:xfrm rot="6421187">
                <a:off x="1435267" y="148006"/>
                <a:ext cx="99442" cy="28426"/>
              </a:xfrm>
              <a:prstGeom prst="rect">
                <a:avLst/>
              </a:prstGeom>
              <a:solidFill>
                <a:schemeClr val="accent3"/>
              </a:solidFill>
              <a:ln w="12700" cap="flat">
                <a:noFill/>
                <a:miter lim="400000"/>
              </a:ln>
              <a:effectLst>
                <a:outerShdw blurRad="50800" dist="30504" dir="5400000" rotWithShape="0">
                  <a:srgbClr val="000000">
                    <a:alpha val="41788"/>
                  </a:srgbClr>
                </a:outerShdw>
              </a:effectLst>
            </p:spPr>
            <p:txBody>
              <a:bodyPr wrap="square" lIns="38100" tIns="38100" rIns="38100" bIns="38100" numCol="1" anchor="ctr">
                <a:noAutofit/>
              </a:bodyPr>
              <a:lstStyle/>
              <a:p>
                <a:pPr defTabSz="1828800">
                  <a:defRPr sz="2400" b="0" cap="none">
                    <a:solidFill>
                      <a:srgbClr val="FFFFFF"/>
                    </a:solidFill>
                    <a:effectLst/>
                  </a:defRPr>
                </a:pPr>
                <a:endParaRPr dirty="0"/>
              </a:p>
            </p:txBody>
          </p:sp>
          <p:sp>
            <p:nvSpPr>
              <p:cNvPr id="49" name="Rectangle 149"/>
              <p:cNvSpPr/>
              <p:nvPr/>
            </p:nvSpPr>
            <p:spPr>
              <a:xfrm rot="4621187">
                <a:off x="878075" y="168554"/>
                <a:ext cx="99442" cy="28426"/>
              </a:xfrm>
              <a:prstGeom prst="rect">
                <a:avLst/>
              </a:prstGeom>
              <a:solidFill>
                <a:schemeClr val="accent3"/>
              </a:solidFill>
              <a:ln w="12700" cap="flat">
                <a:noFill/>
                <a:miter lim="400000"/>
              </a:ln>
              <a:effectLst>
                <a:outerShdw blurRad="50800" dist="30504" dir="5400000" rotWithShape="0">
                  <a:srgbClr val="000000">
                    <a:alpha val="41788"/>
                  </a:srgbClr>
                </a:outerShdw>
              </a:effectLst>
            </p:spPr>
            <p:txBody>
              <a:bodyPr wrap="square" lIns="38100" tIns="38100" rIns="38100" bIns="38100" numCol="1" anchor="ctr">
                <a:noAutofit/>
              </a:bodyPr>
              <a:lstStyle/>
              <a:p>
                <a:pPr defTabSz="1828800">
                  <a:defRPr sz="2400" b="0" cap="none">
                    <a:solidFill>
                      <a:srgbClr val="FFFFFF"/>
                    </a:solidFill>
                    <a:effectLst/>
                  </a:defRPr>
                </a:pPr>
                <a:endParaRPr dirty="0"/>
              </a:p>
            </p:txBody>
          </p:sp>
          <p:sp>
            <p:nvSpPr>
              <p:cNvPr id="50" name="Rectangle 150"/>
              <p:cNvSpPr/>
              <p:nvPr/>
            </p:nvSpPr>
            <p:spPr>
              <a:xfrm rot="3452772">
                <a:off x="620591" y="280718"/>
                <a:ext cx="99442" cy="28426"/>
              </a:xfrm>
              <a:prstGeom prst="rect">
                <a:avLst/>
              </a:prstGeom>
              <a:solidFill>
                <a:schemeClr val="accent3"/>
              </a:solidFill>
              <a:ln w="12700" cap="flat">
                <a:noFill/>
                <a:miter lim="400000"/>
              </a:ln>
              <a:effectLst>
                <a:outerShdw blurRad="50800" dist="30504" dir="5400000" rotWithShape="0">
                  <a:srgbClr val="000000">
                    <a:alpha val="41788"/>
                  </a:srgbClr>
                </a:outerShdw>
              </a:effectLst>
            </p:spPr>
            <p:txBody>
              <a:bodyPr wrap="square" lIns="38100" tIns="38100" rIns="38100" bIns="38100" numCol="1" anchor="ctr">
                <a:noAutofit/>
              </a:bodyPr>
              <a:lstStyle/>
              <a:p>
                <a:pPr defTabSz="1828800">
                  <a:defRPr sz="2400" b="0" cap="none">
                    <a:solidFill>
                      <a:srgbClr val="FFFFFF"/>
                    </a:solidFill>
                    <a:effectLst/>
                  </a:defRPr>
                </a:pPr>
                <a:endParaRPr dirty="0"/>
              </a:p>
            </p:txBody>
          </p:sp>
          <p:sp>
            <p:nvSpPr>
              <p:cNvPr id="51" name="Rectangle 151"/>
              <p:cNvSpPr/>
              <p:nvPr/>
            </p:nvSpPr>
            <p:spPr>
              <a:xfrm rot="1652772">
                <a:off x="237528" y="674646"/>
                <a:ext cx="99442" cy="28426"/>
              </a:xfrm>
              <a:prstGeom prst="rect">
                <a:avLst/>
              </a:prstGeom>
              <a:solidFill>
                <a:schemeClr val="accent3"/>
              </a:solidFill>
              <a:ln w="12700" cap="flat">
                <a:noFill/>
                <a:miter lim="400000"/>
              </a:ln>
              <a:effectLst>
                <a:outerShdw blurRad="50800" dist="30504" dir="5400000" rotWithShape="0">
                  <a:srgbClr val="000000">
                    <a:alpha val="41788"/>
                  </a:srgbClr>
                </a:outerShdw>
              </a:effectLst>
            </p:spPr>
            <p:txBody>
              <a:bodyPr wrap="square" lIns="38100" tIns="38100" rIns="38100" bIns="38100" numCol="1" anchor="ctr">
                <a:noAutofit/>
              </a:bodyPr>
              <a:lstStyle/>
              <a:p>
                <a:pPr defTabSz="1828800">
                  <a:defRPr sz="2400" b="0" cap="none">
                    <a:solidFill>
                      <a:srgbClr val="FFFFFF"/>
                    </a:solidFill>
                    <a:effectLst/>
                  </a:defRPr>
                </a:pPr>
                <a:endParaRPr dirty="0"/>
              </a:p>
            </p:txBody>
          </p:sp>
          <p:sp>
            <p:nvSpPr>
              <p:cNvPr id="52" name="Rectangle 152"/>
              <p:cNvSpPr/>
              <p:nvPr/>
            </p:nvSpPr>
            <p:spPr>
              <a:xfrm rot="752772">
                <a:off x="123648" y="928238"/>
                <a:ext cx="99442" cy="28426"/>
              </a:xfrm>
              <a:prstGeom prst="rect">
                <a:avLst/>
              </a:prstGeom>
              <a:solidFill>
                <a:schemeClr val="accent3"/>
              </a:solidFill>
              <a:ln w="12700" cap="flat">
                <a:noFill/>
                <a:miter lim="400000"/>
              </a:ln>
              <a:effectLst>
                <a:outerShdw blurRad="50800" dist="30504" dir="5400000" rotWithShape="0">
                  <a:srgbClr val="000000">
                    <a:alpha val="41788"/>
                  </a:srgbClr>
                </a:outerShdw>
              </a:effectLst>
            </p:spPr>
            <p:txBody>
              <a:bodyPr wrap="square" lIns="38100" tIns="38100" rIns="38100" bIns="38100" numCol="1" anchor="ctr">
                <a:noAutofit/>
              </a:bodyPr>
              <a:lstStyle/>
              <a:p>
                <a:pPr defTabSz="1828800">
                  <a:defRPr sz="2400" b="0" cap="none">
                    <a:solidFill>
                      <a:srgbClr val="FFFFFF"/>
                    </a:solidFill>
                    <a:effectLst/>
                  </a:defRPr>
                </a:pPr>
                <a:endParaRPr dirty="0"/>
              </a:p>
            </p:txBody>
          </p:sp>
          <p:sp>
            <p:nvSpPr>
              <p:cNvPr id="53" name="Block Arc 153"/>
              <p:cNvSpPr/>
              <p:nvPr/>
            </p:nvSpPr>
            <p:spPr>
              <a:xfrm>
                <a:off x="53223" y="45267"/>
                <a:ext cx="2349087" cy="1188146"/>
              </a:xfrm>
              <a:custGeom>
                <a:avLst/>
                <a:gdLst/>
                <a:ahLst/>
                <a:cxnLst>
                  <a:cxn ang="0">
                    <a:pos x="wd2" y="hd2"/>
                  </a:cxn>
                  <a:cxn ang="5400000">
                    <a:pos x="wd2" y="hd2"/>
                  </a:cxn>
                  <a:cxn ang="10800000">
                    <a:pos x="wd2" y="hd2"/>
                  </a:cxn>
                  <a:cxn ang="16200000">
                    <a:pos x="wd2" y="hd2"/>
                  </a:cxn>
                </a:cxnLst>
                <a:rect l="0" t="0" r="r" b="b"/>
                <a:pathLst>
                  <a:path w="21600" h="21600" extrusionOk="0">
                    <a:moveTo>
                      <a:pt x="0" y="21353"/>
                    </a:moveTo>
                    <a:cubicBezTo>
                      <a:pt x="0" y="9560"/>
                      <a:pt x="4835" y="0"/>
                      <a:pt x="10800" y="0"/>
                    </a:cubicBezTo>
                    <a:cubicBezTo>
                      <a:pt x="16765" y="0"/>
                      <a:pt x="21600" y="9560"/>
                      <a:pt x="21600" y="21353"/>
                    </a:cubicBezTo>
                    <a:lnTo>
                      <a:pt x="21047" y="21600"/>
                    </a:lnTo>
                    <a:cubicBezTo>
                      <a:pt x="21047" y="10411"/>
                      <a:pt x="16459" y="1340"/>
                      <a:pt x="10799" y="1340"/>
                    </a:cubicBezTo>
                    <a:cubicBezTo>
                      <a:pt x="5140" y="1340"/>
                      <a:pt x="552" y="10411"/>
                      <a:pt x="552" y="21600"/>
                    </a:cubicBezTo>
                    <a:close/>
                  </a:path>
                </a:pathLst>
              </a:custGeom>
              <a:solidFill>
                <a:schemeClr val="accent3"/>
              </a:solidFill>
              <a:ln w="12700" cap="flat">
                <a:noFill/>
                <a:miter lim="400000"/>
              </a:ln>
              <a:effectLst/>
            </p:spPr>
            <p:txBody>
              <a:bodyPr wrap="square" lIns="38100" tIns="38100" rIns="38100" bIns="38100" numCol="1" anchor="ctr">
                <a:noAutofit/>
              </a:bodyPr>
              <a:lstStyle/>
              <a:p>
                <a:pPr defTabSz="1828800">
                  <a:defRPr sz="2400" b="0" cap="none">
                    <a:solidFill>
                      <a:srgbClr val="FFFFFF"/>
                    </a:solidFill>
                    <a:effectLst/>
                  </a:defRPr>
                </a:pPr>
                <a:endParaRPr dirty="0"/>
              </a:p>
            </p:txBody>
          </p:sp>
        </p:grpSp>
        <p:grpSp>
          <p:nvGrpSpPr>
            <p:cNvPr id="32" name="Group 134"/>
            <p:cNvGrpSpPr/>
            <p:nvPr/>
          </p:nvGrpSpPr>
          <p:grpSpPr>
            <a:xfrm>
              <a:off x="15414088" y="4747659"/>
              <a:ext cx="5542956" cy="3186773"/>
              <a:chOff x="-1" y="-1"/>
              <a:chExt cx="3358776" cy="1962249"/>
            </a:xfrm>
          </p:grpSpPr>
          <p:sp>
            <p:nvSpPr>
              <p:cNvPr id="35" name="TextBox 135"/>
              <p:cNvSpPr txBox="1"/>
              <p:nvPr/>
            </p:nvSpPr>
            <p:spPr>
              <a:xfrm rot="5400000">
                <a:off x="2711039" y="1314512"/>
                <a:ext cx="848431" cy="44704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tIns="45719" rIns="45719" bIns="45719" numCol="1" anchor="ctr">
                <a:spAutoFit/>
              </a:bodyPr>
              <a:lstStyle>
                <a:lvl1pPr defTabSz="1828800">
                  <a:defRPr sz="2400" cap="none">
                    <a:solidFill>
                      <a:srgbClr val="000000"/>
                    </a:solidFill>
                  </a:defRPr>
                </a:lvl1pPr>
              </a:lstStyle>
              <a:p>
                <a:pPr>
                  <a:defRPr>
                    <a:effectLst/>
                  </a:defRPr>
                </a:pPr>
                <a:r>
                  <a:rPr dirty="0"/>
                  <a:t>100%</a:t>
                </a:r>
              </a:p>
            </p:txBody>
          </p:sp>
          <p:sp>
            <p:nvSpPr>
              <p:cNvPr id="36" name="TextBox 136"/>
              <p:cNvSpPr txBox="1"/>
              <p:nvPr/>
            </p:nvSpPr>
            <p:spPr>
              <a:xfrm rot="16200000">
                <a:off x="-22101" y="1300451"/>
                <a:ext cx="491242" cy="44704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tIns="45719" rIns="45719" bIns="45719" numCol="1" anchor="ctr">
                <a:spAutoFit/>
              </a:bodyPr>
              <a:lstStyle>
                <a:lvl1pPr defTabSz="1828800">
                  <a:defRPr sz="2400" cap="none">
                    <a:solidFill>
                      <a:srgbClr val="000000"/>
                    </a:solidFill>
                  </a:defRPr>
                </a:lvl1pPr>
              </a:lstStyle>
              <a:p>
                <a:pPr>
                  <a:defRPr>
                    <a:effectLst/>
                  </a:defRPr>
                </a:pPr>
                <a:r>
                  <a:rPr dirty="0"/>
                  <a:t>0%</a:t>
                </a:r>
              </a:p>
            </p:txBody>
          </p:sp>
          <p:sp>
            <p:nvSpPr>
              <p:cNvPr id="37" name="TextBox 137"/>
              <p:cNvSpPr txBox="1"/>
              <p:nvPr/>
            </p:nvSpPr>
            <p:spPr>
              <a:xfrm rot="19043860">
                <a:off x="383169" y="321440"/>
                <a:ext cx="669837" cy="44704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tIns="45719" rIns="45719" bIns="45719" numCol="1" anchor="ctr">
                <a:spAutoFit/>
              </a:bodyPr>
              <a:lstStyle>
                <a:lvl1pPr defTabSz="1828800">
                  <a:defRPr sz="2400" cap="none">
                    <a:solidFill>
                      <a:srgbClr val="000000"/>
                    </a:solidFill>
                  </a:defRPr>
                </a:lvl1pPr>
              </a:lstStyle>
              <a:p>
                <a:pPr>
                  <a:defRPr>
                    <a:effectLst/>
                  </a:defRPr>
                </a:pPr>
                <a:r>
                  <a:rPr dirty="0"/>
                  <a:t>25%</a:t>
                </a:r>
              </a:p>
            </p:txBody>
          </p:sp>
          <p:sp>
            <p:nvSpPr>
              <p:cNvPr id="38" name="TextBox 138"/>
              <p:cNvSpPr txBox="1"/>
              <p:nvPr/>
            </p:nvSpPr>
            <p:spPr>
              <a:xfrm>
                <a:off x="1345318" y="-1"/>
                <a:ext cx="669837" cy="44704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tIns="45719" rIns="45719" bIns="45719" numCol="1" anchor="ctr">
                <a:spAutoFit/>
              </a:bodyPr>
              <a:lstStyle>
                <a:lvl1pPr defTabSz="1828800">
                  <a:defRPr sz="2400" cap="none">
                    <a:solidFill>
                      <a:srgbClr val="000000"/>
                    </a:solidFill>
                  </a:defRPr>
                </a:lvl1pPr>
              </a:lstStyle>
              <a:p>
                <a:pPr>
                  <a:defRPr>
                    <a:effectLst/>
                  </a:defRPr>
                </a:pPr>
                <a:r>
                  <a:rPr dirty="0"/>
                  <a:t>50%</a:t>
                </a:r>
              </a:p>
            </p:txBody>
          </p:sp>
          <p:sp>
            <p:nvSpPr>
              <p:cNvPr id="39" name="TextBox 139"/>
              <p:cNvSpPr txBox="1"/>
              <p:nvPr/>
            </p:nvSpPr>
            <p:spPr>
              <a:xfrm rot="2700000">
                <a:off x="2421816" y="405947"/>
                <a:ext cx="669836" cy="44704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tIns="45719" rIns="45719" bIns="45719" numCol="1" anchor="ctr">
                <a:spAutoFit/>
              </a:bodyPr>
              <a:lstStyle>
                <a:lvl1pPr defTabSz="1828800">
                  <a:defRPr sz="2400" cap="none">
                    <a:solidFill>
                      <a:srgbClr val="000000"/>
                    </a:solidFill>
                  </a:defRPr>
                </a:lvl1pPr>
              </a:lstStyle>
              <a:p>
                <a:pPr>
                  <a:defRPr>
                    <a:effectLst/>
                  </a:defRPr>
                </a:pPr>
                <a:r>
                  <a:rPr dirty="0"/>
                  <a:t>75%</a:t>
                </a:r>
              </a:p>
            </p:txBody>
          </p:sp>
        </p:grpSp>
        <p:sp>
          <p:nvSpPr>
            <p:cNvPr id="33" name="TextBox 131"/>
            <p:cNvSpPr txBox="1"/>
            <p:nvPr/>
          </p:nvSpPr>
          <p:spPr>
            <a:xfrm>
              <a:off x="17819322" y="7625115"/>
              <a:ext cx="805588" cy="470964"/>
            </a:xfrm>
            <a:prstGeom prst="rect">
              <a:avLst/>
            </a:prstGeom>
            <a:solidFill>
              <a:srgbClr val="FFC000"/>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nchor="ctr">
              <a:spAutoFit/>
            </a:bodyPr>
            <a:lstStyle>
              <a:lvl1pPr defTabSz="1828800">
                <a:defRPr sz="4400" cap="none">
                  <a:solidFill>
                    <a:srgbClr val="000000"/>
                  </a:solidFill>
                </a:defRPr>
              </a:lvl1pPr>
            </a:lstStyle>
            <a:p>
              <a:pPr>
                <a:defRPr>
                  <a:effectLst/>
                </a:defRPr>
              </a:pPr>
              <a:r>
                <a:rPr lang="en-GB" dirty="0">
                  <a:solidFill>
                    <a:schemeClr val="accent1">
                      <a:lumMod val="50000"/>
                    </a:schemeClr>
                  </a:solidFill>
                </a:rPr>
                <a:t>68</a:t>
              </a:r>
              <a:r>
                <a:rPr dirty="0">
                  <a:solidFill>
                    <a:schemeClr val="accent1">
                      <a:lumMod val="50000"/>
                    </a:schemeClr>
                  </a:solidFill>
                </a:rPr>
                <a:t>%</a:t>
              </a:r>
            </a:p>
          </p:txBody>
        </p:sp>
        <p:sp>
          <p:nvSpPr>
            <p:cNvPr id="34" name="Line"/>
            <p:cNvSpPr/>
            <p:nvPr/>
          </p:nvSpPr>
          <p:spPr>
            <a:xfrm flipV="1">
              <a:off x="18219181" y="5820485"/>
              <a:ext cx="972316" cy="977671"/>
            </a:xfrm>
            <a:prstGeom prst="line">
              <a:avLst/>
            </a:prstGeom>
            <a:ln w="25400">
              <a:solidFill>
                <a:schemeClr val="accent3"/>
              </a:solidFill>
              <a:headEnd type="oval"/>
            </a:ln>
            <a:effectLst>
              <a:outerShdw blurRad="50800" dist="30504" dir="5400000" rotWithShape="0">
                <a:srgbClr val="000000">
                  <a:alpha val="41788"/>
                </a:srgbClr>
              </a:outerShdw>
            </a:effectLst>
          </p:spPr>
          <p:txBody>
            <a:bodyPr lIns="45718" tIns="45718" rIns="45718" bIns="45718"/>
            <a:lstStyle/>
            <a:p>
              <a:pPr algn="l">
                <a:defRPr sz="2000" b="0" cap="none">
                  <a:solidFill>
                    <a:srgbClr val="252D30"/>
                  </a:solidFill>
                  <a:effectLst/>
                  <a:latin typeface="+mn-lt"/>
                  <a:ea typeface="+mn-ea"/>
                  <a:cs typeface="+mn-cs"/>
                  <a:sym typeface="Helvetica Neue"/>
                </a:defRPr>
              </a:pPr>
              <a:endParaRPr dirty="0"/>
            </a:p>
          </p:txBody>
        </p:sp>
      </p:grpSp>
      <p:sp>
        <p:nvSpPr>
          <p:cNvPr id="54" name="Rectangle"/>
          <p:cNvSpPr/>
          <p:nvPr/>
        </p:nvSpPr>
        <p:spPr>
          <a:xfrm>
            <a:off x="1990444" y="2268712"/>
            <a:ext cx="10598411" cy="9111266"/>
          </a:xfrm>
          <a:prstGeom prst="rect">
            <a:avLst/>
          </a:prstGeom>
          <a:solidFill>
            <a:srgbClr val="FFFFFF"/>
          </a:solidFill>
          <a:ln w="12700">
            <a:miter lim="400000"/>
          </a:ln>
          <a:effectLst>
            <a:outerShdw blurRad="76200" dist="30504" dir="5400000" rotWithShape="0">
              <a:srgbClr val="000000"/>
            </a:outerShdw>
          </a:effectLst>
        </p:spPr>
        <p:txBody>
          <a:bodyPr lIns="38100" tIns="38100" rIns="38100" bIns="38100" anchor="ctr"/>
          <a:lstStyle/>
          <a:p>
            <a:pPr algn="l">
              <a:defRPr sz="2000" b="0" cap="none">
                <a:solidFill>
                  <a:srgbClr val="252D30"/>
                </a:solidFill>
                <a:effectLst/>
                <a:latin typeface="+mn-lt"/>
                <a:ea typeface="+mn-ea"/>
                <a:cs typeface="+mn-cs"/>
                <a:sym typeface="Helvetica Neue"/>
              </a:defRPr>
            </a:pPr>
            <a:endParaRPr dirty="0"/>
          </a:p>
        </p:txBody>
      </p:sp>
      <p:graphicFrame>
        <p:nvGraphicFramePr>
          <p:cNvPr id="55" name="Table"/>
          <p:cNvGraphicFramePr/>
          <p:nvPr>
            <p:extLst>
              <p:ext uri="{D42A27DB-BD31-4B8C-83A1-F6EECF244321}">
                <p14:modId xmlns:p14="http://schemas.microsoft.com/office/powerpoint/2010/main" val="3206774208"/>
              </p:ext>
            </p:extLst>
          </p:nvPr>
        </p:nvGraphicFramePr>
        <p:xfrm>
          <a:off x="2818761" y="2625969"/>
          <a:ext cx="8579340" cy="2482266"/>
        </p:xfrm>
        <a:graphic>
          <a:graphicData uri="http://schemas.openxmlformats.org/drawingml/2006/table">
            <a:tbl>
              <a:tblPr>
                <a:tableStyleId>{8F44A2F1-9E1F-4B54-A3A2-5F16C0AD49E2}</a:tableStyleId>
              </a:tblPr>
              <a:tblGrid>
                <a:gridCol w="2144835">
                  <a:extLst>
                    <a:ext uri="{9D8B030D-6E8A-4147-A177-3AD203B41FA5}">
                      <a16:colId xmlns:a16="http://schemas.microsoft.com/office/drawing/2014/main" val="20000"/>
                    </a:ext>
                  </a:extLst>
                </a:gridCol>
                <a:gridCol w="2144835">
                  <a:extLst>
                    <a:ext uri="{9D8B030D-6E8A-4147-A177-3AD203B41FA5}">
                      <a16:colId xmlns:a16="http://schemas.microsoft.com/office/drawing/2014/main" val="20001"/>
                    </a:ext>
                  </a:extLst>
                </a:gridCol>
                <a:gridCol w="2144835">
                  <a:extLst>
                    <a:ext uri="{9D8B030D-6E8A-4147-A177-3AD203B41FA5}">
                      <a16:colId xmlns:a16="http://schemas.microsoft.com/office/drawing/2014/main" val="20003"/>
                    </a:ext>
                  </a:extLst>
                </a:gridCol>
                <a:gridCol w="2144835">
                  <a:extLst>
                    <a:ext uri="{9D8B030D-6E8A-4147-A177-3AD203B41FA5}">
                      <a16:colId xmlns:a16="http://schemas.microsoft.com/office/drawing/2014/main" val="20002"/>
                    </a:ext>
                  </a:extLst>
                </a:gridCol>
              </a:tblGrid>
              <a:tr h="1282004">
                <a:tc>
                  <a:txBody>
                    <a:bodyPr/>
                    <a:lstStyle/>
                    <a:p>
                      <a:pPr defTabSz="825500">
                        <a:lnSpc>
                          <a:spcPct val="90000"/>
                        </a:lnSpc>
                        <a:defRPr sz="1800">
                          <a:effectLst/>
                        </a:defRPr>
                      </a:pPr>
                      <a:r>
                        <a:rPr sz="2400" b="1" cap="small" dirty="0">
                          <a:solidFill>
                            <a:srgbClr val="FFFFFF"/>
                          </a:solidFill>
                          <a:effectLst>
                            <a:outerShdw blurRad="38100" dist="38100" dir="2700000" algn="tl">
                              <a:srgbClr val="000000">
                                <a:alpha val="43137"/>
                              </a:srgbClr>
                            </a:outerShdw>
                          </a:effectLst>
                        </a:rPr>
                        <a:t>YEAR</a:t>
                      </a:r>
                    </a:p>
                  </a:txBody>
                  <a:tcPr marL="9840" marR="9840" marT="9840" marB="984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defTabSz="825500">
                        <a:lnSpc>
                          <a:spcPct val="90000"/>
                        </a:lnSpc>
                        <a:defRPr sz="1800">
                          <a:effectLst/>
                        </a:defRPr>
                      </a:pPr>
                      <a:r>
                        <a:rPr lang="en-GB" sz="2400" b="1" cap="small" dirty="0">
                          <a:solidFill>
                            <a:srgbClr val="FFFFFF"/>
                          </a:solidFill>
                          <a:effectLst>
                            <a:outerShdw blurRad="38100" dist="38100" dir="2700000" algn="tl">
                              <a:srgbClr val="000000">
                                <a:alpha val="43137"/>
                              </a:srgbClr>
                            </a:outerShdw>
                          </a:effectLst>
                        </a:rPr>
                        <a:t>Budget</a:t>
                      </a:r>
                      <a:r>
                        <a:rPr sz="2400" b="1" cap="small" dirty="0">
                          <a:solidFill>
                            <a:srgbClr val="FFFFFF"/>
                          </a:solidFill>
                          <a:effectLst>
                            <a:outerShdw blurRad="38100" dist="38100" dir="2700000" algn="tl">
                              <a:srgbClr val="000000">
                                <a:alpha val="43137"/>
                              </a:srgbClr>
                            </a:outerShdw>
                          </a:effectLst>
                        </a:rPr>
                        <a:t>
(₦’bn)</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defTabSz="825500">
                        <a:lnSpc>
                          <a:spcPct val="90000"/>
                        </a:lnSpc>
                        <a:defRPr sz="1800">
                          <a:effectLst/>
                        </a:defRPr>
                      </a:pPr>
                      <a:r>
                        <a:rPr lang="en-US" sz="2400" b="1" cap="small" dirty="0">
                          <a:solidFill>
                            <a:srgbClr val="FFFFFF"/>
                          </a:solidFill>
                          <a:effectLst>
                            <a:outerShdw blurRad="38100" dist="38100" dir="2700000" algn="tl">
                              <a:srgbClr val="000000">
                                <a:alpha val="43137"/>
                              </a:srgbClr>
                            </a:outerShdw>
                          </a:effectLst>
                        </a:rPr>
                        <a:t>CUM</a:t>
                      </a:r>
                      <a:r>
                        <a:rPr lang="en-US" sz="2400" b="1" cap="small" baseline="0" dirty="0">
                          <a:solidFill>
                            <a:srgbClr val="FFFFFF"/>
                          </a:solidFill>
                          <a:effectLst>
                            <a:outerShdw blurRad="38100" dist="38100" dir="2700000" algn="tl">
                              <a:srgbClr val="000000">
                                <a:alpha val="43137"/>
                              </a:srgbClr>
                            </a:outerShdw>
                          </a:effectLst>
                        </a:rPr>
                        <a:t> EST (JAN-MAR)</a:t>
                      </a:r>
                    </a:p>
                    <a:p>
                      <a:pPr defTabSz="825500">
                        <a:lnSpc>
                          <a:spcPct val="90000"/>
                        </a:lnSpc>
                        <a:defRPr sz="1800">
                          <a:effectLst/>
                        </a:defRPr>
                      </a:pPr>
                      <a:r>
                        <a:rPr lang="en-US" sz="2400" b="1" cap="small" dirty="0">
                          <a:solidFill>
                            <a:srgbClr val="FFFFFF"/>
                          </a:solidFill>
                          <a:effectLst>
                            <a:outerShdw blurRad="38100" dist="38100" dir="2700000" algn="tl">
                              <a:srgbClr val="000000">
                                <a:alpha val="43137"/>
                              </a:srgbClr>
                            </a:outerShdw>
                          </a:effectLst>
                        </a:rPr>
                        <a:t>(₦’</a:t>
                      </a:r>
                      <a:r>
                        <a:rPr lang="en-US" sz="2400" b="1" cap="small" dirty="0" err="1">
                          <a:solidFill>
                            <a:srgbClr val="FFFFFF"/>
                          </a:solidFill>
                          <a:effectLst>
                            <a:outerShdw blurRad="38100" dist="38100" dir="2700000" algn="tl">
                              <a:srgbClr val="000000">
                                <a:alpha val="43137"/>
                              </a:srgbClr>
                            </a:outerShdw>
                          </a:effectLst>
                        </a:rPr>
                        <a:t>bn</a:t>
                      </a:r>
                      <a:r>
                        <a:rPr lang="en-US" sz="2400" b="1" cap="small" dirty="0">
                          <a:solidFill>
                            <a:srgbClr val="FFFFFF"/>
                          </a:solidFill>
                          <a:effectLst>
                            <a:outerShdw blurRad="38100" dist="38100" dir="2700000" algn="tl">
                              <a:srgbClr val="000000">
                                <a:alpha val="43137"/>
                              </a:srgbClr>
                            </a:outerShdw>
                          </a:effectLst>
                        </a:rPr>
                        <a:t>)</a:t>
                      </a:r>
                      <a:endParaRPr sz="2400" b="1" cap="small" dirty="0">
                        <a:solidFill>
                          <a:srgbClr val="FFFFFF"/>
                        </a:solidFill>
                        <a:effectLst>
                          <a:outerShdw blurRad="38100" dist="38100" dir="2700000" algn="tl">
                            <a:srgbClr val="000000">
                              <a:alpha val="43137"/>
                            </a:srgbClr>
                          </a:outerShdw>
                        </a:effectLst>
                      </a:endParaRP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defTabSz="825500">
                        <a:lnSpc>
                          <a:spcPct val="90000"/>
                        </a:lnSpc>
                        <a:defRPr sz="1800">
                          <a:effectLst/>
                        </a:defRPr>
                      </a:pPr>
                      <a:r>
                        <a:rPr lang="en-US" sz="2400" b="1" cap="small" dirty="0">
                          <a:solidFill>
                            <a:srgbClr val="FFFFFF"/>
                          </a:solidFill>
                          <a:effectLst>
                            <a:outerShdw blurRad="38100" dist="38100" dir="2700000" algn="tl">
                              <a:srgbClr val="000000">
                                <a:alpha val="43137"/>
                              </a:srgbClr>
                            </a:outerShdw>
                          </a:effectLst>
                        </a:rPr>
                        <a:t>CUM </a:t>
                      </a:r>
                      <a:r>
                        <a:rPr sz="2400" b="1" cap="small" dirty="0">
                          <a:solidFill>
                            <a:srgbClr val="FFFFFF"/>
                          </a:solidFill>
                          <a:effectLst>
                            <a:outerShdw blurRad="38100" dist="38100" dir="2700000" algn="tl">
                              <a:srgbClr val="000000">
                                <a:alpha val="43137"/>
                              </a:srgbClr>
                            </a:outerShdw>
                          </a:effectLst>
                        </a:rPr>
                        <a:t>A</a:t>
                      </a:r>
                      <a:r>
                        <a:rPr lang="en-GB" sz="2400" b="1" cap="small" dirty="0">
                          <a:solidFill>
                            <a:srgbClr val="FFFFFF"/>
                          </a:solidFill>
                          <a:effectLst>
                            <a:outerShdw blurRad="38100" dist="38100" dir="2700000" algn="tl">
                              <a:srgbClr val="000000">
                                <a:alpha val="43137"/>
                              </a:srgbClr>
                            </a:outerShdw>
                          </a:effectLst>
                        </a:rPr>
                        <a:t>ctual (JAN–MAR)</a:t>
                      </a:r>
                      <a:r>
                        <a:rPr sz="2400" b="1" cap="small" dirty="0">
                          <a:solidFill>
                            <a:srgbClr val="FFFFFF"/>
                          </a:solidFill>
                          <a:effectLst>
                            <a:outerShdw blurRad="38100" dist="38100" dir="2700000" algn="tl">
                              <a:srgbClr val="000000">
                                <a:alpha val="43137"/>
                              </a:srgbClr>
                            </a:outerShdw>
                          </a:effectLst>
                        </a:rPr>
                        <a:t>
(₦’</a:t>
                      </a:r>
                      <a:r>
                        <a:rPr sz="2400" b="1" cap="small" dirty="0" err="1">
                          <a:solidFill>
                            <a:srgbClr val="FFFFFF"/>
                          </a:solidFill>
                          <a:effectLst>
                            <a:outerShdw blurRad="38100" dist="38100" dir="2700000" algn="tl">
                              <a:srgbClr val="000000">
                                <a:alpha val="43137"/>
                              </a:srgbClr>
                            </a:outerShdw>
                          </a:effectLst>
                        </a:rPr>
                        <a:t>bn</a:t>
                      </a:r>
                      <a:r>
                        <a:rPr sz="2400" b="1" cap="small" dirty="0">
                          <a:solidFill>
                            <a:srgbClr val="FFFFFF"/>
                          </a:solidFill>
                          <a:effectLst>
                            <a:outerShdw blurRad="38100" dist="38100" dir="2700000" algn="tl">
                              <a:srgbClr val="000000">
                                <a:alpha val="43137"/>
                              </a:srgbClr>
                            </a:outerShdw>
                          </a:effectLst>
                        </a:rPr>
                        <a:t>)</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10000"/>
                  </a:ext>
                </a:extLst>
              </a:tr>
              <a:tr h="1200262">
                <a:tc>
                  <a:txBody>
                    <a:bodyPr/>
                    <a:lstStyle/>
                    <a:p>
                      <a:pPr defTabSz="825500">
                        <a:lnSpc>
                          <a:spcPct val="10000"/>
                        </a:lnSpc>
                        <a:defRPr sz="1800">
                          <a:effectLst/>
                        </a:defRPr>
                      </a:pPr>
                      <a:r>
                        <a:rPr lang="en-US" sz="2400" b="1" dirty="0"/>
                        <a:t>2021</a:t>
                      </a:r>
                      <a:endParaRPr sz="2400" b="1" dirty="0"/>
                    </a:p>
                  </a:txBody>
                  <a:tcPr marL="9840" marR="9840" marT="9840" marB="984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defTabSz="825500">
                        <a:lnSpc>
                          <a:spcPct val="10000"/>
                        </a:lnSpc>
                        <a:defRPr sz="1800">
                          <a:effectLst/>
                        </a:defRPr>
                      </a:pPr>
                      <a:r>
                        <a:rPr lang="en-US" sz="2400" b="1" dirty="0"/>
                        <a:t>702.935</a:t>
                      </a:r>
                      <a:endParaRPr sz="2400" b="1" dirty="0"/>
                    </a:p>
                  </a:txBody>
                  <a:tcPr marL="9840" marR="9840" marT="9840" marB="984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defTabSz="825500">
                        <a:lnSpc>
                          <a:spcPct val="10000"/>
                        </a:lnSpc>
                        <a:defRPr sz="1800">
                          <a:effectLst/>
                        </a:defRPr>
                      </a:pPr>
                      <a:r>
                        <a:rPr lang="en-US" sz="2400" b="1" dirty="0"/>
                        <a:t>175.734</a:t>
                      </a:r>
                      <a:endParaRPr sz="2400" b="1" dirty="0"/>
                    </a:p>
                  </a:txBody>
                  <a:tcPr marL="9840" marR="9840" marT="9840" marB="984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defTabSz="825500">
                        <a:lnSpc>
                          <a:spcPct val="10000"/>
                        </a:lnSpc>
                        <a:defRPr sz="1800">
                          <a:effectLst/>
                        </a:defRPr>
                      </a:pPr>
                      <a:r>
                        <a:rPr lang="en-US" sz="2400" b="1" dirty="0"/>
                        <a:t>119.922</a:t>
                      </a:r>
                      <a:endParaRPr sz="2400" b="1" dirty="0"/>
                    </a:p>
                  </a:txBody>
                  <a:tcPr marL="9840" marR="9840" marT="9840" marB="984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pSp>
        <p:nvGrpSpPr>
          <p:cNvPr id="56" name="Group 55"/>
          <p:cNvGrpSpPr/>
          <p:nvPr/>
        </p:nvGrpSpPr>
        <p:grpSpPr>
          <a:xfrm>
            <a:off x="3771097" y="5864271"/>
            <a:ext cx="6953539" cy="2080885"/>
            <a:chOff x="2675351" y="6143881"/>
            <a:chExt cx="6953539" cy="2080885"/>
          </a:xfrm>
        </p:grpSpPr>
        <p:grpSp>
          <p:nvGrpSpPr>
            <p:cNvPr id="57" name="Group"/>
            <p:cNvGrpSpPr/>
            <p:nvPr/>
          </p:nvGrpSpPr>
          <p:grpSpPr>
            <a:xfrm>
              <a:off x="2675351" y="6657016"/>
              <a:ext cx="6953539" cy="1567750"/>
              <a:chOff x="-1" y="0"/>
              <a:chExt cx="6001041" cy="2228953"/>
            </a:xfrm>
          </p:grpSpPr>
          <p:grpSp>
            <p:nvGrpSpPr>
              <p:cNvPr id="59" name="Group"/>
              <p:cNvGrpSpPr/>
              <p:nvPr/>
            </p:nvGrpSpPr>
            <p:grpSpPr>
              <a:xfrm>
                <a:off x="2088173" y="0"/>
                <a:ext cx="3912867" cy="1030435"/>
                <a:chOff x="-1" y="0"/>
                <a:chExt cx="3912866" cy="1030434"/>
              </a:xfrm>
            </p:grpSpPr>
            <p:grpSp>
              <p:nvGrpSpPr>
                <p:cNvPr id="80" name="Rectangle: Rounded Corners 29"/>
                <p:cNvGrpSpPr/>
                <p:nvPr/>
              </p:nvGrpSpPr>
              <p:grpSpPr>
                <a:xfrm>
                  <a:off x="1108845" y="0"/>
                  <a:ext cx="2804020" cy="1030434"/>
                  <a:chOff x="0" y="0"/>
                  <a:chExt cx="2804019" cy="1030433"/>
                </a:xfrm>
              </p:grpSpPr>
              <p:sp>
                <p:nvSpPr>
                  <p:cNvPr id="95" name="Rounded Rectangle"/>
                  <p:cNvSpPr/>
                  <p:nvPr/>
                </p:nvSpPr>
                <p:spPr>
                  <a:xfrm>
                    <a:off x="0" y="0"/>
                    <a:ext cx="1841397" cy="1030433"/>
                  </a:xfrm>
                  <a:prstGeom prst="roundRect">
                    <a:avLst>
                      <a:gd name="adj" fmla="val 17206"/>
                    </a:avLst>
                  </a:prstGeom>
                  <a:ln/>
                </p:spPr>
                <p:style>
                  <a:lnRef idx="2">
                    <a:schemeClr val="dk1">
                      <a:shade val="50000"/>
                    </a:schemeClr>
                  </a:lnRef>
                  <a:fillRef idx="1">
                    <a:schemeClr val="dk1"/>
                  </a:fillRef>
                  <a:effectRef idx="0">
                    <a:schemeClr val="dk1"/>
                  </a:effectRef>
                  <a:fontRef idx="minor">
                    <a:schemeClr val="lt1"/>
                  </a:fontRef>
                </p:style>
                <p:txBody>
                  <a:bodyPr wrap="square" lIns="38100" tIns="38100" rIns="38100" bIns="38100" numCol="1" anchor="ctr">
                    <a:noAutofit/>
                  </a:bodyPr>
                  <a:lstStyle/>
                  <a:p>
                    <a:pPr algn="l">
                      <a:spcBef>
                        <a:spcPts val="1000"/>
                      </a:spcBef>
                      <a:defRPr sz="2700">
                        <a:solidFill>
                          <a:srgbClr val="000000"/>
                        </a:solidFill>
                        <a:effectLst/>
                      </a:defRPr>
                    </a:pPr>
                    <a:endParaRPr dirty="0"/>
                  </a:p>
                </p:txBody>
              </p:sp>
              <p:sp>
                <p:nvSpPr>
                  <p:cNvPr id="96" name="310,055 (₦’bn)"/>
                  <p:cNvSpPr/>
                  <p:nvPr/>
                </p:nvSpPr>
                <p:spPr>
                  <a:xfrm>
                    <a:off x="51926" y="230791"/>
                    <a:ext cx="2752093" cy="568849"/>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8" tIns="45718" rIns="45718" bIns="45718" numCol="1" anchor="ctr">
                    <a:spAutoFit/>
                  </a:bodyPr>
                  <a:lstStyle>
                    <a:lvl1pPr algn="l">
                      <a:spcBef>
                        <a:spcPts val="1000"/>
                      </a:spcBef>
                      <a:defRPr sz="2700">
                        <a:solidFill>
                          <a:srgbClr val="000000"/>
                        </a:solidFill>
                      </a:defRPr>
                    </a:lvl1pPr>
                  </a:lstStyle>
                  <a:p>
                    <a:pPr>
                      <a:defRPr>
                        <a:effectLst/>
                      </a:defRPr>
                    </a:pPr>
                    <a:r>
                      <a:rPr lang="en-US" sz="2000" dirty="0"/>
                      <a:t>143.002 </a:t>
                    </a:r>
                    <a:r>
                      <a:rPr sz="2000" dirty="0"/>
                      <a:t>(</a:t>
                    </a:r>
                    <a:r>
                      <a:rPr lang="en-GB" sz="2000" dirty="0"/>
                      <a:t>₦</a:t>
                    </a:r>
                    <a:r>
                      <a:rPr sz="2000" dirty="0"/>
                      <a:t>’</a:t>
                    </a:r>
                    <a:r>
                      <a:rPr lang="en-GB" sz="2000" dirty="0"/>
                      <a:t>BN</a:t>
                    </a:r>
                    <a:r>
                      <a:rPr sz="2000" dirty="0"/>
                      <a:t>)</a:t>
                    </a:r>
                  </a:p>
                </p:txBody>
              </p:sp>
            </p:grpSp>
            <p:grpSp>
              <p:nvGrpSpPr>
                <p:cNvPr id="81" name="Group"/>
                <p:cNvGrpSpPr/>
                <p:nvPr/>
              </p:nvGrpSpPr>
              <p:grpSpPr>
                <a:xfrm>
                  <a:off x="-1" y="10254"/>
                  <a:ext cx="1004617" cy="1009925"/>
                  <a:chOff x="0" y="0"/>
                  <a:chExt cx="1004615" cy="1009924"/>
                </a:xfrm>
              </p:grpSpPr>
              <p:sp>
                <p:nvSpPr>
                  <p:cNvPr id="82" name="Rectangle: Rounded Corners 28"/>
                  <p:cNvSpPr/>
                  <p:nvPr/>
                </p:nvSpPr>
                <p:spPr>
                  <a:xfrm>
                    <a:off x="0" y="0"/>
                    <a:ext cx="1004615" cy="1009924"/>
                  </a:xfrm>
                  <a:prstGeom prst="roundRect">
                    <a:avLst>
                      <a:gd name="adj" fmla="val 6667"/>
                    </a:avLst>
                  </a:prstGeom>
                  <a:solidFill>
                    <a:srgbClr val="00B050"/>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defTabSz="914400">
                      <a:defRPr sz="1800" b="0" cap="none">
                        <a:solidFill>
                          <a:srgbClr val="FFFFFF"/>
                        </a:solidFill>
                        <a:effectLst/>
                        <a:latin typeface="Calibri"/>
                        <a:ea typeface="Calibri"/>
                        <a:cs typeface="Calibri"/>
                        <a:sym typeface="Calibri"/>
                      </a:defRPr>
                    </a:pPr>
                    <a:endParaRPr dirty="0"/>
                  </a:p>
                </p:txBody>
              </p:sp>
              <p:sp>
                <p:nvSpPr>
                  <p:cNvPr id="83" name="Freeform: Shape 78"/>
                  <p:cNvSpPr/>
                  <p:nvPr/>
                </p:nvSpPr>
                <p:spPr>
                  <a:xfrm>
                    <a:off x="166672" y="544685"/>
                    <a:ext cx="178122" cy="156842"/>
                  </a:xfrm>
                  <a:custGeom>
                    <a:avLst/>
                    <a:gdLst/>
                    <a:ahLst/>
                    <a:cxnLst>
                      <a:cxn ang="0">
                        <a:pos x="wd2" y="hd2"/>
                      </a:cxn>
                      <a:cxn ang="5400000">
                        <a:pos x="wd2" y="hd2"/>
                      </a:cxn>
                      <a:cxn ang="10800000">
                        <a:pos x="wd2" y="hd2"/>
                      </a:cxn>
                      <a:cxn ang="16200000">
                        <a:pos x="wd2" y="hd2"/>
                      </a:cxn>
                    </a:cxnLst>
                    <a:rect l="0" t="0" r="r" b="b"/>
                    <a:pathLst>
                      <a:path w="21600" h="21600" extrusionOk="0">
                        <a:moveTo>
                          <a:pt x="19421" y="0"/>
                        </a:moveTo>
                        <a:lnTo>
                          <a:pt x="0" y="0"/>
                        </a:lnTo>
                        <a:cubicBezTo>
                          <a:pt x="956" y="7858"/>
                          <a:pt x="3651" y="15283"/>
                          <a:pt x="7856" y="21600"/>
                        </a:cubicBezTo>
                        <a:lnTo>
                          <a:pt x="21600" y="5992"/>
                        </a:lnTo>
                        <a:cubicBezTo>
                          <a:pt x="20644" y="4125"/>
                          <a:pt x="19899" y="2106"/>
                          <a:pt x="19421"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84" name="Freeform: Shape 79"/>
                  <p:cNvSpPr/>
                  <p:nvPr/>
                </p:nvSpPr>
                <p:spPr>
                  <a:xfrm>
                    <a:off x="297661" y="654393"/>
                    <a:ext cx="157631" cy="178281"/>
                  </a:xfrm>
                  <a:custGeom>
                    <a:avLst/>
                    <a:gdLst/>
                    <a:ahLst/>
                    <a:cxnLst>
                      <a:cxn ang="0">
                        <a:pos x="wd2" y="hd2"/>
                      </a:cxn>
                      <a:cxn ang="5400000">
                        <a:pos x="wd2" y="hd2"/>
                      </a:cxn>
                      <a:cxn ang="10800000">
                        <a:pos x="wd2" y="hd2"/>
                      </a:cxn>
                      <a:cxn ang="16200000">
                        <a:pos x="wd2" y="hd2"/>
                      </a:cxn>
                    </a:cxnLst>
                    <a:rect l="0" t="0" r="r" b="b"/>
                    <a:pathLst>
                      <a:path w="21600" h="21600" extrusionOk="0">
                        <a:moveTo>
                          <a:pt x="15509" y="0"/>
                        </a:moveTo>
                        <a:lnTo>
                          <a:pt x="0" y="13732"/>
                        </a:lnTo>
                        <a:cubicBezTo>
                          <a:pt x="6307" y="17952"/>
                          <a:pt x="13738" y="20664"/>
                          <a:pt x="21600" y="21600"/>
                        </a:cubicBezTo>
                        <a:lnTo>
                          <a:pt x="21600" y="2196"/>
                        </a:lnTo>
                        <a:cubicBezTo>
                          <a:pt x="19462" y="1700"/>
                          <a:pt x="17431" y="974"/>
                          <a:pt x="15509"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85" name="Freeform: Shape 80"/>
                  <p:cNvSpPr/>
                  <p:nvPr/>
                </p:nvSpPr>
                <p:spPr>
                  <a:xfrm>
                    <a:off x="548133" y="164956"/>
                    <a:ext cx="286887" cy="287044"/>
                  </a:xfrm>
                  <a:custGeom>
                    <a:avLst/>
                    <a:gdLst/>
                    <a:ahLst/>
                    <a:cxnLst>
                      <a:cxn ang="0">
                        <a:pos x="wd2" y="hd2"/>
                      </a:cxn>
                      <a:cxn ang="5400000">
                        <a:pos x="wd2" y="hd2"/>
                      </a:cxn>
                      <a:cxn ang="10800000">
                        <a:pos x="wd2" y="hd2"/>
                      </a:cxn>
                      <a:cxn ang="16200000">
                        <a:pos x="wd2" y="hd2"/>
                      </a:cxn>
                    </a:cxnLst>
                    <a:rect l="0" t="0" r="r" b="b"/>
                    <a:pathLst>
                      <a:path w="21600" h="21600" extrusionOk="0">
                        <a:moveTo>
                          <a:pt x="83" y="0"/>
                        </a:moveTo>
                        <a:cubicBezTo>
                          <a:pt x="47" y="4413"/>
                          <a:pt x="12" y="10094"/>
                          <a:pt x="0" y="12075"/>
                        </a:cubicBezTo>
                        <a:cubicBezTo>
                          <a:pt x="4640" y="13332"/>
                          <a:pt x="8260" y="16962"/>
                          <a:pt x="9506" y="21600"/>
                        </a:cubicBezTo>
                        <a:lnTo>
                          <a:pt x="21600" y="21576"/>
                        </a:lnTo>
                        <a:cubicBezTo>
                          <a:pt x="20010" y="10415"/>
                          <a:pt x="11251" y="1625"/>
                          <a:pt x="83"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86" name="Freeform: Shape 81"/>
                  <p:cNvSpPr/>
                  <p:nvPr/>
                </p:nvSpPr>
                <p:spPr>
                  <a:xfrm>
                    <a:off x="350152" y="180718"/>
                    <a:ext cx="104036" cy="119800"/>
                  </a:xfrm>
                  <a:custGeom>
                    <a:avLst/>
                    <a:gdLst/>
                    <a:ahLst/>
                    <a:cxnLst>
                      <a:cxn ang="0">
                        <a:pos x="wd2" y="hd2"/>
                      </a:cxn>
                      <a:cxn ang="5400000">
                        <a:pos x="wd2" y="hd2"/>
                      </a:cxn>
                      <a:cxn ang="10800000">
                        <a:pos x="wd2" y="hd2"/>
                      </a:cxn>
                      <a:cxn ang="16200000">
                        <a:pos x="wd2" y="hd2"/>
                      </a:cxn>
                    </a:cxnLst>
                    <a:rect l="0" t="0" r="r" b="b"/>
                    <a:pathLst>
                      <a:path w="21600" h="21600" extrusionOk="0">
                        <a:moveTo>
                          <a:pt x="7789" y="0"/>
                        </a:moveTo>
                        <a:cubicBezTo>
                          <a:pt x="5138" y="824"/>
                          <a:pt x="2520" y="1791"/>
                          <a:pt x="0" y="2899"/>
                        </a:cubicBezTo>
                        <a:lnTo>
                          <a:pt x="21535" y="21600"/>
                        </a:lnTo>
                        <a:lnTo>
                          <a:pt x="21600" y="11994"/>
                        </a:lnTo>
                        <a:lnTo>
                          <a:pt x="7789"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87" name="Freeform: Shape 82"/>
                  <p:cNvSpPr/>
                  <p:nvPr/>
                </p:nvSpPr>
                <p:spPr>
                  <a:xfrm>
                    <a:off x="295297" y="209408"/>
                    <a:ext cx="149749" cy="134774"/>
                  </a:xfrm>
                  <a:custGeom>
                    <a:avLst/>
                    <a:gdLst/>
                    <a:ahLst/>
                    <a:cxnLst>
                      <a:cxn ang="0">
                        <a:pos x="wd2" y="hd2"/>
                      </a:cxn>
                      <a:cxn ang="5400000">
                        <a:pos x="wd2" y="hd2"/>
                      </a:cxn>
                      <a:cxn ang="10800000">
                        <a:pos x="wd2" y="hd2"/>
                      </a:cxn>
                      <a:cxn ang="16200000">
                        <a:pos x="wd2" y="hd2"/>
                      </a:cxn>
                    </a:cxnLst>
                    <a:rect l="0" t="0" r="r" b="b"/>
                    <a:pathLst>
                      <a:path w="21600" h="21600" extrusionOk="0">
                        <a:moveTo>
                          <a:pt x="4593" y="0"/>
                        </a:moveTo>
                        <a:cubicBezTo>
                          <a:pt x="3001" y="1061"/>
                          <a:pt x="1478" y="2223"/>
                          <a:pt x="0" y="3486"/>
                        </a:cubicBezTo>
                        <a:lnTo>
                          <a:pt x="16302" y="21600"/>
                        </a:lnTo>
                        <a:cubicBezTo>
                          <a:pt x="17985" y="20488"/>
                          <a:pt x="19758" y="19579"/>
                          <a:pt x="21600" y="18897"/>
                        </a:cubicBezTo>
                        <a:lnTo>
                          <a:pt x="4593"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88" name="Freeform: Shape 83"/>
                  <p:cNvSpPr/>
                  <p:nvPr/>
                </p:nvSpPr>
                <p:spPr>
                  <a:xfrm>
                    <a:off x="414937" y="164482"/>
                    <a:ext cx="39567" cy="47291"/>
                  </a:xfrm>
                  <a:custGeom>
                    <a:avLst/>
                    <a:gdLst/>
                    <a:ahLst/>
                    <a:cxnLst>
                      <a:cxn ang="0">
                        <a:pos x="wd2" y="hd2"/>
                      </a:cxn>
                      <a:cxn ang="5400000">
                        <a:pos x="wd2" y="hd2"/>
                      </a:cxn>
                      <a:cxn ang="10800000">
                        <a:pos x="wd2" y="hd2"/>
                      </a:cxn>
                      <a:cxn ang="16200000">
                        <a:pos x="wd2" y="hd2"/>
                      </a:cxn>
                    </a:cxnLst>
                    <a:rect l="0" t="0" r="r" b="b"/>
                    <a:pathLst>
                      <a:path w="21600" h="21600" extrusionOk="0">
                        <a:moveTo>
                          <a:pt x="0" y="3600"/>
                        </a:moveTo>
                        <a:lnTo>
                          <a:pt x="21514" y="21600"/>
                        </a:lnTo>
                        <a:lnTo>
                          <a:pt x="21600" y="0"/>
                        </a:lnTo>
                        <a:cubicBezTo>
                          <a:pt x="14285" y="864"/>
                          <a:pt x="7143" y="2016"/>
                          <a:pt x="0" y="360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89" name="Freeform: Shape 84"/>
                  <p:cNvSpPr/>
                  <p:nvPr/>
                </p:nvSpPr>
                <p:spPr>
                  <a:xfrm>
                    <a:off x="249270" y="247396"/>
                    <a:ext cx="138400" cy="138401"/>
                  </a:xfrm>
                  <a:custGeom>
                    <a:avLst/>
                    <a:gdLst/>
                    <a:ahLst/>
                    <a:cxnLst>
                      <a:cxn ang="0">
                        <a:pos x="wd2" y="hd2"/>
                      </a:cxn>
                      <a:cxn ang="5400000">
                        <a:pos x="wd2" y="hd2"/>
                      </a:cxn>
                      <a:cxn ang="10800000">
                        <a:pos x="wd2" y="hd2"/>
                      </a:cxn>
                      <a:cxn ang="16200000">
                        <a:pos x="wd2" y="hd2"/>
                      </a:cxn>
                    </a:cxnLst>
                    <a:rect l="0" t="0" r="r" b="b"/>
                    <a:pathLst>
                      <a:path w="21600" h="21600" extrusionOk="0">
                        <a:moveTo>
                          <a:pt x="4182" y="0"/>
                        </a:moveTo>
                        <a:cubicBezTo>
                          <a:pt x="3469" y="640"/>
                          <a:pt x="2755" y="1304"/>
                          <a:pt x="2067" y="1993"/>
                        </a:cubicBezTo>
                        <a:cubicBezTo>
                          <a:pt x="1353" y="2706"/>
                          <a:pt x="664" y="3444"/>
                          <a:pt x="0" y="4182"/>
                        </a:cubicBezTo>
                        <a:lnTo>
                          <a:pt x="17418" y="21600"/>
                        </a:lnTo>
                        <a:cubicBezTo>
                          <a:pt x="18672" y="20075"/>
                          <a:pt x="20050" y="18672"/>
                          <a:pt x="21600" y="17418"/>
                        </a:cubicBezTo>
                        <a:lnTo>
                          <a:pt x="4182"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90" name="Freeform: Shape 85"/>
                  <p:cNvSpPr/>
                  <p:nvPr/>
                </p:nvSpPr>
                <p:spPr>
                  <a:xfrm>
                    <a:off x="166830" y="413063"/>
                    <a:ext cx="44611" cy="37045"/>
                  </a:xfrm>
                  <a:custGeom>
                    <a:avLst/>
                    <a:gdLst/>
                    <a:ahLst/>
                    <a:cxnLst>
                      <a:cxn ang="0">
                        <a:pos x="wd2" y="hd2"/>
                      </a:cxn>
                      <a:cxn ang="5400000">
                        <a:pos x="wd2" y="hd2"/>
                      </a:cxn>
                      <a:cxn ang="10800000">
                        <a:pos x="wd2" y="hd2"/>
                      </a:cxn>
                      <a:cxn ang="16200000">
                        <a:pos x="wd2" y="hd2"/>
                      </a:cxn>
                    </a:cxnLst>
                    <a:rect l="0" t="0" r="r" b="b"/>
                    <a:pathLst>
                      <a:path w="21600" h="21600" extrusionOk="0">
                        <a:moveTo>
                          <a:pt x="3664" y="0"/>
                        </a:moveTo>
                        <a:cubicBezTo>
                          <a:pt x="2137" y="7077"/>
                          <a:pt x="916" y="14339"/>
                          <a:pt x="0" y="21600"/>
                        </a:cubicBezTo>
                        <a:lnTo>
                          <a:pt x="21600" y="21600"/>
                        </a:lnTo>
                        <a:lnTo>
                          <a:pt x="3664"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91" name="Freeform: Shape 86"/>
                  <p:cNvSpPr/>
                  <p:nvPr/>
                </p:nvSpPr>
                <p:spPr>
                  <a:xfrm>
                    <a:off x="182908" y="348436"/>
                    <a:ext cx="117751" cy="101673"/>
                  </a:xfrm>
                  <a:custGeom>
                    <a:avLst/>
                    <a:gdLst/>
                    <a:ahLst/>
                    <a:cxnLst>
                      <a:cxn ang="0">
                        <a:pos x="wd2" y="hd2"/>
                      </a:cxn>
                      <a:cxn ang="5400000">
                        <a:pos x="wd2" y="hd2"/>
                      </a:cxn>
                      <a:cxn ang="10800000">
                        <a:pos x="wd2" y="hd2"/>
                      </a:cxn>
                      <a:cxn ang="16200000">
                        <a:pos x="wd2" y="hd2"/>
                      </a:cxn>
                    </a:cxnLst>
                    <a:rect l="0" t="0" r="r" b="b"/>
                    <a:pathLst>
                      <a:path w="21600" h="21600" extrusionOk="0">
                        <a:moveTo>
                          <a:pt x="2920" y="0"/>
                        </a:moveTo>
                        <a:cubicBezTo>
                          <a:pt x="1793" y="2579"/>
                          <a:pt x="839" y="5224"/>
                          <a:pt x="0" y="7937"/>
                        </a:cubicBezTo>
                        <a:lnTo>
                          <a:pt x="11798" y="21600"/>
                        </a:lnTo>
                        <a:lnTo>
                          <a:pt x="21600" y="21600"/>
                        </a:lnTo>
                        <a:lnTo>
                          <a:pt x="2920"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92" name="Freeform: Shape 87"/>
                  <p:cNvSpPr/>
                  <p:nvPr/>
                </p:nvSpPr>
                <p:spPr>
                  <a:xfrm>
                    <a:off x="211596" y="293739"/>
                    <a:ext cx="134617" cy="149750"/>
                  </a:xfrm>
                  <a:custGeom>
                    <a:avLst/>
                    <a:gdLst/>
                    <a:ahLst/>
                    <a:cxnLst>
                      <a:cxn ang="0">
                        <a:pos x="wd2" y="hd2"/>
                      </a:cxn>
                      <a:cxn ang="5400000">
                        <a:pos x="wd2" y="hd2"/>
                      </a:cxn>
                      <a:cxn ang="10800000">
                        <a:pos x="wd2" y="hd2"/>
                      </a:cxn>
                      <a:cxn ang="16200000">
                        <a:pos x="wd2" y="hd2"/>
                      </a:cxn>
                    </a:cxnLst>
                    <a:rect l="0" t="0" r="r" b="b"/>
                    <a:pathLst>
                      <a:path w="21600" h="21600" extrusionOk="0">
                        <a:moveTo>
                          <a:pt x="3465" y="0"/>
                        </a:moveTo>
                        <a:cubicBezTo>
                          <a:pt x="2200" y="1478"/>
                          <a:pt x="1062" y="3001"/>
                          <a:pt x="0" y="4593"/>
                        </a:cubicBezTo>
                        <a:lnTo>
                          <a:pt x="18919" y="21600"/>
                        </a:lnTo>
                        <a:cubicBezTo>
                          <a:pt x="19577" y="19736"/>
                          <a:pt x="20487" y="17962"/>
                          <a:pt x="21600" y="16302"/>
                        </a:cubicBezTo>
                        <a:lnTo>
                          <a:pt x="3465"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93" name="Freeform: Shape 88"/>
                  <p:cNvSpPr/>
                  <p:nvPr/>
                </p:nvSpPr>
                <p:spPr>
                  <a:xfrm>
                    <a:off x="622376" y="591869"/>
                    <a:ext cx="174969" cy="33313"/>
                  </a:xfrm>
                  <a:prstGeom prst="rect">
                    <a:avLst/>
                  </a:pr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94" name="Freeform: Shape 89"/>
                  <p:cNvSpPr/>
                  <p:nvPr/>
                </p:nvSpPr>
                <p:spPr>
                  <a:xfrm>
                    <a:off x="578240" y="554141"/>
                    <a:ext cx="261666" cy="291615"/>
                  </a:xfrm>
                  <a:custGeom>
                    <a:avLst/>
                    <a:gdLst/>
                    <a:ahLst/>
                    <a:cxnLst>
                      <a:cxn ang="0">
                        <a:pos x="wd2" y="hd2"/>
                      </a:cxn>
                      <a:cxn ang="5400000">
                        <a:pos x="wd2" y="hd2"/>
                      </a:cxn>
                      <a:cxn ang="10800000">
                        <a:pos x="wd2" y="hd2"/>
                      </a:cxn>
                      <a:cxn ang="16200000">
                        <a:pos x="wd2" y="hd2"/>
                      </a:cxn>
                    </a:cxnLst>
                    <a:rect l="0" t="0" r="r" b="b"/>
                    <a:pathLst>
                      <a:path w="21600" h="21600" extrusionOk="0">
                        <a:moveTo>
                          <a:pt x="18737" y="0"/>
                        </a:moveTo>
                        <a:lnTo>
                          <a:pt x="2863" y="0"/>
                        </a:lnTo>
                        <a:cubicBezTo>
                          <a:pt x="1275" y="0"/>
                          <a:pt x="0" y="1144"/>
                          <a:pt x="0" y="2569"/>
                        </a:cubicBezTo>
                        <a:lnTo>
                          <a:pt x="0" y="19031"/>
                        </a:lnTo>
                        <a:cubicBezTo>
                          <a:pt x="0" y="20456"/>
                          <a:pt x="1275" y="21600"/>
                          <a:pt x="2863" y="21600"/>
                        </a:cubicBezTo>
                        <a:lnTo>
                          <a:pt x="18737" y="21600"/>
                        </a:lnTo>
                        <a:cubicBezTo>
                          <a:pt x="20325" y="21600"/>
                          <a:pt x="21600" y="20456"/>
                          <a:pt x="21600" y="19031"/>
                        </a:cubicBezTo>
                        <a:lnTo>
                          <a:pt x="21600" y="2569"/>
                        </a:lnTo>
                        <a:cubicBezTo>
                          <a:pt x="21600" y="1144"/>
                          <a:pt x="20325" y="0"/>
                          <a:pt x="18737" y="0"/>
                        </a:cubicBezTo>
                        <a:close/>
                        <a:moveTo>
                          <a:pt x="5595" y="19849"/>
                        </a:moveTo>
                        <a:lnTo>
                          <a:pt x="2537" y="19849"/>
                        </a:lnTo>
                        <a:cubicBezTo>
                          <a:pt x="1965" y="19849"/>
                          <a:pt x="1496" y="19428"/>
                          <a:pt x="1496" y="18915"/>
                        </a:cubicBezTo>
                        <a:cubicBezTo>
                          <a:pt x="1496" y="18401"/>
                          <a:pt x="1965" y="17981"/>
                          <a:pt x="2537" y="17981"/>
                        </a:cubicBezTo>
                        <a:lnTo>
                          <a:pt x="5595" y="17981"/>
                        </a:lnTo>
                        <a:cubicBezTo>
                          <a:pt x="6168" y="17981"/>
                          <a:pt x="6636" y="18401"/>
                          <a:pt x="6636" y="18915"/>
                        </a:cubicBezTo>
                        <a:cubicBezTo>
                          <a:pt x="6636" y="19428"/>
                          <a:pt x="6181" y="19849"/>
                          <a:pt x="5595" y="19849"/>
                        </a:cubicBezTo>
                        <a:close/>
                        <a:moveTo>
                          <a:pt x="5595" y="15178"/>
                        </a:moveTo>
                        <a:lnTo>
                          <a:pt x="2537" y="15178"/>
                        </a:lnTo>
                        <a:cubicBezTo>
                          <a:pt x="1965" y="15178"/>
                          <a:pt x="1496" y="14758"/>
                          <a:pt x="1496" y="14244"/>
                        </a:cubicBezTo>
                        <a:cubicBezTo>
                          <a:pt x="1496" y="13731"/>
                          <a:pt x="1965" y="13310"/>
                          <a:pt x="2537" y="13310"/>
                        </a:cubicBezTo>
                        <a:lnTo>
                          <a:pt x="5595" y="13310"/>
                        </a:lnTo>
                        <a:cubicBezTo>
                          <a:pt x="6168" y="13310"/>
                          <a:pt x="6636" y="13731"/>
                          <a:pt x="6636" y="14244"/>
                        </a:cubicBezTo>
                        <a:cubicBezTo>
                          <a:pt x="6636" y="14758"/>
                          <a:pt x="6181" y="15178"/>
                          <a:pt x="5595" y="15178"/>
                        </a:cubicBezTo>
                        <a:close/>
                        <a:moveTo>
                          <a:pt x="5595" y="10391"/>
                        </a:moveTo>
                        <a:lnTo>
                          <a:pt x="2537" y="10391"/>
                        </a:lnTo>
                        <a:cubicBezTo>
                          <a:pt x="1965" y="10391"/>
                          <a:pt x="1496" y="9971"/>
                          <a:pt x="1496" y="9457"/>
                        </a:cubicBezTo>
                        <a:cubicBezTo>
                          <a:pt x="1496" y="8944"/>
                          <a:pt x="1965" y="8523"/>
                          <a:pt x="2537" y="8523"/>
                        </a:cubicBezTo>
                        <a:lnTo>
                          <a:pt x="5595" y="8523"/>
                        </a:lnTo>
                        <a:cubicBezTo>
                          <a:pt x="6168" y="8523"/>
                          <a:pt x="6636" y="8944"/>
                          <a:pt x="6636" y="9457"/>
                        </a:cubicBezTo>
                        <a:cubicBezTo>
                          <a:pt x="6636" y="9971"/>
                          <a:pt x="6181" y="10391"/>
                          <a:pt x="5595" y="10391"/>
                        </a:cubicBezTo>
                        <a:close/>
                        <a:moveTo>
                          <a:pt x="12309" y="19849"/>
                        </a:moveTo>
                        <a:lnTo>
                          <a:pt x="9252" y="19849"/>
                        </a:lnTo>
                        <a:cubicBezTo>
                          <a:pt x="8679" y="19849"/>
                          <a:pt x="8211" y="19428"/>
                          <a:pt x="8211" y="18915"/>
                        </a:cubicBezTo>
                        <a:cubicBezTo>
                          <a:pt x="8211" y="18401"/>
                          <a:pt x="8679" y="17981"/>
                          <a:pt x="9252" y="17981"/>
                        </a:cubicBezTo>
                        <a:lnTo>
                          <a:pt x="12309" y="17981"/>
                        </a:lnTo>
                        <a:cubicBezTo>
                          <a:pt x="12882" y="17981"/>
                          <a:pt x="13350" y="18401"/>
                          <a:pt x="13350" y="18915"/>
                        </a:cubicBezTo>
                        <a:cubicBezTo>
                          <a:pt x="13350" y="19428"/>
                          <a:pt x="12882" y="19849"/>
                          <a:pt x="12309" y="19849"/>
                        </a:cubicBezTo>
                        <a:close/>
                        <a:moveTo>
                          <a:pt x="12309" y="15178"/>
                        </a:moveTo>
                        <a:lnTo>
                          <a:pt x="9252" y="15178"/>
                        </a:lnTo>
                        <a:cubicBezTo>
                          <a:pt x="8679" y="15178"/>
                          <a:pt x="8211" y="14758"/>
                          <a:pt x="8211" y="14244"/>
                        </a:cubicBezTo>
                        <a:cubicBezTo>
                          <a:pt x="8211" y="13731"/>
                          <a:pt x="8679" y="13310"/>
                          <a:pt x="9252" y="13310"/>
                        </a:cubicBezTo>
                        <a:lnTo>
                          <a:pt x="12309" y="13310"/>
                        </a:lnTo>
                        <a:cubicBezTo>
                          <a:pt x="12882" y="13310"/>
                          <a:pt x="13350" y="13731"/>
                          <a:pt x="13350" y="14244"/>
                        </a:cubicBezTo>
                        <a:cubicBezTo>
                          <a:pt x="13350" y="14758"/>
                          <a:pt x="12882" y="15178"/>
                          <a:pt x="12309" y="15178"/>
                        </a:cubicBezTo>
                        <a:close/>
                        <a:moveTo>
                          <a:pt x="12309" y="10391"/>
                        </a:moveTo>
                        <a:lnTo>
                          <a:pt x="9252" y="10391"/>
                        </a:lnTo>
                        <a:cubicBezTo>
                          <a:pt x="8679" y="10391"/>
                          <a:pt x="8211" y="9971"/>
                          <a:pt x="8211" y="9457"/>
                        </a:cubicBezTo>
                        <a:cubicBezTo>
                          <a:pt x="8211" y="8944"/>
                          <a:pt x="8679" y="8523"/>
                          <a:pt x="9252" y="8523"/>
                        </a:cubicBezTo>
                        <a:lnTo>
                          <a:pt x="12309" y="8523"/>
                        </a:lnTo>
                        <a:cubicBezTo>
                          <a:pt x="12882" y="8523"/>
                          <a:pt x="13350" y="8944"/>
                          <a:pt x="13350" y="9457"/>
                        </a:cubicBezTo>
                        <a:cubicBezTo>
                          <a:pt x="13350" y="9971"/>
                          <a:pt x="12882" y="10391"/>
                          <a:pt x="12309" y="10391"/>
                        </a:cubicBezTo>
                        <a:close/>
                        <a:moveTo>
                          <a:pt x="19037" y="19849"/>
                        </a:moveTo>
                        <a:lnTo>
                          <a:pt x="15979" y="19849"/>
                        </a:lnTo>
                        <a:cubicBezTo>
                          <a:pt x="15406" y="19849"/>
                          <a:pt x="14938" y="19428"/>
                          <a:pt x="14938" y="18915"/>
                        </a:cubicBezTo>
                        <a:cubicBezTo>
                          <a:pt x="14938" y="18401"/>
                          <a:pt x="15406" y="17981"/>
                          <a:pt x="15979" y="17981"/>
                        </a:cubicBezTo>
                        <a:lnTo>
                          <a:pt x="19037" y="17981"/>
                        </a:lnTo>
                        <a:cubicBezTo>
                          <a:pt x="19609" y="17981"/>
                          <a:pt x="20078" y="18401"/>
                          <a:pt x="20078" y="18915"/>
                        </a:cubicBezTo>
                        <a:cubicBezTo>
                          <a:pt x="20078" y="19428"/>
                          <a:pt x="19609" y="19849"/>
                          <a:pt x="19037" y="19849"/>
                        </a:cubicBezTo>
                        <a:close/>
                        <a:moveTo>
                          <a:pt x="19037" y="15178"/>
                        </a:moveTo>
                        <a:lnTo>
                          <a:pt x="15979" y="15178"/>
                        </a:lnTo>
                        <a:cubicBezTo>
                          <a:pt x="15406" y="15178"/>
                          <a:pt x="14938" y="14758"/>
                          <a:pt x="14938" y="14244"/>
                        </a:cubicBezTo>
                        <a:cubicBezTo>
                          <a:pt x="14938" y="13731"/>
                          <a:pt x="15406" y="13310"/>
                          <a:pt x="15979" y="13310"/>
                        </a:cubicBezTo>
                        <a:lnTo>
                          <a:pt x="19037" y="13310"/>
                        </a:lnTo>
                        <a:cubicBezTo>
                          <a:pt x="19609" y="13310"/>
                          <a:pt x="20078" y="13731"/>
                          <a:pt x="20078" y="14244"/>
                        </a:cubicBezTo>
                        <a:cubicBezTo>
                          <a:pt x="20078" y="14758"/>
                          <a:pt x="19609" y="15178"/>
                          <a:pt x="19037" y="15178"/>
                        </a:cubicBezTo>
                        <a:close/>
                        <a:moveTo>
                          <a:pt x="19037" y="10391"/>
                        </a:moveTo>
                        <a:lnTo>
                          <a:pt x="15979" y="10391"/>
                        </a:lnTo>
                        <a:cubicBezTo>
                          <a:pt x="15406" y="10391"/>
                          <a:pt x="14938" y="9971"/>
                          <a:pt x="14938" y="9457"/>
                        </a:cubicBezTo>
                        <a:cubicBezTo>
                          <a:pt x="14938" y="8944"/>
                          <a:pt x="15406" y="8523"/>
                          <a:pt x="15979" y="8523"/>
                        </a:cubicBezTo>
                        <a:lnTo>
                          <a:pt x="19037" y="8523"/>
                        </a:lnTo>
                        <a:cubicBezTo>
                          <a:pt x="19609" y="8523"/>
                          <a:pt x="20078" y="8944"/>
                          <a:pt x="20078" y="9457"/>
                        </a:cubicBezTo>
                        <a:cubicBezTo>
                          <a:pt x="20078" y="9971"/>
                          <a:pt x="19609" y="10391"/>
                          <a:pt x="19037" y="10391"/>
                        </a:cubicBezTo>
                        <a:close/>
                        <a:moveTo>
                          <a:pt x="20169" y="5838"/>
                        </a:moveTo>
                        <a:cubicBezTo>
                          <a:pt x="20169" y="6352"/>
                          <a:pt x="19700" y="6772"/>
                          <a:pt x="19128" y="6772"/>
                        </a:cubicBezTo>
                        <a:lnTo>
                          <a:pt x="2602" y="6772"/>
                        </a:lnTo>
                        <a:cubicBezTo>
                          <a:pt x="2030" y="6772"/>
                          <a:pt x="1561" y="6352"/>
                          <a:pt x="1561" y="5838"/>
                        </a:cubicBezTo>
                        <a:lnTo>
                          <a:pt x="1561" y="2218"/>
                        </a:lnTo>
                        <a:cubicBezTo>
                          <a:pt x="1561" y="1705"/>
                          <a:pt x="2030" y="1284"/>
                          <a:pt x="2602" y="1284"/>
                        </a:cubicBezTo>
                        <a:lnTo>
                          <a:pt x="19128" y="1284"/>
                        </a:lnTo>
                        <a:cubicBezTo>
                          <a:pt x="19700" y="1284"/>
                          <a:pt x="20169" y="1705"/>
                          <a:pt x="20169" y="2218"/>
                        </a:cubicBezTo>
                        <a:lnTo>
                          <a:pt x="20169" y="5838"/>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grpSp>
          </p:grpSp>
          <p:grpSp>
            <p:nvGrpSpPr>
              <p:cNvPr id="60" name="Group"/>
              <p:cNvGrpSpPr/>
              <p:nvPr/>
            </p:nvGrpSpPr>
            <p:grpSpPr>
              <a:xfrm>
                <a:off x="2088173" y="1198518"/>
                <a:ext cx="3694192" cy="1030435"/>
                <a:chOff x="-1" y="0"/>
                <a:chExt cx="3694191" cy="1030434"/>
              </a:xfrm>
            </p:grpSpPr>
            <p:grpSp>
              <p:nvGrpSpPr>
                <p:cNvPr id="63" name="Rectangle: Rounded Corners 29"/>
                <p:cNvGrpSpPr/>
                <p:nvPr/>
              </p:nvGrpSpPr>
              <p:grpSpPr>
                <a:xfrm>
                  <a:off x="1108845" y="0"/>
                  <a:ext cx="2585345" cy="1030434"/>
                  <a:chOff x="0" y="0"/>
                  <a:chExt cx="2585344" cy="1030433"/>
                </a:xfrm>
              </p:grpSpPr>
              <p:sp>
                <p:nvSpPr>
                  <p:cNvPr id="78" name="Rounded Rectangle"/>
                  <p:cNvSpPr/>
                  <p:nvPr/>
                </p:nvSpPr>
                <p:spPr>
                  <a:xfrm>
                    <a:off x="0" y="0"/>
                    <a:ext cx="1841398" cy="1030433"/>
                  </a:xfrm>
                  <a:prstGeom prst="roundRect">
                    <a:avLst>
                      <a:gd name="adj" fmla="val 17206"/>
                    </a:avLst>
                  </a:prstGeom>
                  <a:solidFill>
                    <a:srgbClr val="FF0000"/>
                  </a:solidFill>
                  <a:ln/>
                </p:spPr>
                <p:style>
                  <a:lnRef idx="1">
                    <a:schemeClr val="accent5"/>
                  </a:lnRef>
                  <a:fillRef idx="3">
                    <a:schemeClr val="accent5"/>
                  </a:fillRef>
                  <a:effectRef idx="2">
                    <a:schemeClr val="accent5"/>
                  </a:effectRef>
                  <a:fontRef idx="minor">
                    <a:schemeClr val="lt1"/>
                  </a:fontRef>
                </p:style>
                <p:txBody>
                  <a:bodyPr wrap="square" lIns="38100" tIns="38100" rIns="38100" bIns="38100" numCol="1" anchor="ctr">
                    <a:noAutofit/>
                  </a:bodyPr>
                  <a:lstStyle/>
                  <a:p>
                    <a:pPr algn="l">
                      <a:spcBef>
                        <a:spcPts val="1000"/>
                      </a:spcBef>
                      <a:defRPr sz="2700">
                        <a:solidFill>
                          <a:srgbClr val="000000"/>
                        </a:solidFill>
                        <a:effectLst/>
                      </a:defRPr>
                    </a:pPr>
                    <a:r>
                      <a:rPr lang="en-GB" sz="2000" dirty="0">
                        <a:solidFill>
                          <a:srgbClr val="000000"/>
                        </a:solidFill>
                      </a:rPr>
                      <a:t>39.258 </a:t>
                    </a:r>
                    <a:r>
                      <a:rPr lang="en-GB" sz="2000" dirty="0"/>
                      <a:t>(₦’BN)</a:t>
                    </a:r>
                    <a:endParaRPr sz="2000" dirty="0"/>
                  </a:p>
                </p:txBody>
              </p:sp>
              <p:sp>
                <p:nvSpPr>
                  <p:cNvPr id="79" name="Text"/>
                  <p:cNvSpPr/>
                  <p:nvPr/>
                </p:nvSpPr>
                <p:spPr>
                  <a:xfrm>
                    <a:off x="51927" y="515215"/>
                    <a:ext cx="2533417" cy="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45718" tIns="45718" rIns="45718" bIns="45718" numCol="1" anchor="ctr">
                    <a:spAutoFit/>
                  </a:bodyPr>
                  <a:lstStyle/>
                  <a:p>
                    <a:pPr algn="l">
                      <a:spcBef>
                        <a:spcPts val="1000"/>
                      </a:spcBef>
                      <a:defRPr sz="2700">
                        <a:solidFill>
                          <a:srgbClr val="000000"/>
                        </a:solidFill>
                        <a:effectLst/>
                      </a:defRPr>
                    </a:pPr>
                    <a:endParaRPr dirty="0"/>
                  </a:p>
                </p:txBody>
              </p:sp>
            </p:grpSp>
            <p:grpSp>
              <p:nvGrpSpPr>
                <p:cNvPr id="64" name="Group"/>
                <p:cNvGrpSpPr/>
                <p:nvPr/>
              </p:nvGrpSpPr>
              <p:grpSpPr>
                <a:xfrm>
                  <a:off x="-1" y="10255"/>
                  <a:ext cx="1004617" cy="1009925"/>
                  <a:chOff x="0" y="0"/>
                  <a:chExt cx="1004615" cy="1009924"/>
                </a:xfrm>
              </p:grpSpPr>
              <p:sp>
                <p:nvSpPr>
                  <p:cNvPr id="65" name="Rectangle: Rounded Corners 28"/>
                  <p:cNvSpPr/>
                  <p:nvPr/>
                </p:nvSpPr>
                <p:spPr>
                  <a:xfrm>
                    <a:off x="0" y="0"/>
                    <a:ext cx="1004615" cy="1009924"/>
                  </a:xfrm>
                  <a:prstGeom prst="roundRect">
                    <a:avLst>
                      <a:gd name="adj" fmla="val 6667"/>
                    </a:avLst>
                  </a:prstGeom>
                  <a:solidFill>
                    <a:srgbClr val="8A6705"/>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defTabSz="914400">
                      <a:defRPr sz="1800" b="0" cap="none">
                        <a:solidFill>
                          <a:srgbClr val="FFFFFF"/>
                        </a:solidFill>
                        <a:effectLst/>
                        <a:latin typeface="Calibri"/>
                        <a:ea typeface="Calibri"/>
                        <a:cs typeface="Calibri"/>
                        <a:sym typeface="Calibri"/>
                      </a:defRPr>
                    </a:pPr>
                    <a:endParaRPr dirty="0"/>
                  </a:p>
                </p:txBody>
              </p:sp>
              <p:sp>
                <p:nvSpPr>
                  <p:cNvPr id="66" name="Freeform: Shape 78"/>
                  <p:cNvSpPr/>
                  <p:nvPr/>
                </p:nvSpPr>
                <p:spPr>
                  <a:xfrm>
                    <a:off x="166672" y="544685"/>
                    <a:ext cx="178122" cy="156842"/>
                  </a:xfrm>
                  <a:custGeom>
                    <a:avLst/>
                    <a:gdLst/>
                    <a:ahLst/>
                    <a:cxnLst>
                      <a:cxn ang="0">
                        <a:pos x="wd2" y="hd2"/>
                      </a:cxn>
                      <a:cxn ang="5400000">
                        <a:pos x="wd2" y="hd2"/>
                      </a:cxn>
                      <a:cxn ang="10800000">
                        <a:pos x="wd2" y="hd2"/>
                      </a:cxn>
                      <a:cxn ang="16200000">
                        <a:pos x="wd2" y="hd2"/>
                      </a:cxn>
                    </a:cxnLst>
                    <a:rect l="0" t="0" r="r" b="b"/>
                    <a:pathLst>
                      <a:path w="21600" h="21600" extrusionOk="0">
                        <a:moveTo>
                          <a:pt x="19421" y="0"/>
                        </a:moveTo>
                        <a:lnTo>
                          <a:pt x="0" y="0"/>
                        </a:lnTo>
                        <a:cubicBezTo>
                          <a:pt x="956" y="7858"/>
                          <a:pt x="3651" y="15283"/>
                          <a:pt x="7856" y="21600"/>
                        </a:cubicBezTo>
                        <a:lnTo>
                          <a:pt x="21600" y="5992"/>
                        </a:lnTo>
                        <a:cubicBezTo>
                          <a:pt x="20644" y="4125"/>
                          <a:pt x="19899" y="2106"/>
                          <a:pt x="19421"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67" name="Freeform: Shape 79"/>
                  <p:cNvSpPr/>
                  <p:nvPr/>
                </p:nvSpPr>
                <p:spPr>
                  <a:xfrm>
                    <a:off x="297661" y="654393"/>
                    <a:ext cx="157631" cy="178281"/>
                  </a:xfrm>
                  <a:custGeom>
                    <a:avLst/>
                    <a:gdLst/>
                    <a:ahLst/>
                    <a:cxnLst>
                      <a:cxn ang="0">
                        <a:pos x="wd2" y="hd2"/>
                      </a:cxn>
                      <a:cxn ang="5400000">
                        <a:pos x="wd2" y="hd2"/>
                      </a:cxn>
                      <a:cxn ang="10800000">
                        <a:pos x="wd2" y="hd2"/>
                      </a:cxn>
                      <a:cxn ang="16200000">
                        <a:pos x="wd2" y="hd2"/>
                      </a:cxn>
                    </a:cxnLst>
                    <a:rect l="0" t="0" r="r" b="b"/>
                    <a:pathLst>
                      <a:path w="21600" h="21600" extrusionOk="0">
                        <a:moveTo>
                          <a:pt x="15509" y="0"/>
                        </a:moveTo>
                        <a:lnTo>
                          <a:pt x="0" y="13732"/>
                        </a:lnTo>
                        <a:cubicBezTo>
                          <a:pt x="6307" y="17952"/>
                          <a:pt x="13738" y="20664"/>
                          <a:pt x="21600" y="21600"/>
                        </a:cubicBezTo>
                        <a:lnTo>
                          <a:pt x="21600" y="2196"/>
                        </a:lnTo>
                        <a:cubicBezTo>
                          <a:pt x="19462" y="1700"/>
                          <a:pt x="17431" y="974"/>
                          <a:pt x="15509"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68" name="Freeform: Shape 80"/>
                  <p:cNvSpPr/>
                  <p:nvPr/>
                </p:nvSpPr>
                <p:spPr>
                  <a:xfrm>
                    <a:off x="548133" y="164956"/>
                    <a:ext cx="286887" cy="287044"/>
                  </a:xfrm>
                  <a:custGeom>
                    <a:avLst/>
                    <a:gdLst/>
                    <a:ahLst/>
                    <a:cxnLst>
                      <a:cxn ang="0">
                        <a:pos x="wd2" y="hd2"/>
                      </a:cxn>
                      <a:cxn ang="5400000">
                        <a:pos x="wd2" y="hd2"/>
                      </a:cxn>
                      <a:cxn ang="10800000">
                        <a:pos x="wd2" y="hd2"/>
                      </a:cxn>
                      <a:cxn ang="16200000">
                        <a:pos x="wd2" y="hd2"/>
                      </a:cxn>
                    </a:cxnLst>
                    <a:rect l="0" t="0" r="r" b="b"/>
                    <a:pathLst>
                      <a:path w="21600" h="21600" extrusionOk="0">
                        <a:moveTo>
                          <a:pt x="83" y="0"/>
                        </a:moveTo>
                        <a:cubicBezTo>
                          <a:pt x="47" y="4413"/>
                          <a:pt x="12" y="10094"/>
                          <a:pt x="0" y="12075"/>
                        </a:cubicBezTo>
                        <a:cubicBezTo>
                          <a:pt x="4640" y="13332"/>
                          <a:pt x="8260" y="16962"/>
                          <a:pt x="9506" y="21600"/>
                        </a:cubicBezTo>
                        <a:lnTo>
                          <a:pt x="21600" y="21576"/>
                        </a:lnTo>
                        <a:cubicBezTo>
                          <a:pt x="20010" y="10415"/>
                          <a:pt x="11251" y="1625"/>
                          <a:pt x="83"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69" name="Freeform: Shape 81"/>
                  <p:cNvSpPr/>
                  <p:nvPr/>
                </p:nvSpPr>
                <p:spPr>
                  <a:xfrm>
                    <a:off x="350152" y="180718"/>
                    <a:ext cx="104036" cy="119800"/>
                  </a:xfrm>
                  <a:custGeom>
                    <a:avLst/>
                    <a:gdLst/>
                    <a:ahLst/>
                    <a:cxnLst>
                      <a:cxn ang="0">
                        <a:pos x="wd2" y="hd2"/>
                      </a:cxn>
                      <a:cxn ang="5400000">
                        <a:pos x="wd2" y="hd2"/>
                      </a:cxn>
                      <a:cxn ang="10800000">
                        <a:pos x="wd2" y="hd2"/>
                      </a:cxn>
                      <a:cxn ang="16200000">
                        <a:pos x="wd2" y="hd2"/>
                      </a:cxn>
                    </a:cxnLst>
                    <a:rect l="0" t="0" r="r" b="b"/>
                    <a:pathLst>
                      <a:path w="21600" h="21600" extrusionOk="0">
                        <a:moveTo>
                          <a:pt x="7789" y="0"/>
                        </a:moveTo>
                        <a:cubicBezTo>
                          <a:pt x="5138" y="824"/>
                          <a:pt x="2520" y="1791"/>
                          <a:pt x="0" y="2899"/>
                        </a:cubicBezTo>
                        <a:lnTo>
                          <a:pt x="21535" y="21600"/>
                        </a:lnTo>
                        <a:lnTo>
                          <a:pt x="21600" y="11994"/>
                        </a:lnTo>
                        <a:lnTo>
                          <a:pt x="7789"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70" name="Freeform: Shape 82"/>
                  <p:cNvSpPr/>
                  <p:nvPr/>
                </p:nvSpPr>
                <p:spPr>
                  <a:xfrm>
                    <a:off x="295297" y="209408"/>
                    <a:ext cx="149749" cy="134774"/>
                  </a:xfrm>
                  <a:custGeom>
                    <a:avLst/>
                    <a:gdLst/>
                    <a:ahLst/>
                    <a:cxnLst>
                      <a:cxn ang="0">
                        <a:pos x="wd2" y="hd2"/>
                      </a:cxn>
                      <a:cxn ang="5400000">
                        <a:pos x="wd2" y="hd2"/>
                      </a:cxn>
                      <a:cxn ang="10800000">
                        <a:pos x="wd2" y="hd2"/>
                      </a:cxn>
                      <a:cxn ang="16200000">
                        <a:pos x="wd2" y="hd2"/>
                      </a:cxn>
                    </a:cxnLst>
                    <a:rect l="0" t="0" r="r" b="b"/>
                    <a:pathLst>
                      <a:path w="21600" h="21600" extrusionOk="0">
                        <a:moveTo>
                          <a:pt x="4593" y="0"/>
                        </a:moveTo>
                        <a:cubicBezTo>
                          <a:pt x="3001" y="1061"/>
                          <a:pt x="1478" y="2223"/>
                          <a:pt x="0" y="3486"/>
                        </a:cubicBezTo>
                        <a:lnTo>
                          <a:pt x="16302" y="21600"/>
                        </a:lnTo>
                        <a:cubicBezTo>
                          <a:pt x="17985" y="20488"/>
                          <a:pt x="19758" y="19579"/>
                          <a:pt x="21600" y="18897"/>
                        </a:cubicBezTo>
                        <a:lnTo>
                          <a:pt x="4593"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71" name="Freeform: Shape 83"/>
                  <p:cNvSpPr/>
                  <p:nvPr/>
                </p:nvSpPr>
                <p:spPr>
                  <a:xfrm>
                    <a:off x="414937" y="164482"/>
                    <a:ext cx="39567" cy="47291"/>
                  </a:xfrm>
                  <a:custGeom>
                    <a:avLst/>
                    <a:gdLst/>
                    <a:ahLst/>
                    <a:cxnLst>
                      <a:cxn ang="0">
                        <a:pos x="wd2" y="hd2"/>
                      </a:cxn>
                      <a:cxn ang="5400000">
                        <a:pos x="wd2" y="hd2"/>
                      </a:cxn>
                      <a:cxn ang="10800000">
                        <a:pos x="wd2" y="hd2"/>
                      </a:cxn>
                      <a:cxn ang="16200000">
                        <a:pos x="wd2" y="hd2"/>
                      </a:cxn>
                    </a:cxnLst>
                    <a:rect l="0" t="0" r="r" b="b"/>
                    <a:pathLst>
                      <a:path w="21600" h="21600" extrusionOk="0">
                        <a:moveTo>
                          <a:pt x="0" y="3600"/>
                        </a:moveTo>
                        <a:lnTo>
                          <a:pt x="21514" y="21600"/>
                        </a:lnTo>
                        <a:lnTo>
                          <a:pt x="21600" y="0"/>
                        </a:lnTo>
                        <a:cubicBezTo>
                          <a:pt x="14285" y="864"/>
                          <a:pt x="7143" y="2016"/>
                          <a:pt x="0" y="360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72" name="Freeform: Shape 84"/>
                  <p:cNvSpPr/>
                  <p:nvPr/>
                </p:nvSpPr>
                <p:spPr>
                  <a:xfrm>
                    <a:off x="249270" y="247396"/>
                    <a:ext cx="138400" cy="138401"/>
                  </a:xfrm>
                  <a:custGeom>
                    <a:avLst/>
                    <a:gdLst/>
                    <a:ahLst/>
                    <a:cxnLst>
                      <a:cxn ang="0">
                        <a:pos x="wd2" y="hd2"/>
                      </a:cxn>
                      <a:cxn ang="5400000">
                        <a:pos x="wd2" y="hd2"/>
                      </a:cxn>
                      <a:cxn ang="10800000">
                        <a:pos x="wd2" y="hd2"/>
                      </a:cxn>
                      <a:cxn ang="16200000">
                        <a:pos x="wd2" y="hd2"/>
                      </a:cxn>
                    </a:cxnLst>
                    <a:rect l="0" t="0" r="r" b="b"/>
                    <a:pathLst>
                      <a:path w="21600" h="21600" extrusionOk="0">
                        <a:moveTo>
                          <a:pt x="4182" y="0"/>
                        </a:moveTo>
                        <a:cubicBezTo>
                          <a:pt x="3469" y="640"/>
                          <a:pt x="2755" y="1304"/>
                          <a:pt x="2067" y="1993"/>
                        </a:cubicBezTo>
                        <a:cubicBezTo>
                          <a:pt x="1353" y="2706"/>
                          <a:pt x="664" y="3444"/>
                          <a:pt x="0" y="4182"/>
                        </a:cubicBezTo>
                        <a:lnTo>
                          <a:pt x="17418" y="21600"/>
                        </a:lnTo>
                        <a:cubicBezTo>
                          <a:pt x="18672" y="20075"/>
                          <a:pt x="20050" y="18672"/>
                          <a:pt x="21600" y="17418"/>
                        </a:cubicBezTo>
                        <a:lnTo>
                          <a:pt x="4182"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73" name="Freeform: Shape 85"/>
                  <p:cNvSpPr/>
                  <p:nvPr/>
                </p:nvSpPr>
                <p:spPr>
                  <a:xfrm>
                    <a:off x="166830" y="413063"/>
                    <a:ext cx="44611" cy="37045"/>
                  </a:xfrm>
                  <a:custGeom>
                    <a:avLst/>
                    <a:gdLst/>
                    <a:ahLst/>
                    <a:cxnLst>
                      <a:cxn ang="0">
                        <a:pos x="wd2" y="hd2"/>
                      </a:cxn>
                      <a:cxn ang="5400000">
                        <a:pos x="wd2" y="hd2"/>
                      </a:cxn>
                      <a:cxn ang="10800000">
                        <a:pos x="wd2" y="hd2"/>
                      </a:cxn>
                      <a:cxn ang="16200000">
                        <a:pos x="wd2" y="hd2"/>
                      </a:cxn>
                    </a:cxnLst>
                    <a:rect l="0" t="0" r="r" b="b"/>
                    <a:pathLst>
                      <a:path w="21600" h="21600" extrusionOk="0">
                        <a:moveTo>
                          <a:pt x="3664" y="0"/>
                        </a:moveTo>
                        <a:cubicBezTo>
                          <a:pt x="2137" y="7077"/>
                          <a:pt x="916" y="14339"/>
                          <a:pt x="0" y="21600"/>
                        </a:cubicBezTo>
                        <a:lnTo>
                          <a:pt x="21600" y="21600"/>
                        </a:lnTo>
                        <a:lnTo>
                          <a:pt x="3664"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74" name="Freeform: Shape 86"/>
                  <p:cNvSpPr/>
                  <p:nvPr/>
                </p:nvSpPr>
                <p:spPr>
                  <a:xfrm>
                    <a:off x="182908" y="348436"/>
                    <a:ext cx="117751" cy="101673"/>
                  </a:xfrm>
                  <a:custGeom>
                    <a:avLst/>
                    <a:gdLst/>
                    <a:ahLst/>
                    <a:cxnLst>
                      <a:cxn ang="0">
                        <a:pos x="wd2" y="hd2"/>
                      </a:cxn>
                      <a:cxn ang="5400000">
                        <a:pos x="wd2" y="hd2"/>
                      </a:cxn>
                      <a:cxn ang="10800000">
                        <a:pos x="wd2" y="hd2"/>
                      </a:cxn>
                      <a:cxn ang="16200000">
                        <a:pos x="wd2" y="hd2"/>
                      </a:cxn>
                    </a:cxnLst>
                    <a:rect l="0" t="0" r="r" b="b"/>
                    <a:pathLst>
                      <a:path w="21600" h="21600" extrusionOk="0">
                        <a:moveTo>
                          <a:pt x="2920" y="0"/>
                        </a:moveTo>
                        <a:cubicBezTo>
                          <a:pt x="1793" y="2579"/>
                          <a:pt x="839" y="5224"/>
                          <a:pt x="0" y="7937"/>
                        </a:cubicBezTo>
                        <a:lnTo>
                          <a:pt x="11798" y="21600"/>
                        </a:lnTo>
                        <a:lnTo>
                          <a:pt x="21600" y="21600"/>
                        </a:lnTo>
                        <a:lnTo>
                          <a:pt x="2920"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75" name="Freeform: Shape 87"/>
                  <p:cNvSpPr/>
                  <p:nvPr/>
                </p:nvSpPr>
                <p:spPr>
                  <a:xfrm>
                    <a:off x="211596" y="293739"/>
                    <a:ext cx="134617" cy="149750"/>
                  </a:xfrm>
                  <a:custGeom>
                    <a:avLst/>
                    <a:gdLst/>
                    <a:ahLst/>
                    <a:cxnLst>
                      <a:cxn ang="0">
                        <a:pos x="wd2" y="hd2"/>
                      </a:cxn>
                      <a:cxn ang="5400000">
                        <a:pos x="wd2" y="hd2"/>
                      </a:cxn>
                      <a:cxn ang="10800000">
                        <a:pos x="wd2" y="hd2"/>
                      </a:cxn>
                      <a:cxn ang="16200000">
                        <a:pos x="wd2" y="hd2"/>
                      </a:cxn>
                    </a:cxnLst>
                    <a:rect l="0" t="0" r="r" b="b"/>
                    <a:pathLst>
                      <a:path w="21600" h="21600" extrusionOk="0">
                        <a:moveTo>
                          <a:pt x="3465" y="0"/>
                        </a:moveTo>
                        <a:cubicBezTo>
                          <a:pt x="2200" y="1478"/>
                          <a:pt x="1062" y="3001"/>
                          <a:pt x="0" y="4593"/>
                        </a:cubicBezTo>
                        <a:lnTo>
                          <a:pt x="18919" y="21600"/>
                        </a:lnTo>
                        <a:cubicBezTo>
                          <a:pt x="19577" y="19736"/>
                          <a:pt x="20487" y="17962"/>
                          <a:pt x="21600" y="16302"/>
                        </a:cubicBezTo>
                        <a:lnTo>
                          <a:pt x="3465"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76" name="Freeform: Shape 88"/>
                  <p:cNvSpPr/>
                  <p:nvPr/>
                </p:nvSpPr>
                <p:spPr>
                  <a:xfrm>
                    <a:off x="622376" y="591869"/>
                    <a:ext cx="174969" cy="33313"/>
                  </a:xfrm>
                  <a:prstGeom prst="rect">
                    <a:avLst/>
                  </a:pr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77" name="Freeform: Shape 89"/>
                  <p:cNvSpPr/>
                  <p:nvPr/>
                </p:nvSpPr>
                <p:spPr>
                  <a:xfrm>
                    <a:off x="578240" y="554141"/>
                    <a:ext cx="261666" cy="291615"/>
                  </a:xfrm>
                  <a:custGeom>
                    <a:avLst/>
                    <a:gdLst/>
                    <a:ahLst/>
                    <a:cxnLst>
                      <a:cxn ang="0">
                        <a:pos x="wd2" y="hd2"/>
                      </a:cxn>
                      <a:cxn ang="5400000">
                        <a:pos x="wd2" y="hd2"/>
                      </a:cxn>
                      <a:cxn ang="10800000">
                        <a:pos x="wd2" y="hd2"/>
                      </a:cxn>
                      <a:cxn ang="16200000">
                        <a:pos x="wd2" y="hd2"/>
                      </a:cxn>
                    </a:cxnLst>
                    <a:rect l="0" t="0" r="r" b="b"/>
                    <a:pathLst>
                      <a:path w="21600" h="21600" extrusionOk="0">
                        <a:moveTo>
                          <a:pt x="18737" y="0"/>
                        </a:moveTo>
                        <a:lnTo>
                          <a:pt x="2863" y="0"/>
                        </a:lnTo>
                        <a:cubicBezTo>
                          <a:pt x="1275" y="0"/>
                          <a:pt x="0" y="1144"/>
                          <a:pt x="0" y="2569"/>
                        </a:cubicBezTo>
                        <a:lnTo>
                          <a:pt x="0" y="19031"/>
                        </a:lnTo>
                        <a:cubicBezTo>
                          <a:pt x="0" y="20456"/>
                          <a:pt x="1275" y="21600"/>
                          <a:pt x="2863" y="21600"/>
                        </a:cubicBezTo>
                        <a:lnTo>
                          <a:pt x="18737" y="21600"/>
                        </a:lnTo>
                        <a:cubicBezTo>
                          <a:pt x="20325" y="21600"/>
                          <a:pt x="21600" y="20456"/>
                          <a:pt x="21600" y="19031"/>
                        </a:cubicBezTo>
                        <a:lnTo>
                          <a:pt x="21600" y="2569"/>
                        </a:lnTo>
                        <a:cubicBezTo>
                          <a:pt x="21600" y="1144"/>
                          <a:pt x="20325" y="0"/>
                          <a:pt x="18737" y="0"/>
                        </a:cubicBezTo>
                        <a:close/>
                        <a:moveTo>
                          <a:pt x="5595" y="19849"/>
                        </a:moveTo>
                        <a:lnTo>
                          <a:pt x="2537" y="19849"/>
                        </a:lnTo>
                        <a:cubicBezTo>
                          <a:pt x="1965" y="19849"/>
                          <a:pt x="1496" y="19428"/>
                          <a:pt x="1496" y="18915"/>
                        </a:cubicBezTo>
                        <a:cubicBezTo>
                          <a:pt x="1496" y="18401"/>
                          <a:pt x="1965" y="17981"/>
                          <a:pt x="2537" y="17981"/>
                        </a:cubicBezTo>
                        <a:lnTo>
                          <a:pt x="5595" y="17981"/>
                        </a:lnTo>
                        <a:cubicBezTo>
                          <a:pt x="6168" y="17981"/>
                          <a:pt x="6636" y="18401"/>
                          <a:pt x="6636" y="18915"/>
                        </a:cubicBezTo>
                        <a:cubicBezTo>
                          <a:pt x="6636" y="19428"/>
                          <a:pt x="6181" y="19849"/>
                          <a:pt x="5595" y="19849"/>
                        </a:cubicBezTo>
                        <a:close/>
                        <a:moveTo>
                          <a:pt x="5595" y="15178"/>
                        </a:moveTo>
                        <a:lnTo>
                          <a:pt x="2537" y="15178"/>
                        </a:lnTo>
                        <a:cubicBezTo>
                          <a:pt x="1965" y="15178"/>
                          <a:pt x="1496" y="14758"/>
                          <a:pt x="1496" y="14244"/>
                        </a:cubicBezTo>
                        <a:cubicBezTo>
                          <a:pt x="1496" y="13731"/>
                          <a:pt x="1965" y="13310"/>
                          <a:pt x="2537" y="13310"/>
                        </a:cubicBezTo>
                        <a:lnTo>
                          <a:pt x="5595" y="13310"/>
                        </a:lnTo>
                        <a:cubicBezTo>
                          <a:pt x="6168" y="13310"/>
                          <a:pt x="6636" y="13731"/>
                          <a:pt x="6636" y="14244"/>
                        </a:cubicBezTo>
                        <a:cubicBezTo>
                          <a:pt x="6636" y="14758"/>
                          <a:pt x="6181" y="15178"/>
                          <a:pt x="5595" y="15178"/>
                        </a:cubicBezTo>
                        <a:close/>
                        <a:moveTo>
                          <a:pt x="5595" y="10391"/>
                        </a:moveTo>
                        <a:lnTo>
                          <a:pt x="2537" y="10391"/>
                        </a:lnTo>
                        <a:cubicBezTo>
                          <a:pt x="1965" y="10391"/>
                          <a:pt x="1496" y="9971"/>
                          <a:pt x="1496" y="9457"/>
                        </a:cubicBezTo>
                        <a:cubicBezTo>
                          <a:pt x="1496" y="8944"/>
                          <a:pt x="1965" y="8523"/>
                          <a:pt x="2537" y="8523"/>
                        </a:cubicBezTo>
                        <a:lnTo>
                          <a:pt x="5595" y="8523"/>
                        </a:lnTo>
                        <a:cubicBezTo>
                          <a:pt x="6168" y="8523"/>
                          <a:pt x="6636" y="8944"/>
                          <a:pt x="6636" y="9457"/>
                        </a:cubicBezTo>
                        <a:cubicBezTo>
                          <a:pt x="6636" y="9971"/>
                          <a:pt x="6181" y="10391"/>
                          <a:pt x="5595" y="10391"/>
                        </a:cubicBezTo>
                        <a:close/>
                        <a:moveTo>
                          <a:pt x="12309" y="19849"/>
                        </a:moveTo>
                        <a:lnTo>
                          <a:pt x="9252" y="19849"/>
                        </a:lnTo>
                        <a:cubicBezTo>
                          <a:pt x="8679" y="19849"/>
                          <a:pt x="8211" y="19428"/>
                          <a:pt x="8211" y="18915"/>
                        </a:cubicBezTo>
                        <a:cubicBezTo>
                          <a:pt x="8211" y="18401"/>
                          <a:pt x="8679" y="17981"/>
                          <a:pt x="9252" y="17981"/>
                        </a:cubicBezTo>
                        <a:lnTo>
                          <a:pt x="12309" y="17981"/>
                        </a:lnTo>
                        <a:cubicBezTo>
                          <a:pt x="12882" y="17981"/>
                          <a:pt x="13350" y="18401"/>
                          <a:pt x="13350" y="18915"/>
                        </a:cubicBezTo>
                        <a:cubicBezTo>
                          <a:pt x="13350" y="19428"/>
                          <a:pt x="12882" y="19849"/>
                          <a:pt x="12309" y="19849"/>
                        </a:cubicBezTo>
                        <a:close/>
                        <a:moveTo>
                          <a:pt x="12309" y="15178"/>
                        </a:moveTo>
                        <a:lnTo>
                          <a:pt x="9252" y="15178"/>
                        </a:lnTo>
                        <a:cubicBezTo>
                          <a:pt x="8679" y="15178"/>
                          <a:pt x="8211" y="14758"/>
                          <a:pt x="8211" y="14244"/>
                        </a:cubicBezTo>
                        <a:cubicBezTo>
                          <a:pt x="8211" y="13731"/>
                          <a:pt x="8679" y="13310"/>
                          <a:pt x="9252" y="13310"/>
                        </a:cubicBezTo>
                        <a:lnTo>
                          <a:pt x="12309" y="13310"/>
                        </a:lnTo>
                        <a:cubicBezTo>
                          <a:pt x="12882" y="13310"/>
                          <a:pt x="13350" y="13731"/>
                          <a:pt x="13350" y="14244"/>
                        </a:cubicBezTo>
                        <a:cubicBezTo>
                          <a:pt x="13350" y="14758"/>
                          <a:pt x="12882" y="15178"/>
                          <a:pt x="12309" y="15178"/>
                        </a:cubicBezTo>
                        <a:close/>
                        <a:moveTo>
                          <a:pt x="12309" y="10391"/>
                        </a:moveTo>
                        <a:lnTo>
                          <a:pt x="9252" y="10391"/>
                        </a:lnTo>
                        <a:cubicBezTo>
                          <a:pt x="8679" y="10391"/>
                          <a:pt x="8211" y="9971"/>
                          <a:pt x="8211" y="9457"/>
                        </a:cubicBezTo>
                        <a:cubicBezTo>
                          <a:pt x="8211" y="8944"/>
                          <a:pt x="8679" y="8523"/>
                          <a:pt x="9252" y="8523"/>
                        </a:cubicBezTo>
                        <a:lnTo>
                          <a:pt x="12309" y="8523"/>
                        </a:lnTo>
                        <a:cubicBezTo>
                          <a:pt x="12882" y="8523"/>
                          <a:pt x="13350" y="8944"/>
                          <a:pt x="13350" y="9457"/>
                        </a:cubicBezTo>
                        <a:cubicBezTo>
                          <a:pt x="13350" y="9971"/>
                          <a:pt x="12882" y="10391"/>
                          <a:pt x="12309" y="10391"/>
                        </a:cubicBezTo>
                        <a:close/>
                        <a:moveTo>
                          <a:pt x="19037" y="19849"/>
                        </a:moveTo>
                        <a:lnTo>
                          <a:pt x="15979" y="19849"/>
                        </a:lnTo>
                        <a:cubicBezTo>
                          <a:pt x="15406" y="19849"/>
                          <a:pt x="14938" y="19428"/>
                          <a:pt x="14938" y="18915"/>
                        </a:cubicBezTo>
                        <a:cubicBezTo>
                          <a:pt x="14938" y="18401"/>
                          <a:pt x="15406" y="17981"/>
                          <a:pt x="15979" y="17981"/>
                        </a:cubicBezTo>
                        <a:lnTo>
                          <a:pt x="19037" y="17981"/>
                        </a:lnTo>
                        <a:cubicBezTo>
                          <a:pt x="19609" y="17981"/>
                          <a:pt x="20078" y="18401"/>
                          <a:pt x="20078" y="18915"/>
                        </a:cubicBezTo>
                        <a:cubicBezTo>
                          <a:pt x="20078" y="19428"/>
                          <a:pt x="19609" y="19849"/>
                          <a:pt x="19037" y="19849"/>
                        </a:cubicBezTo>
                        <a:close/>
                        <a:moveTo>
                          <a:pt x="19037" y="15178"/>
                        </a:moveTo>
                        <a:lnTo>
                          <a:pt x="15979" y="15178"/>
                        </a:lnTo>
                        <a:cubicBezTo>
                          <a:pt x="15406" y="15178"/>
                          <a:pt x="14938" y="14758"/>
                          <a:pt x="14938" y="14244"/>
                        </a:cubicBezTo>
                        <a:cubicBezTo>
                          <a:pt x="14938" y="13731"/>
                          <a:pt x="15406" y="13310"/>
                          <a:pt x="15979" y="13310"/>
                        </a:cubicBezTo>
                        <a:lnTo>
                          <a:pt x="19037" y="13310"/>
                        </a:lnTo>
                        <a:cubicBezTo>
                          <a:pt x="19609" y="13310"/>
                          <a:pt x="20078" y="13731"/>
                          <a:pt x="20078" y="14244"/>
                        </a:cubicBezTo>
                        <a:cubicBezTo>
                          <a:pt x="20078" y="14758"/>
                          <a:pt x="19609" y="15178"/>
                          <a:pt x="19037" y="15178"/>
                        </a:cubicBezTo>
                        <a:close/>
                        <a:moveTo>
                          <a:pt x="19037" y="10391"/>
                        </a:moveTo>
                        <a:lnTo>
                          <a:pt x="15979" y="10391"/>
                        </a:lnTo>
                        <a:cubicBezTo>
                          <a:pt x="15406" y="10391"/>
                          <a:pt x="14938" y="9971"/>
                          <a:pt x="14938" y="9457"/>
                        </a:cubicBezTo>
                        <a:cubicBezTo>
                          <a:pt x="14938" y="8944"/>
                          <a:pt x="15406" y="8523"/>
                          <a:pt x="15979" y="8523"/>
                        </a:cubicBezTo>
                        <a:lnTo>
                          <a:pt x="19037" y="8523"/>
                        </a:lnTo>
                        <a:cubicBezTo>
                          <a:pt x="19609" y="8523"/>
                          <a:pt x="20078" y="8944"/>
                          <a:pt x="20078" y="9457"/>
                        </a:cubicBezTo>
                        <a:cubicBezTo>
                          <a:pt x="20078" y="9971"/>
                          <a:pt x="19609" y="10391"/>
                          <a:pt x="19037" y="10391"/>
                        </a:cubicBezTo>
                        <a:close/>
                        <a:moveTo>
                          <a:pt x="20169" y="5838"/>
                        </a:moveTo>
                        <a:cubicBezTo>
                          <a:pt x="20169" y="6352"/>
                          <a:pt x="19700" y="6772"/>
                          <a:pt x="19128" y="6772"/>
                        </a:cubicBezTo>
                        <a:lnTo>
                          <a:pt x="2602" y="6772"/>
                        </a:lnTo>
                        <a:cubicBezTo>
                          <a:pt x="2030" y="6772"/>
                          <a:pt x="1561" y="6352"/>
                          <a:pt x="1561" y="5838"/>
                        </a:cubicBezTo>
                        <a:lnTo>
                          <a:pt x="1561" y="2218"/>
                        </a:lnTo>
                        <a:cubicBezTo>
                          <a:pt x="1561" y="1705"/>
                          <a:pt x="2030" y="1284"/>
                          <a:pt x="2602" y="1284"/>
                        </a:cubicBezTo>
                        <a:lnTo>
                          <a:pt x="19128" y="1284"/>
                        </a:lnTo>
                        <a:cubicBezTo>
                          <a:pt x="19700" y="1284"/>
                          <a:pt x="20169" y="1705"/>
                          <a:pt x="20169" y="2218"/>
                        </a:cubicBezTo>
                        <a:lnTo>
                          <a:pt x="20169" y="5838"/>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grpSp>
          </p:grpSp>
          <p:sp>
            <p:nvSpPr>
              <p:cNvPr id="61" name="Provision"/>
              <p:cNvSpPr/>
              <p:nvPr/>
            </p:nvSpPr>
            <p:spPr>
              <a:xfrm>
                <a:off x="-1" y="171045"/>
                <a:ext cx="1825643" cy="787643"/>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25400" cap="flat">
                <a:solidFill>
                  <a:srgbClr val="22BF00"/>
                </a:solidFill>
                <a:prstDash val="solid"/>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21918" tIns="121918" rIns="121918" bIns="121918" numCol="1" anchor="t">
                <a:spAutoFit/>
              </a:bodyPr>
              <a:lstStyle>
                <a:lvl1pPr algn="l" defTabSz="2438400">
                  <a:defRPr sz="2900" b="0">
                    <a:solidFill>
                      <a:srgbClr val="000000"/>
                    </a:solidFill>
                    <a:effectLst>
                      <a:outerShdw blurRad="12700" dist="12700" dir="18900000" rotWithShape="0">
                        <a:srgbClr val="000000">
                          <a:alpha val="24000"/>
                        </a:srgbClr>
                      </a:outerShdw>
                    </a:effectLst>
                  </a:defRPr>
                </a:lvl1pPr>
              </a:lstStyle>
              <a:p>
                <a:r>
                  <a:rPr sz="2000" dirty="0"/>
                  <a:t>Provision</a:t>
                </a:r>
              </a:p>
            </p:txBody>
          </p:sp>
          <p:sp>
            <p:nvSpPr>
              <p:cNvPr id="62" name="Actual"/>
              <p:cNvSpPr/>
              <p:nvPr/>
            </p:nvSpPr>
            <p:spPr>
              <a:xfrm>
                <a:off x="-1" y="1369563"/>
                <a:ext cx="1825643" cy="787643"/>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25400" cap="flat">
                <a:solidFill>
                  <a:schemeClr val="accent3"/>
                </a:solidFill>
                <a:prstDash val="solid"/>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21918" tIns="121918" rIns="121918" bIns="121918" numCol="1" anchor="t">
                <a:spAutoFit/>
              </a:bodyPr>
              <a:lstStyle>
                <a:lvl1pPr algn="l" defTabSz="2438400">
                  <a:defRPr sz="2900" b="0">
                    <a:solidFill>
                      <a:srgbClr val="000000"/>
                    </a:solidFill>
                    <a:effectLst>
                      <a:outerShdw blurRad="12700" dist="12700" dir="18900000" rotWithShape="0">
                        <a:srgbClr val="000000">
                          <a:alpha val="24000"/>
                        </a:srgbClr>
                      </a:outerShdw>
                    </a:effectLst>
                  </a:defRPr>
                </a:lvl1pPr>
              </a:lstStyle>
              <a:p>
                <a:r>
                  <a:rPr sz="2000" dirty="0"/>
                  <a:t>Actual</a:t>
                </a:r>
              </a:p>
            </p:txBody>
          </p:sp>
        </p:grpSp>
        <p:sp>
          <p:nvSpPr>
            <p:cNvPr id="58" name="TextBox 57"/>
            <p:cNvSpPr txBox="1"/>
            <p:nvPr/>
          </p:nvSpPr>
          <p:spPr>
            <a:xfrm>
              <a:off x="3036245" y="6143881"/>
              <a:ext cx="6119549"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r>
                <a:rPr lang="en-US" sz="2000" dirty="0">
                  <a:solidFill>
                    <a:schemeClr val="accent1">
                      <a:lumMod val="50000"/>
                    </a:schemeClr>
                  </a:solidFill>
                  <a:effectLst/>
                </a:rPr>
                <a:t>CAPITAL EXPENDITURE</a:t>
              </a:r>
            </a:p>
          </p:txBody>
        </p:sp>
      </p:grpSp>
      <p:grpSp>
        <p:nvGrpSpPr>
          <p:cNvPr id="97" name="Group 96"/>
          <p:cNvGrpSpPr/>
          <p:nvPr/>
        </p:nvGrpSpPr>
        <p:grpSpPr>
          <a:xfrm>
            <a:off x="3851750" y="8585047"/>
            <a:ext cx="6953539" cy="2106285"/>
            <a:chOff x="2675351" y="6143881"/>
            <a:chExt cx="6953539" cy="2106285"/>
          </a:xfrm>
        </p:grpSpPr>
        <p:grpSp>
          <p:nvGrpSpPr>
            <p:cNvPr id="98" name="Group"/>
            <p:cNvGrpSpPr/>
            <p:nvPr/>
          </p:nvGrpSpPr>
          <p:grpSpPr>
            <a:xfrm>
              <a:off x="2675351" y="6657016"/>
              <a:ext cx="6953539" cy="1593150"/>
              <a:chOff x="-1" y="0"/>
              <a:chExt cx="6001041" cy="2265065"/>
            </a:xfrm>
          </p:grpSpPr>
          <p:grpSp>
            <p:nvGrpSpPr>
              <p:cNvPr id="100" name="Group"/>
              <p:cNvGrpSpPr/>
              <p:nvPr/>
            </p:nvGrpSpPr>
            <p:grpSpPr>
              <a:xfrm>
                <a:off x="2088173" y="0"/>
                <a:ext cx="3912867" cy="1030435"/>
                <a:chOff x="-1" y="0"/>
                <a:chExt cx="3912866" cy="1030434"/>
              </a:xfrm>
            </p:grpSpPr>
            <p:grpSp>
              <p:nvGrpSpPr>
                <p:cNvPr id="121" name="Rectangle: Rounded Corners 29"/>
                <p:cNvGrpSpPr/>
                <p:nvPr/>
              </p:nvGrpSpPr>
              <p:grpSpPr>
                <a:xfrm>
                  <a:off x="1108845" y="0"/>
                  <a:ext cx="2804020" cy="1030434"/>
                  <a:chOff x="0" y="0"/>
                  <a:chExt cx="2804019" cy="1030433"/>
                </a:xfrm>
              </p:grpSpPr>
              <p:sp>
                <p:nvSpPr>
                  <p:cNvPr id="136" name="Rounded Rectangle"/>
                  <p:cNvSpPr/>
                  <p:nvPr/>
                </p:nvSpPr>
                <p:spPr>
                  <a:xfrm>
                    <a:off x="0" y="0"/>
                    <a:ext cx="1673811" cy="1030433"/>
                  </a:xfrm>
                  <a:prstGeom prst="roundRect">
                    <a:avLst>
                      <a:gd name="adj" fmla="val 17206"/>
                    </a:avLst>
                  </a:prstGeom>
                  <a:ln/>
                </p:spPr>
                <p:style>
                  <a:lnRef idx="2">
                    <a:schemeClr val="dk1">
                      <a:shade val="50000"/>
                    </a:schemeClr>
                  </a:lnRef>
                  <a:fillRef idx="1">
                    <a:schemeClr val="dk1"/>
                  </a:fillRef>
                  <a:effectRef idx="0">
                    <a:schemeClr val="dk1"/>
                  </a:effectRef>
                  <a:fontRef idx="minor">
                    <a:schemeClr val="lt1"/>
                  </a:fontRef>
                </p:style>
                <p:txBody>
                  <a:bodyPr wrap="square" lIns="38100" tIns="38100" rIns="38100" bIns="38100" numCol="1" anchor="ctr">
                    <a:noAutofit/>
                  </a:bodyPr>
                  <a:lstStyle/>
                  <a:p>
                    <a:pPr algn="l">
                      <a:spcBef>
                        <a:spcPts val="1000"/>
                      </a:spcBef>
                      <a:defRPr sz="2700">
                        <a:solidFill>
                          <a:srgbClr val="000000"/>
                        </a:solidFill>
                        <a:effectLst/>
                      </a:defRPr>
                    </a:pPr>
                    <a:endParaRPr dirty="0"/>
                  </a:p>
                </p:txBody>
              </p:sp>
              <p:sp>
                <p:nvSpPr>
                  <p:cNvPr id="137" name="310,055 (₦’bn)"/>
                  <p:cNvSpPr/>
                  <p:nvPr/>
                </p:nvSpPr>
                <p:spPr>
                  <a:xfrm>
                    <a:off x="51926" y="230791"/>
                    <a:ext cx="2752093" cy="568849"/>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8" tIns="45718" rIns="45718" bIns="45718" numCol="1" anchor="ctr">
                    <a:spAutoFit/>
                  </a:bodyPr>
                  <a:lstStyle>
                    <a:lvl1pPr algn="l">
                      <a:spcBef>
                        <a:spcPts val="1000"/>
                      </a:spcBef>
                      <a:defRPr sz="2700">
                        <a:solidFill>
                          <a:srgbClr val="000000"/>
                        </a:solidFill>
                      </a:defRPr>
                    </a:lvl1pPr>
                  </a:lstStyle>
                  <a:p>
                    <a:pPr>
                      <a:defRPr>
                        <a:effectLst/>
                      </a:defRPr>
                    </a:pPr>
                    <a:r>
                      <a:rPr lang="en-US" sz="2000" dirty="0"/>
                      <a:t>32.732 </a:t>
                    </a:r>
                    <a:r>
                      <a:rPr sz="2000" dirty="0"/>
                      <a:t>(</a:t>
                    </a:r>
                    <a:r>
                      <a:rPr lang="en-GB" sz="2000" dirty="0"/>
                      <a:t>₦</a:t>
                    </a:r>
                    <a:r>
                      <a:rPr sz="2000" dirty="0"/>
                      <a:t>’</a:t>
                    </a:r>
                    <a:r>
                      <a:rPr lang="en-GB" sz="2000" dirty="0"/>
                      <a:t>BN</a:t>
                    </a:r>
                    <a:r>
                      <a:rPr sz="2000" dirty="0"/>
                      <a:t>)</a:t>
                    </a:r>
                  </a:p>
                </p:txBody>
              </p:sp>
            </p:grpSp>
            <p:grpSp>
              <p:nvGrpSpPr>
                <p:cNvPr id="122" name="Group"/>
                <p:cNvGrpSpPr/>
                <p:nvPr/>
              </p:nvGrpSpPr>
              <p:grpSpPr>
                <a:xfrm>
                  <a:off x="-1" y="10254"/>
                  <a:ext cx="1004617" cy="1009925"/>
                  <a:chOff x="0" y="0"/>
                  <a:chExt cx="1004615" cy="1009924"/>
                </a:xfrm>
              </p:grpSpPr>
              <p:sp>
                <p:nvSpPr>
                  <p:cNvPr id="123" name="Rectangle: Rounded Corners 28"/>
                  <p:cNvSpPr/>
                  <p:nvPr/>
                </p:nvSpPr>
                <p:spPr>
                  <a:xfrm>
                    <a:off x="0" y="0"/>
                    <a:ext cx="1004615" cy="1009924"/>
                  </a:xfrm>
                  <a:prstGeom prst="roundRect">
                    <a:avLst>
                      <a:gd name="adj" fmla="val 6667"/>
                    </a:avLst>
                  </a:prstGeom>
                  <a:solidFill>
                    <a:srgbClr val="00B050"/>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defTabSz="914400">
                      <a:defRPr sz="1800" b="0" cap="none">
                        <a:solidFill>
                          <a:srgbClr val="FFFFFF"/>
                        </a:solidFill>
                        <a:effectLst/>
                        <a:latin typeface="Calibri"/>
                        <a:ea typeface="Calibri"/>
                        <a:cs typeface="Calibri"/>
                        <a:sym typeface="Calibri"/>
                      </a:defRPr>
                    </a:pPr>
                    <a:endParaRPr dirty="0"/>
                  </a:p>
                </p:txBody>
              </p:sp>
              <p:sp>
                <p:nvSpPr>
                  <p:cNvPr id="124" name="Freeform: Shape 78"/>
                  <p:cNvSpPr/>
                  <p:nvPr/>
                </p:nvSpPr>
                <p:spPr>
                  <a:xfrm>
                    <a:off x="166672" y="544685"/>
                    <a:ext cx="178122" cy="156842"/>
                  </a:xfrm>
                  <a:custGeom>
                    <a:avLst/>
                    <a:gdLst/>
                    <a:ahLst/>
                    <a:cxnLst>
                      <a:cxn ang="0">
                        <a:pos x="wd2" y="hd2"/>
                      </a:cxn>
                      <a:cxn ang="5400000">
                        <a:pos x="wd2" y="hd2"/>
                      </a:cxn>
                      <a:cxn ang="10800000">
                        <a:pos x="wd2" y="hd2"/>
                      </a:cxn>
                      <a:cxn ang="16200000">
                        <a:pos x="wd2" y="hd2"/>
                      </a:cxn>
                    </a:cxnLst>
                    <a:rect l="0" t="0" r="r" b="b"/>
                    <a:pathLst>
                      <a:path w="21600" h="21600" extrusionOk="0">
                        <a:moveTo>
                          <a:pt x="19421" y="0"/>
                        </a:moveTo>
                        <a:lnTo>
                          <a:pt x="0" y="0"/>
                        </a:lnTo>
                        <a:cubicBezTo>
                          <a:pt x="956" y="7858"/>
                          <a:pt x="3651" y="15283"/>
                          <a:pt x="7856" y="21600"/>
                        </a:cubicBezTo>
                        <a:lnTo>
                          <a:pt x="21600" y="5992"/>
                        </a:lnTo>
                        <a:cubicBezTo>
                          <a:pt x="20644" y="4125"/>
                          <a:pt x="19899" y="2106"/>
                          <a:pt x="19421"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25" name="Freeform: Shape 79"/>
                  <p:cNvSpPr/>
                  <p:nvPr/>
                </p:nvSpPr>
                <p:spPr>
                  <a:xfrm>
                    <a:off x="297661" y="654393"/>
                    <a:ext cx="157631" cy="178281"/>
                  </a:xfrm>
                  <a:custGeom>
                    <a:avLst/>
                    <a:gdLst/>
                    <a:ahLst/>
                    <a:cxnLst>
                      <a:cxn ang="0">
                        <a:pos x="wd2" y="hd2"/>
                      </a:cxn>
                      <a:cxn ang="5400000">
                        <a:pos x="wd2" y="hd2"/>
                      </a:cxn>
                      <a:cxn ang="10800000">
                        <a:pos x="wd2" y="hd2"/>
                      </a:cxn>
                      <a:cxn ang="16200000">
                        <a:pos x="wd2" y="hd2"/>
                      </a:cxn>
                    </a:cxnLst>
                    <a:rect l="0" t="0" r="r" b="b"/>
                    <a:pathLst>
                      <a:path w="21600" h="21600" extrusionOk="0">
                        <a:moveTo>
                          <a:pt x="15509" y="0"/>
                        </a:moveTo>
                        <a:lnTo>
                          <a:pt x="0" y="13732"/>
                        </a:lnTo>
                        <a:cubicBezTo>
                          <a:pt x="6307" y="17952"/>
                          <a:pt x="13738" y="20664"/>
                          <a:pt x="21600" y="21600"/>
                        </a:cubicBezTo>
                        <a:lnTo>
                          <a:pt x="21600" y="2196"/>
                        </a:lnTo>
                        <a:cubicBezTo>
                          <a:pt x="19462" y="1700"/>
                          <a:pt x="17431" y="974"/>
                          <a:pt x="15509"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26" name="Freeform: Shape 80"/>
                  <p:cNvSpPr/>
                  <p:nvPr/>
                </p:nvSpPr>
                <p:spPr>
                  <a:xfrm>
                    <a:off x="548133" y="164956"/>
                    <a:ext cx="286887" cy="287044"/>
                  </a:xfrm>
                  <a:custGeom>
                    <a:avLst/>
                    <a:gdLst/>
                    <a:ahLst/>
                    <a:cxnLst>
                      <a:cxn ang="0">
                        <a:pos x="wd2" y="hd2"/>
                      </a:cxn>
                      <a:cxn ang="5400000">
                        <a:pos x="wd2" y="hd2"/>
                      </a:cxn>
                      <a:cxn ang="10800000">
                        <a:pos x="wd2" y="hd2"/>
                      </a:cxn>
                      <a:cxn ang="16200000">
                        <a:pos x="wd2" y="hd2"/>
                      </a:cxn>
                    </a:cxnLst>
                    <a:rect l="0" t="0" r="r" b="b"/>
                    <a:pathLst>
                      <a:path w="21600" h="21600" extrusionOk="0">
                        <a:moveTo>
                          <a:pt x="83" y="0"/>
                        </a:moveTo>
                        <a:cubicBezTo>
                          <a:pt x="47" y="4413"/>
                          <a:pt x="12" y="10094"/>
                          <a:pt x="0" y="12075"/>
                        </a:cubicBezTo>
                        <a:cubicBezTo>
                          <a:pt x="4640" y="13332"/>
                          <a:pt x="8260" y="16962"/>
                          <a:pt x="9506" y="21600"/>
                        </a:cubicBezTo>
                        <a:lnTo>
                          <a:pt x="21600" y="21576"/>
                        </a:lnTo>
                        <a:cubicBezTo>
                          <a:pt x="20010" y="10415"/>
                          <a:pt x="11251" y="1625"/>
                          <a:pt x="83"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27" name="Freeform: Shape 81"/>
                  <p:cNvSpPr/>
                  <p:nvPr/>
                </p:nvSpPr>
                <p:spPr>
                  <a:xfrm>
                    <a:off x="350152" y="180718"/>
                    <a:ext cx="104036" cy="119800"/>
                  </a:xfrm>
                  <a:custGeom>
                    <a:avLst/>
                    <a:gdLst/>
                    <a:ahLst/>
                    <a:cxnLst>
                      <a:cxn ang="0">
                        <a:pos x="wd2" y="hd2"/>
                      </a:cxn>
                      <a:cxn ang="5400000">
                        <a:pos x="wd2" y="hd2"/>
                      </a:cxn>
                      <a:cxn ang="10800000">
                        <a:pos x="wd2" y="hd2"/>
                      </a:cxn>
                      <a:cxn ang="16200000">
                        <a:pos x="wd2" y="hd2"/>
                      </a:cxn>
                    </a:cxnLst>
                    <a:rect l="0" t="0" r="r" b="b"/>
                    <a:pathLst>
                      <a:path w="21600" h="21600" extrusionOk="0">
                        <a:moveTo>
                          <a:pt x="7789" y="0"/>
                        </a:moveTo>
                        <a:cubicBezTo>
                          <a:pt x="5138" y="824"/>
                          <a:pt x="2520" y="1791"/>
                          <a:pt x="0" y="2899"/>
                        </a:cubicBezTo>
                        <a:lnTo>
                          <a:pt x="21535" y="21600"/>
                        </a:lnTo>
                        <a:lnTo>
                          <a:pt x="21600" y="11994"/>
                        </a:lnTo>
                        <a:lnTo>
                          <a:pt x="7789"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28" name="Freeform: Shape 82"/>
                  <p:cNvSpPr/>
                  <p:nvPr/>
                </p:nvSpPr>
                <p:spPr>
                  <a:xfrm>
                    <a:off x="295297" y="209408"/>
                    <a:ext cx="149749" cy="134774"/>
                  </a:xfrm>
                  <a:custGeom>
                    <a:avLst/>
                    <a:gdLst/>
                    <a:ahLst/>
                    <a:cxnLst>
                      <a:cxn ang="0">
                        <a:pos x="wd2" y="hd2"/>
                      </a:cxn>
                      <a:cxn ang="5400000">
                        <a:pos x="wd2" y="hd2"/>
                      </a:cxn>
                      <a:cxn ang="10800000">
                        <a:pos x="wd2" y="hd2"/>
                      </a:cxn>
                      <a:cxn ang="16200000">
                        <a:pos x="wd2" y="hd2"/>
                      </a:cxn>
                    </a:cxnLst>
                    <a:rect l="0" t="0" r="r" b="b"/>
                    <a:pathLst>
                      <a:path w="21600" h="21600" extrusionOk="0">
                        <a:moveTo>
                          <a:pt x="4593" y="0"/>
                        </a:moveTo>
                        <a:cubicBezTo>
                          <a:pt x="3001" y="1061"/>
                          <a:pt x="1478" y="2223"/>
                          <a:pt x="0" y="3486"/>
                        </a:cubicBezTo>
                        <a:lnTo>
                          <a:pt x="16302" y="21600"/>
                        </a:lnTo>
                        <a:cubicBezTo>
                          <a:pt x="17985" y="20488"/>
                          <a:pt x="19758" y="19579"/>
                          <a:pt x="21600" y="18897"/>
                        </a:cubicBezTo>
                        <a:lnTo>
                          <a:pt x="4593"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29" name="Freeform: Shape 83"/>
                  <p:cNvSpPr/>
                  <p:nvPr/>
                </p:nvSpPr>
                <p:spPr>
                  <a:xfrm>
                    <a:off x="414937" y="164482"/>
                    <a:ext cx="39567" cy="47291"/>
                  </a:xfrm>
                  <a:custGeom>
                    <a:avLst/>
                    <a:gdLst/>
                    <a:ahLst/>
                    <a:cxnLst>
                      <a:cxn ang="0">
                        <a:pos x="wd2" y="hd2"/>
                      </a:cxn>
                      <a:cxn ang="5400000">
                        <a:pos x="wd2" y="hd2"/>
                      </a:cxn>
                      <a:cxn ang="10800000">
                        <a:pos x="wd2" y="hd2"/>
                      </a:cxn>
                      <a:cxn ang="16200000">
                        <a:pos x="wd2" y="hd2"/>
                      </a:cxn>
                    </a:cxnLst>
                    <a:rect l="0" t="0" r="r" b="b"/>
                    <a:pathLst>
                      <a:path w="21600" h="21600" extrusionOk="0">
                        <a:moveTo>
                          <a:pt x="0" y="3600"/>
                        </a:moveTo>
                        <a:lnTo>
                          <a:pt x="21514" y="21600"/>
                        </a:lnTo>
                        <a:lnTo>
                          <a:pt x="21600" y="0"/>
                        </a:lnTo>
                        <a:cubicBezTo>
                          <a:pt x="14285" y="864"/>
                          <a:pt x="7143" y="2016"/>
                          <a:pt x="0" y="360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30" name="Freeform: Shape 84"/>
                  <p:cNvSpPr/>
                  <p:nvPr/>
                </p:nvSpPr>
                <p:spPr>
                  <a:xfrm>
                    <a:off x="249270" y="247396"/>
                    <a:ext cx="138400" cy="138401"/>
                  </a:xfrm>
                  <a:custGeom>
                    <a:avLst/>
                    <a:gdLst/>
                    <a:ahLst/>
                    <a:cxnLst>
                      <a:cxn ang="0">
                        <a:pos x="wd2" y="hd2"/>
                      </a:cxn>
                      <a:cxn ang="5400000">
                        <a:pos x="wd2" y="hd2"/>
                      </a:cxn>
                      <a:cxn ang="10800000">
                        <a:pos x="wd2" y="hd2"/>
                      </a:cxn>
                      <a:cxn ang="16200000">
                        <a:pos x="wd2" y="hd2"/>
                      </a:cxn>
                    </a:cxnLst>
                    <a:rect l="0" t="0" r="r" b="b"/>
                    <a:pathLst>
                      <a:path w="21600" h="21600" extrusionOk="0">
                        <a:moveTo>
                          <a:pt x="4182" y="0"/>
                        </a:moveTo>
                        <a:cubicBezTo>
                          <a:pt x="3469" y="640"/>
                          <a:pt x="2755" y="1304"/>
                          <a:pt x="2067" y="1993"/>
                        </a:cubicBezTo>
                        <a:cubicBezTo>
                          <a:pt x="1353" y="2706"/>
                          <a:pt x="664" y="3444"/>
                          <a:pt x="0" y="4182"/>
                        </a:cubicBezTo>
                        <a:lnTo>
                          <a:pt x="17418" y="21600"/>
                        </a:lnTo>
                        <a:cubicBezTo>
                          <a:pt x="18672" y="20075"/>
                          <a:pt x="20050" y="18672"/>
                          <a:pt x="21600" y="17418"/>
                        </a:cubicBezTo>
                        <a:lnTo>
                          <a:pt x="4182"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31" name="Freeform: Shape 85"/>
                  <p:cNvSpPr/>
                  <p:nvPr/>
                </p:nvSpPr>
                <p:spPr>
                  <a:xfrm>
                    <a:off x="166830" y="413063"/>
                    <a:ext cx="44611" cy="37045"/>
                  </a:xfrm>
                  <a:custGeom>
                    <a:avLst/>
                    <a:gdLst/>
                    <a:ahLst/>
                    <a:cxnLst>
                      <a:cxn ang="0">
                        <a:pos x="wd2" y="hd2"/>
                      </a:cxn>
                      <a:cxn ang="5400000">
                        <a:pos x="wd2" y="hd2"/>
                      </a:cxn>
                      <a:cxn ang="10800000">
                        <a:pos x="wd2" y="hd2"/>
                      </a:cxn>
                      <a:cxn ang="16200000">
                        <a:pos x="wd2" y="hd2"/>
                      </a:cxn>
                    </a:cxnLst>
                    <a:rect l="0" t="0" r="r" b="b"/>
                    <a:pathLst>
                      <a:path w="21600" h="21600" extrusionOk="0">
                        <a:moveTo>
                          <a:pt x="3664" y="0"/>
                        </a:moveTo>
                        <a:cubicBezTo>
                          <a:pt x="2137" y="7077"/>
                          <a:pt x="916" y="14339"/>
                          <a:pt x="0" y="21600"/>
                        </a:cubicBezTo>
                        <a:lnTo>
                          <a:pt x="21600" y="21600"/>
                        </a:lnTo>
                        <a:lnTo>
                          <a:pt x="3664"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32" name="Freeform: Shape 86"/>
                  <p:cNvSpPr/>
                  <p:nvPr/>
                </p:nvSpPr>
                <p:spPr>
                  <a:xfrm>
                    <a:off x="182908" y="348436"/>
                    <a:ext cx="117751" cy="101673"/>
                  </a:xfrm>
                  <a:custGeom>
                    <a:avLst/>
                    <a:gdLst/>
                    <a:ahLst/>
                    <a:cxnLst>
                      <a:cxn ang="0">
                        <a:pos x="wd2" y="hd2"/>
                      </a:cxn>
                      <a:cxn ang="5400000">
                        <a:pos x="wd2" y="hd2"/>
                      </a:cxn>
                      <a:cxn ang="10800000">
                        <a:pos x="wd2" y="hd2"/>
                      </a:cxn>
                      <a:cxn ang="16200000">
                        <a:pos x="wd2" y="hd2"/>
                      </a:cxn>
                    </a:cxnLst>
                    <a:rect l="0" t="0" r="r" b="b"/>
                    <a:pathLst>
                      <a:path w="21600" h="21600" extrusionOk="0">
                        <a:moveTo>
                          <a:pt x="2920" y="0"/>
                        </a:moveTo>
                        <a:cubicBezTo>
                          <a:pt x="1793" y="2579"/>
                          <a:pt x="839" y="5224"/>
                          <a:pt x="0" y="7937"/>
                        </a:cubicBezTo>
                        <a:lnTo>
                          <a:pt x="11798" y="21600"/>
                        </a:lnTo>
                        <a:lnTo>
                          <a:pt x="21600" y="21600"/>
                        </a:lnTo>
                        <a:lnTo>
                          <a:pt x="2920"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33" name="Freeform: Shape 87"/>
                  <p:cNvSpPr/>
                  <p:nvPr/>
                </p:nvSpPr>
                <p:spPr>
                  <a:xfrm>
                    <a:off x="211596" y="293739"/>
                    <a:ext cx="134617" cy="149750"/>
                  </a:xfrm>
                  <a:custGeom>
                    <a:avLst/>
                    <a:gdLst/>
                    <a:ahLst/>
                    <a:cxnLst>
                      <a:cxn ang="0">
                        <a:pos x="wd2" y="hd2"/>
                      </a:cxn>
                      <a:cxn ang="5400000">
                        <a:pos x="wd2" y="hd2"/>
                      </a:cxn>
                      <a:cxn ang="10800000">
                        <a:pos x="wd2" y="hd2"/>
                      </a:cxn>
                      <a:cxn ang="16200000">
                        <a:pos x="wd2" y="hd2"/>
                      </a:cxn>
                    </a:cxnLst>
                    <a:rect l="0" t="0" r="r" b="b"/>
                    <a:pathLst>
                      <a:path w="21600" h="21600" extrusionOk="0">
                        <a:moveTo>
                          <a:pt x="3465" y="0"/>
                        </a:moveTo>
                        <a:cubicBezTo>
                          <a:pt x="2200" y="1478"/>
                          <a:pt x="1062" y="3001"/>
                          <a:pt x="0" y="4593"/>
                        </a:cubicBezTo>
                        <a:lnTo>
                          <a:pt x="18919" y="21600"/>
                        </a:lnTo>
                        <a:cubicBezTo>
                          <a:pt x="19577" y="19736"/>
                          <a:pt x="20487" y="17962"/>
                          <a:pt x="21600" y="16302"/>
                        </a:cubicBezTo>
                        <a:lnTo>
                          <a:pt x="3465"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34" name="Freeform: Shape 88"/>
                  <p:cNvSpPr/>
                  <p:nvPr/>
                </p:nvSpPr>
                <p:spPr>
                  <a:xfrm>
                    <a:off x="622376" y="591869"/>
                    <a:ext cx="174969" cy="33313"/>
                  </a:xfrm>
                  <a:prstGeom prst="rect">
                    <a:avLst/>
                  </a:pr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35" name="Freeform: Shape 89"/>
                  <p:cNvSpPr/>
                  <p:nvPr/>
                </p:nvSpPr>
                <p:spPr>
                  <a:xfrm>
                    <a:off x="578240" y="554141"/>
                    <a:ext cx="261666" cy="291615"/>
                  </a:xfrm>
                  <a:custGeom>
                    <a:avLst/>
                    <a:gdLst/>
                    <a:ahLst/>
                    <a:cxnLst>
                      <a:cxn ang="0">
                        <a:pos x="wd2" y="hd2"/>
                      </a:cxn>
                      <a:cxn ang="5400000">
                        <a:pos x="wd2" y="hd2"/>
                      </a:cxn>
                      <a:cxn ang="10800000">
                        <a:pos x="wd2" y="hd2"/>
                      </a:cxn>
                      <a:cxn ang="16200000">
                        <a:pos x="wd2" y="hd2"/>
                      </a:cxn>
                    </a:cxnLst>
                    <a:rect l="0" t="0" r="r" b="b"/>
                    <a:pathLst>
                      <a:path w="21600" h="21600" extrusionOk="0">
                        <a:moveTo>
                          <a:pt x="18737" y="0"/>
                        </a:moveTo>
                        <a:lnTo>
                          <a:pt x="2863" y="0"/>
                        </a:lnTo>
                        <a:cubicBezTo>
                          <a:pt x="1275" y="0"/>
                          <a:pt x="0" y="1144"/>
                          <a:pt x="0" y="2569"/>
                        </a:cubicBezTo>
                        <a:lnTo>
                          <a:pt x="0" y="19031"/>
                        </a:lnTo>
                        <a:cubicBezTo>
                          <a:pt x="0" y="20456"/>
                          <a:pt x="1275" y="21600"/>
                          <a:pt x="2863" y="21600"/>
                        </a:cubicBezTo>
                        <a:lnTo>
                          <a:pt x="18737" y="21600"/>
                        </a:lnTo>
                        <a:cubicBezTo>
                          <a:pt x="20325" y="21600"/>
                          <a:pt x="21600" y="20456"/>
                          <a:pt x="21600" y="19031"/>
                        </a:cubicBezTo>
                        <a:lnTo>
                          <a:pt x="21600" y="2569"/>
                        </a:lnTo>
                        <a:cubicBezTo>
                          <a:pt x="21600" y="1144"/>
                          <a:pt x="20325" y="0"/>
                          <a:pt x="18737" y="0"/>
                        </a:cubicBezTo>
                        <a:close/>
                        <a:moveTo>
                          <a:pt x="5595" y="19849"/>
                        </a:moveTo>
                        <a:lnTo>
                          <a:pt x="2537" y="19849"/>
                        </a:lnTo>
                        <a:cubicBezTo>
                          <a:pt x="1965" y="19849"/>
                          <a:pt x="1496" y="19428"/>
                          <a:pt x="1496" y="18915"/>
                        </a:cubicBezTo>
                        <a:cubicBezTo>
                          <a:pt x="1496" y="18401"/>
                          <a:pt x="1965" y="17981"/>
                          <a:pt x="2537" y="17981"/>
                        </a:cubicBezTo>
                        <a:lnTo>
                          <a:pt x="5595" y="17981"/>
                        </a:lnTo>
                        <a:cubicBezTo>
                          <a:pt x="6168" y="17981"/>
                          <a:pt x="6636" y="18401"/>
                          <a:pt x="6636" y="18915"/>
                        </a:cubicBezTo>
                        <a:cubicBezTo>
                          <a:pt x="6636" y="19428"/>
                          <a:pt x="6181" y="19849"/>
                          <a:pt x="5595" y="19849"/>
                        </a:cubicBezTo>
                        <a:close/>
                        <a:moveTo>
                          <a:pt x="5595" y="15178"/>
                        </a:moveTo>
                        <a:lnTo>
                          <a:pt x="2537" y="15178"/>
                        </a:lnTo>
                        <a:cubicBezTo>
                          <a:pt x="1965" y="15178"/>
                          <a:pt x="1496" y="14758"/>
                          <a:pt x="1496" y="14244"/>
                        </a:cubicBezTo>
                        <a:cubicBezTo>
                          <a:pt x="1496" y="13731"/>
                          <a:pt x="1965" y="13310"/>
                          <a:pt x="2537" y="13310"/>
                        </a:cubicBezTo>
                        <a:lnTo>
                          <a:pt x="5595" y="13310"/>
                        </a:lnTo>
                        <a:cubicBezTo>
                          <a:pt x="6168" y="13310"/>
                          <a:pt x="6636" y="13731"/>
                          <a:pt x="6636" y="14244"/>
                        </a:cubicBezTo>
                        <a:cubicBezTo>
                          <a:pt x="6636" y="14758"/>
                          <a:pt x="6181" y="15178"/>
                          <a:pt x="5595" y="15178"/>
                        </a:cubicBezTo>
                        <a:close/>
                        <a:moveTo>
                          <a:pt x="5595" y="10391"/>
                        </a:moveTo>
                        <a:lnTo>
                          <a:pt x="2537" y="10391"/>
                        </a:lnTo>
                        <a:cubicBezTo>
                          <a:pt x="1965" y="10391"/>
                          <a:pt x="1496" y="9971"/>
                          <a:pt x="1496" y="9457"/>
                        </a:cubicBezTo>
                        <a:cubicBezTo>
                          <a:pt x="1496" y="8944"/>
                          <a:pt x="1965" y="8523"/>
                          <a:pt x="2537" y="8523"/>
                        </a:cubicBezTo>
                        <a:lnTo>
                          <a:pt x="5595" y="8523"/>
                        </a:lnTo>
                        <a:cubicBezTo>
                          <a:pt x="6168" y="8523"/>
                          <a:pt x="6636" y="8944"/>
                          <a:pt x="6636" y="9457"/>
                        </a:cubicBezTo>
                        <a:cubicBezTo>
                          <a:pt x="6636" y="9971"/>
                          <a:pt x="6181" y="10391"/>
                          <a:pt x="5595" y="10391"/>
                        </a:cubicBezTo>
                        <a:close/>
                        <a:moveTo>
                          <a:pt x="12309" y="19849"/>
                        </a:moveTo>
                        <a:lnTo>
                          <a:pt x="9252" y="19849"/>
                        </a:lnTo>
                        <a:cubicBezTo>
                          <a:pt x="8679" y="19849"/>
                          <a:pt x="8211" y="19428"/>
                          <a:pt x="8211" y="18915"/>
                        </a:cubicBezTo>
                        <a:cubicBezTo>
                          <a:pt x="8211" y="18401"/>
                          <a:pt x="8679" y="17981"/>
                          <a:pt x="9252" y="17981"/>
                        </a:cubicBezTo>
                        <a:lnTo>
                          <a:pt x="12309" y="17981"/>
                        </a:lnTo>
                        <a:cubicBezTo>
                          <a:pt x="12882" y="17981"/>
                          <a:pt x="13350" y="18401"/>
                          <a:pt x="13350" y="18915"/>
                        </a:cubicBezTo>
                        <a:cubicBezTo>
                          <a:pt x="13350" y="19428"/>
                          <a:pt x="12882" y="19849"/>
                          <a:pt x="12309" y="19849"/>
                        </a:cubicBezTo>
                        <a:close/>
                        <a:moveTo>
                          <a:pt x="12309" y="15178"/>
                        </a:moveTo>
                        <a:lnTo>
                          <a:pt x="9252" y="15178"/>
                        </a:lnTo>
                        <a:cubicBezTo>
                          <a:pt x="8679" y="15178"/>
                          <a:pt x="8211" y="14758"/>
                          <a:pt x="8211" y="14244"/>
                        </a:cubicBezTo>
                        <a:cubicBezTo>
                          <a:pt x="8211" y="13731"/>
                          <a:pt x="8679" y="13310"/>
                          <a:pt x="9252" y="13310"/>
                        </a:cubicBezTo>
                        <a:lnTo>
                          <a:pt x="12309" y="13310"/>
                        </a:lnTo>
                        <a:cubicBezTo>
                          <a:pt x="12882" y="13310"/>
                          <a:pt x="13350" y="13731"/>
                          <a:pt x="13350" y="14244"/>
                        </a:cubicBezTo>
                        <a:cubicBezTo>
                          <a:pt x="13350" y="14758"/>
                          <a:pt x="12882" y="15178"/>
                          <a:pt x="12309" y="15178"/>
                        </a:cubicBezTo>
                        <a:close/>
                        <a:moveTo>
                          <a:pt x="12309" y="10391"/>
                        </a:moveTo>
                        <a:lnTo>
                          <a:pt x="9252" y="10391"/>
                        </a:lnTo>
                        <a:cubicBezTo>
                          <a:pt x="8679" y="10391"/>
                          <a:pt x="8211" y="9971"/>
                          <a:pt x="8211" y="9457"/>
                        </a:cubicBezTo>
                        <a:cubicBezTo>
                          <a:pt x="8211" y="8944"/>
                          <a:pt x="8679" y="8523"/>
                          <a:pt x="9252" y="8523"/>
                        </a:cubicBezTo>
                        <a:lnTo>
                          <a:pt x="12309" y="8523"/>
                        </a:lnTo>
                        <a:cubicBezTo>
                          <a:pt x="12882" y="8523"/>
                          <a:pt x="13350" y="8944"/>
                          <a:pt x="13350" y="9457"/>
                        </a:cubicBezTo>
                        <a:cubicBezTo>
                          <a:pt x="13350" y="9971"/>
                          <a:pt x="12882" y="10391"/>
                          <a:pt x="12309" y="10391"/>
                        </a:cubicBezTo>
                        <a:close/>
                        <a:moveTo>
                          <a:pt x="19037" y="19849"/>
                        </a:moveTo>
                        <a:lnTo>
                          <a:pt x="15979" y="19849"/>
                        </a:lnTo>
                        <a:cubicBezTo>
                          <a:pt x="15406" y="19849"/>
                          <a:pt x="14938" y="19428"/>
                          <a:pt x="14938" y="18915"/>
                        </a:cubicBezTo>
                        <a:cubicBezTo>
                          <a:pt x="14938" y="18401"/>
                          <a:pt x="15406" y="17981"/>
                          <a:pt x="15979" y="17981"/>
                        </a:cubicBezTo>
                        <a:lnTo>
                          <a:pt x="19037" y="17981"/>
                        </a:lnTo>
                        <a:cubicBezTo>
                          <a:pt x="19609" y="17981"/>
                          <a:pt x="20078" y="18401"/>
                          <a:pt x="20078" y="18915"/>
                        </a:cubicBezTo>
                        <a:cubicBezTo>
                          <a:pt x="20078" y="19428"/>
                          <a:pt x="19609" y="19849"/>
                          <a:pt x="19037" y="19849"/>
                        </a:cubicBezTo>
                        <a:close/>
                        <a:moveTo>
                          <a:pt x="19037" y="15178"/>
                        </a:moveTo>
                        <a:lnTo>
                          <a:pt x="15979" y="15178"/>
                        </a:lnTo>
                        <a:cubicBezTo>
                          <a:pt x="15406" y="15178"/>
                          <a:pt x="14938" y="14758"/>
                          <a:pt x="14938" y="14244"/>
                        </a:cubicBezTo>
                        <a:cubicBezTo>
                          <a:pt x="14938" y="13731"/>
                          <a:pt x="15406" y="13310"/>
                          <a:pt x="15979" y="13310"/>
                        </a:cubicBezTo>
                        <a:lnTo>
                          <a:pt x="19037" y="13310"/>
                        </a:lnTo>
                        <a:cubicBezTo>
                          <a:pt x="19609" y="13310"/>
                          <a:pt x="20078" y="13731"/>
                          <a:pt x="20078" y="14244"/>
                        </a:cubicBezTo>
                        <a:cubicBezTo>
                          <a:pt x="20078" y="14758"/>
                          <a:pt x="19609" y="15178"/>
                          <a:pt x="19037" y="15178"/>
                        </a:cubicBezTo>
                        <a:close/>
                        <a:moveTo>
                          <a:pt x="19037" y="10391"/>
                        </a:moveTo>
                        <a:lnTo>
                          <a:pt x="15979" y="10391"/>
                        </a:lnTo>
                        <a:cubicBezTo>
                          <a:pt x="15406" y="10391"/>
                          <a:pt x="14938" y="9971"/>
                          <a:pt x="14938" y="9457"/>
                        </a:cubicBezTo>
                        <a:cubicBezTo>
                          <a:pt x="14938" y="8944"/>
                          <a:pt x="15406" y="8523"/>
                          <a:pt x="15979" y="8523"/>
                        </a:cubicBezTo>
                        <a:lnTo>
                          <a:pt x="19037" y="8523"/>
                        </a:lnTo>
                        <a:cubicBezTo>
                          <a:pt x="19609" y="8523"/>
                          <a:pt x="20078" y="8944"/>
                          <a:pt x="20078" y="9457"/>
                        </a:cubicBezTo>
                        <a:cubicBezTo>
                          <a:pt x="20078" y="9971"/>
                          <a:pt x="19609" y="10391"/>
                          <a:pt x="19037" y="10391"/>
                        </a:cubicBezTo>
                        <a:close/>
                        <a:moveTo>
                          <a:pt x="20169" y="5838"/>
                        </a:moveTo>
                        <a:cubicBezTo>
                          <a:pt x="20169" y="6352"/>
                          <a:pt x="19700" y="6772"/>
                          <a:pt x="19128" y="6772"/>
                        </a:cubicBezTo>
                        <a:lnTo>
                          <a:pt x="2602" y="6772"/>
                        </a:lnTo>
                        <a:cubicBezTo>
                          <a:pt x="2030" y="6772"/>
                          <a:pt x="1561" y="6352"/>
                          <a:pt x="1561" y="5838"/>
                        </a:cubicBezTo>
                        <a:lnTo>
                          <a:pt x="1561" y="2218"/>
                        </a:lnTo>
                        <a:cubicBezTo>
                          <a:pt x="1561" y="1705"/>
                          <a:pt x="2030" y="1284"/>
                          <a:pt x="2602" y="1284"/>
                        </a:cubicBezTo>
                        <a:lnTo>
                          <a:pt x="19128" y="1284"/>
                        </a:lnTo>
                        <a:cubicBezTo>
                          <a:pt x="19700" y="1284"/>
                          <a:pt x="20169" y="1705"/>
                          <a:pt x="20169" y="2218"/>
                        </a:cubicBezTo>
                        <a:lnTo>
                          <a:pt x="20169" y="5838"/>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grpSp>
          </p:grpSp>
          <p:grpSp>
            <p:nvGrpSpPr>
              <p:cNvPr id="101" name="Group"/>
              <p:cNvGrpSpPr/>
              <p:nvPr/>
            </p:nvGrpSpPr>
            <p:grpSpPr>
              <a:xfrm>
                <a:off x="2088173" y="1208773"/>
                <a:ext cx="3694192" cy="1056292"/>
                <a:chOff x="-1" y="10255"/>
                <a:chExt cx="3694191" cy="1056291"/>
              </a:xfrm>
            </p:grpSpPr>
            <p:grpSp>
              <p:nvGrpSpPr>
                <p:cNvPr id="104" name="Rectangle: Rounded Corners 29"/>
                <p:cNvGrpSpPr/>
                <p:nvPr/>
              </p:nvGrpSpPr>
              <p:grpSpPr>
                <a:xfrm>
                  <a:off x="1108845" y="36112"/>
                  <a:ext cx="2585345" cy="1030434"/>
                  <a:chOff x="0" y="36112"/>
                  <a:chExt cx="2585344" cy="1030433"/>
                </a:xfrm>
              </p:grpSpPr>
              <p:sp>
                <p:nvSpPr>
                  <p:cNvPr id="119" name="Rounded Rectangle"/>
                  <p:cNvSpPr/>
                  <p:nvPr/>
                </p:nvSpPr>
                <p:spPr>
                  <a:xfrm>
                    <a:off x="0" y="36112"/>
                    <a:ext cx="1673812" cy="1030433"/>
                  </a:xfrm>
                  <a:prstGeom prst="roundRect">
                    <a:avLst>
                      <a:gd name="adj" fmla="val 17206"/>
                    </a:avLst>
                  </a:prstGeom>
                  <a:solidFill>
                    <a:srgbClr val="22C00F"/>
                  </a:solidFill>
                  <a:ln/>
                </p:spPr>
                <p:style>
                  <a:lnRef idx="1">
                    <a:schemeClr val="accent5"/>
                  </a:lnRef>
                  <a:fillRef idx="3">
                    <a:schemeClr val="accent5"/>
                  </a:fillRef>
                  <a:effectRef idx="2">
                    <a:schemeClr val="accent5"/>
                  </a:effectRef>
                  <a:fontRef idx="minor">
                    <a:schemeClr val="lt1"/>
                  </a:fontRef>
                </p:style>
                <p:txBody>
                  <a:bodyPr wrap="square" lIns="38100" tIns="38100" rIns="38100" bIns="38100" numCol="1" anchor="ctr">
                    <a:noAutofit/>
                  </a:bodyPr>
                  <a:lstStyle/>
                  <a:p>
                    <a:pPr algn="l">
                      <a:spcBef>
                        <a:spcPts val="1000"/>
                      </a:spcBef>
                      <a:defRPr sz="2700">
                        <a:solidFill>
                          <a:srgbClr val="000000"/>
                        </a:solidFill>
                        <a:effectLst/>
                      </a:defRPr>
                    </a:pPr>
                    <a:r>
                      <a:rPr lang="en-GB" sz="2000" dirty="0">
                        <a:solidFill>
                          <a:srgbClr val="000000"/>
                        </a:solidFill>
                      </a:rPr>
                      <a:t>80.664</a:t>
                    </a:r>
                    <a:r>
                      <a:rPr lang="en-GB" sz="2000" dirty="0"/>
                      <a:t> (₦’BN)</a:t>
                    </a:r>
                    <a:endParaRPr sz="2000" dirty="0"/>
                  </a:p>
                </p:txBody>
              </p:sp>
              <p:sp>
                <p:nvSpPr>
                  <p:cNvPr id="120" name="Text"/>
                  <p:cNvSpPr/>
                  <p:nvPr/>
                </p:nvSpPr>
                <p:spPr>
                  <a:xfrm>
                    <a:off x="51927" y="515215"/>
                    <a:ext cx="2533417" cy="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45718" tIns="45718" rIns="45718" bIns="45718" numCol="1" anchor="ctr">
                    <a:spAutoFit/>
                  </a:bodyPr>
                  <a:lstStyle/>
                  <a:p>
                    <a:pPr algn="l">
                      <a:spcBef>
                        <a:spcPts val="1000"/>
                      </a:spcBef>
                      <a:defRPr sz="2700">
                        <a:solidFill>
                          <a:srgbClr val="000000"/>
                        </a:solidFill>
                        <a:effectLst/>
                      </a:defRPr>
                    </a:pPr>
                    <a:endParaRPr dirty="0"/>
                  </a:p>
                </p:txBody>
              </p:sp>
            </p:grpSp>
            <p:grpSp>
              <p:nvGrpSpPr>
                <p:cNvPr id="105" name="Group"/>
                <p:cNvGrpSpPr/>
                <p:nvPr/>
              </p:nvGrpSpPr>
              <p:grpSpPr>
                <a:xfrm>
                  <a:off x="-1" y="10255"/>
                  <a:ext cx="1004617" cy="1009925"/>
                  <a:chOff x="0" y="0"/>
                  <a:chExt cx="1004615" cy="1009924"/>
                </a:xfrm>
              </p:grpSpPr>
              <p:sp>
                <p:nvSpPr>
                  <p:cNvPr id="106" name="Rectangle: Rounded Corners 28"/>
                  <p:cNvSpPr/>
                  <p:nvPr/>
                </p:nvSpPr>
                <p:spPr>
                  <a:xfrm>
                    <a:off x="0" y="0"/>
                    <a:ext cx="1004615" cy="1009924"/>
                  </a:xfrm>
                  <a:prstGeom prst="roundRect">
                    <a:avLst>
                      <a:gd name="adj" fmla="val 6667"/>
                    </a:avLst>
                  </a:prstGeom>
                  <a:solidFill>
                    <a:srgbClr val="8A6705"/>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defTabSz="914400">
                      <a:defRPr sz="1800" b="0" cap="none">
                        <a:solidFill>
                          <a:srgbClr val="FFFFFF"/>
                        </a:solidFill>
                        <a:effectLst/>
                        <a:latin typeface="Calibri"/>
                        <a:ea typeface="Calibri"/>
                        <a:cs typeface="Calibri"/>
                        <a:sym typeface="Calibri"/>
                      </a:defRPr>
                    </a:pPr>
                    <a:endParaRPr dirty="0"/>
                  </a:p>
                </p:txBody>
              </p:sp>
              <p:sp>
                <p:nvSpPr>
                  <p:cNvPr id="107" name="Freeform: Shape 78"/>
                  <p:cNvSpPr/>
                  <p:nvPr/>
                </p:nvSpPr>
                <p:spPr>
                  <a:xfrm>
                    <a:off x="166672" y="544685"/>
                    <a:ext cx="178122" cy="156842"/>
                  </a:xfrm>
                  <a:custGeom>
                    <a:avLst/>
                    <a:gdLst/>
                    <a:ahLst/>
                    <a:cxnLst>
                      <a:cxn ang="0">
                        <a:pos x="wd2" y="hd2"/>
                      </a:cxn>
                      <a:cxn ang="5400000">
                        <a:pos x="wd2" y="hd2"/>
                      </a:cxn>
                      <a:cxn ang="10800000">
                        <a:pos x="wd2" y="hd2"/>
                      </a:cxn>
                      <a:cxn ang="16200000">
                        <a:pos x="wd2" y="hd2"/>
                      </a:cxn>
                    </a:cxnLst>
                    <a:rect l="0" t="0" r="r" b="b"/>
                    <a:pathLst>
                      <a:path w="21600" h="21600" extrusionOk="0">
                        <a:moveTo>
                          <a:pt x="19421" y="0"/>
                        </a:moveTo>
                        <a:lnTo>
                          <a:pt x="0" y="0"/>
                        </a:lnTo>
                        <a:cubicBezTo>
                          <a:pt x="956" y="7858"/>
                          <a:pt x="3651" y="15283"/>
                          <a:pt x="7856" y="21600"/>
                        </a:cubicBezTo>
                        <a:lnTo>
                          <a:pt x="21600" y="5992"/>
                        </a:lnTo>
                        <a:cubicBezTo>
                          <a:pt x="20644" y="4125"/>
                          <a:pt x="19899" y="2106"/>
                          <a:pt x="19421"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08" name="Freeform: Shape 79"/>
                  <p:cNvSpPr/>
                  <p:nvPr/>
                </p:nvSpPr>
                <p:spPr>
                  <a:xfrm>
                    <a:off x="297661" y="654393"/>
                    <a:ext cx="157631" cy="178281"/>
                  </a:xfrm>
                  <a:custGeom>
                    <a:avLst/>
                    <a:gdLst/>
                    <a:ahLst/>
                    <a:cxnLst>
                      <a:cxn ang="0">
                        <a:pos x="wd2" y="hd2"/>
                      </a:cxn>
                      <a:cxn ang="5400000">
                        <a:pos x="wd2" y="hd2"/>
                      </a:cxn>
                      <a:cxn ang="10800000">
                        <a:pos x="wd2" y="hd2"/>
                      </a:cxn>
                      <a:cxn ang="16200000">
                        <a:pos x="wd2" y="hd2"/>
                      </a:cxn>
                    </a:cxnLst>
                    <a:rect l="0" t="0" r="r" b="b"/>
                    <a:pathLst>
                      <a:path w="21600" h="21600" extrusionOk="0">
                        <a:moveTo>
                          <a:pt x="15509" y="0"/>
                        </a:moveTo>
                        <a:lnTo>
                          <a:pt x="0" y="13732"/>
                        </a:lnTo>
                        <a:cubicBezTo>
                          <a:pt x="6307" y="17952"/>
                          <a:pt x="13738" y="20664"/>
                          <a:pt x="21600" y="21600"/>
                        </a:cubicBezTo>
                        <a:lnTo>
                          <a:pt x="21600" y="2196"/>
                        </a:lnTo>
                        <a:cubicBezTo>
                          <a:pt x="19462" y="1700"/>
                          <a:pt x="17431" y="974"/>
                          <a:pt x="15509"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09" name="Freeform: Shape 80"/>
                  <p:cNvSpPr/>
                  <p:nvPr/>
                </p:nvSpPr>
                <p:spPr>
                  <a:xfrm>
                    <a:off x="548133" y="164956"/>
                    <a:ext cx="286887" cy="287044"/>
                  </a:xfrm>
                  <a:custGeom>
                    <a:avLst/>
                    <a:gdLst/>
                    <a:ahLst/>
                    <a:cxnLst>
                      <a:cxn ang="0">
                        <a:pos x="wd2" y="hd2"/>
                      </a:cxn>
                      <a:cxn ang="5400000">
                        <a:pos x="wd2" y="hd2"/>
                      </a:cxn>
                      <a:cxn ang="10800000">
                        <a:pos x="wd2" y="hd2"/>
                      </a:cxn>
                      <a:cxn ang="16200000">
                        <a:pos x="wd2" y="hd2"/>
                      </a:cxn>
                    </a:cxnLst>
                    <a:rect l="0" t="0" r="r" b="b"/>
                    <a:pathLst>
                      <a:path w="21600" h="21600" extrusionOk="0">
                        <a:moveTo>
                          <a:pt x="83" y="0"/>
                        </a:moveTo>
                        <a:cubicBezTo>
                          <a:pt x="47" y="4413"/>
                          <a:pt x="12" y="10094"/>
                          <a:pt x="0" y="12075"/>
                        </a:cubicBezTo>
                        <a:cubicBezTo>
                          <a:pt x="4640" y="13332"/>
                          <a:pt x="8260" y="16962"/>
                          <a:pt x="9506" y="21600"/>
                        </a:cubicBezTo>
                        <a:lnTo>
                          <a:pt x="21600" y="21576"/>
                        </a:lnTo>
                        <a:cubicBezTo>
                          <a:pt x="20010" y="10415"/>
                          <a:pt x="11251" y="1625"/>
                          <a:pt x="83"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10" name="Freeform: Shape 81"/>
                  <p:cNvSpPr/>
                  <p:nvPr/>
                </p:nvSpPr>
                <p:spPr>
                  <a:xfrm>
                    <a:off x="350152" y="180718"/>
                    <a:ext cx="104036" cy="119800"/>
                  </a:xfrm>
                  <a:custGeom>
                    <a:avLst/>
                    <a:gdLst/>
                    <a:ahLst/>
                    <a:cxnLst>
                      <a:cxn ang="0">
                        <a:pos x="wd2" y="hd2"/>
                      </a:cxn>
                      <a:cxn ang="5400000">
                        <a:pos x="wd2" y="hd2"/>
                      </a:cxn>
                      <a:cxn ang="10800000">
                        <a:pos x="wd2" y="hd2"/>
                      </a:cxn>
                      <a:cxn ang="16200000">
                        <a:pos x="wd2" y="hd2"/>
                      </a:cxn>
                    </a:cxnLst>
                    <a:rect l="0" t="0" r="r" b="b"/>
                    <a:pathLst>
                      <a:path w="21600" h="21600" extrusionOk="0">
                        <a:moveTo>
                          <a:pt x="7789" y="0"/>
                        </a:moveTo>
                        <a:cubicBezTo>
                          <a:pt x="5138" y="824"/>
                          <a:pt x="2520" y="1791"/>
                          <a:pt x="0" y="2899"/>
                        </a:cubicBezTo>
                        <a:lnTo>
                          <a:pt x="21535" y="21600"/>
                        </a:lnTo>
                        <a:lnTo>
                          <a:pt x="21600" y="11994"/>
                        </a:lnTo>
                        <a:lnTo>
                          <a:pt x="7789"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11" name="Freeform: Shape 82"/>
                  <p:cNvSpPr/>
                  <p:nvPr/>
                </p:nvSpPr>
                <p:spPr>
                  <a:xfrm>
                    <a:off x="295297" y="209408"/>
                    <a:ext cx="149749" cy="134774"/>
                  </a:xfrm>
                  <a:custGeom>
                    <a:avLst/>
                    <a:gdLst/>
                    <a:ahLst/>
                    <a:cxnLst>
                      <a:cxn ang="0">
                        <a:pos x="wd2" y="hd2"/>
                      </a:cxn>
                      <a:cxn ang="5400000">
                        <a:pos x="wd2" y="hd2"/>
                      </a:cxn>
                      <a:cxn ang="10800000">
                        <a:pos x="wd2" y="hd2"/>
                      </a:cxn>
                      <a:cxn ang="16200000">
                        <a:pos x="wd2" y="hd2"/>
                      </a:cxn>
                    </a:cxnLst>
                    <a:rect l="0" t="0" r="r" b="b"/>
                    <a:pathLst>
                      <a:path w="21600" h="21600" extrusionOk="0">
                        <a:moveTo>
                          <a:pt x="4593" y="0"/>
                        </a:moveTo>
                        <a:cubicBezTo>
                          <a:pt x="3001" y="1061"/>
                          <a:pt x="1478" y="2223"/>
                          <a:pt x="0" y="3486"/>
                        </a:cubicBezTo>
                        <a:lnTo>
                          <a:pt x="16302" y="21600"/>
                        </a:lnTo>
                        <a:cubicBezTo>
                          <a:pt x="17985" y="20488"/>
                          <a:pt x="19758" y="19579"/>
                          <a:pt x="21600" y="18897"/>
                        </a:cubicBezTo>
                        <a:lnTo>
                          <a:pt x="4593"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12" name="Freeform: Shape 83"/>
                  <p:cNvSpPr/>
                  <p:nvPr/>
                </p:nvSpPr>
                <p:spPr>
                  <a:xfrm>
                    <a:off x="414937" y="164482"/>
                    <a:ext cx="39567" cy="47291"/>
                  </a:xfrm>
                  <a:custGeom>
                    <a:avLst/>
                    <a:gdLst/>
                    <a:ahLst/>
                    <a:cxnLst>
                      <a:cxn ang="0">
                        <a:pos x="wd2" y="hd2"/>
                      </a:cxn>
                      <a:cxn ang="5400000">
                        <a:pos x="wd2" y="hd2"/>
                      </a:cxn>
                      <a:cxn ang="10800000">
                        <a:pos x="wd2" y="hd2"/>
                      </a:cxn>
                      <a:cxn ang="16200000">
                        <a:pos x="wd2" y="hd2"/>
                      </a:cxn>
                    </a:cxnLst>
                    <a:rect l="0" t="0" r="r" b="b"/>
                    <a:pathLst>
                      <a:path w="21600" h="21600" extrusionOk="0">
                        <a:moveTo>
                          <a:pt x="0" y="3600"/>
                        </a:moveTo>
                        <a:lnTo>
                          <a:pt x="21514" y="21600"/>
                        </a:lnTo>
                        <a:lnTo>
                          <a:pt x="21600" y="0"/>
                        </a:lnTo>
                        <a:cubicBezTo>
                          <a:pt x="14285" y="864"/>
                          <a:pt x="7143" y="2016"/>
                          <a:pt x="0" y="360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13" name="Freeform: Shape 84"/>
                  <p:cNvSpPr/>
                  <p:nvPr/>
                </p:nvSpPr>
                <p:spPr>
                  <a:xfrm>
                    <a:off x="249270" y="247396"/>
                    <a:ext cx="138400" cy="138401"/>
                  </a:xfrm>
                  <a:custGeom>
                    <a:avLst/>
                    <a:gdLst/>
                    <a:ahLst/>
                    <a:cxnLst>
                      <a:cxn ang="0">
                        <a:pos x="wd2" y="hd2"/>
                      </a:cxn>
                      <a:cxn ang="5400000">
                        <a:pos x="wd2" y="hd2"/>
                      </a:cxn>
                      <a:cxn ang="10800000">
                        <a:pos x="wd2" y="hd2"/>
                      </a:cxn>
                      <a:cxn ang="16200000">
                        <a:pos x="wd2" y="hd2"/>
                      </a:cxn>
                    </a:cxnLst>
                    <a:rect l="0" t="0" r="r" b="b"/>
                    <a:pathLst>
                      <a:path w="21600" h="21600" extrusionOk="0">
                        <a:moveTo>
                          <a:pt x="4182" y="0"/>
                        </a:moveTo>
                        <a:cubicBezTo>
                          <a:pt x="3469" y="640"/>
                          <a:pt x="2755" y="1304"/>
                          <a:pt x="2067" y="1993"/>
                        </a:cubicBezTo>
                        <a:cubicBezTo>
                          <a:pt x="1353" y="2706"/>
                          <a:pt x="664" y="3444"/>
                          <a:pt x="0" y="4182"/>
                        </a:cubicBezTo>
                        <a:lnTo>
                          <a:pt x="17418" y="21600"/>
                        </a:lnTo>
                        <a:cubicBezTo>
                          <a:pt x="18672" y="20075"/>
                          <a:pt x="20050" y="18672"/>
                          <a:pt x="21600" y="17418"/>
                        </a:cubicBezTo>
                        <a:lnTo>
                          <a:pt x="4182"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14" name="Freeform: Shape 85"/>
                  <p:cNvSpPr/>
                  <p:nvPr/>
                </p:nvSpPr>
                <p:spPr>
                  <a:xfrm>
                    <a:off x="166830" y="413063"/>
                    <a:ext cx="44611" cy="37045"/>
                  </a:xfrm>
                  <a:custGeom>
                    <a:avLst/>
                    <a:gdLst/>
                    <a:ahLst/>
                    <a:cxnLst>
                      <a:cxn ang="0">
                        <a:pos x="wd2" y="hd2"/>
                      </a:cxn>
                      <a:cxn ang="5400000">
                        <a:pos x="wd2" y="hd2"/>
                      </a:cxn>
                      <a:cxn ang="10800000">
                        <a:pos x="wd2" y="hd2"/>
                      </a:cxn>
                      <a:cxn ang="16200000">
                        <a:pos x="wd2" y="hd2"/>
                      </a:cxn>
                    </a:cxnLst>
                    <a:rect l="0" t="0" r="r" b="b"/>
                    <a:pathLst>
                      <a:path w="21600" h="21600" extrusionOk="0">
                        <a:moveTo>
                          <a:pt x="3664" y="0"/>
                        </a:moveTo>
                        <a:cubicBezTo>
                          <a:pt x="2137" y="7077"/>
                          <a:pt x="916" y="14339"/>
                          <a:pt x="0" y="21600"/>
                        </a:cubicBezTo>
                        <a:lnTo>
                          <a:pt x="21600" y="21600"/>
                        </a:lnTo>
                        <a:lnTo>
                          <a:pt x="3664"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15" name="Freeform: Shape 86"/>
                  <p:cNvSpPr/>
                  <p:nvPr/>
                </p:nvSpPr>
                <p:spPr>
                  <a:xfrm>
                    <a:off x="182908" y="348436"/>
                    <a:ext cx="117751" cy="101673"/>
                  </a:xfrm>
                  <a:custGeom>
                    <a:avLst/>
                    <a:gdLst/>
                    <a:ahLst/>
                    <a:cxnLst>
                      <a:cxn ang="0">
                        <a:pos x="wd2" y="hd2"/>
                      </a:cxn>
                      <a:cxn ang="5400000">
                        <a:pos x="wd2" y="hd2"/>
                      </a:cxn>
                      <a:cxn ang="10800000">
                        <a:pos x="wd2" y="hd2"/>
                      </a:cxn>
                      <a:cxn ang="16200000">
                        <a:pos x="wd2" y="hd2"/>
                      </a:cxn>
                    </a:cxnLst>
                    <a:rect l="0" t="0" r="r" b="b"/>
                    <a:pathLst>
                      <a:path w="21600" h="21600" extrusionOk="0">
                        <a:moveTo>
                          <a:pt x="2920" y="0"/>
                        </a:moveTo>
                        <a:cubicBezTo>
                          <a:pt x="1793" y="2579"/>
                          <a:pt x="839" y="5224"/>
                          <a:pt x="0" y="7937"/>
                        </a:cubicBezTo>
                        <a:lnTo>
                          <a:pt x="11798" y="21600"/>
                        </a:lnTo>
                        <a:lnTo>
                          <a:pt x="21600" y="21600"/>
                        </a:lnTo>
                        <a:lnTo>
                          <a:pt x="2920"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16" name="Freeform: Shape 87"/>
                  <p:cNvSpPr/>
                  <p:nvPr/>
                </p:nvSpPr>
                <p:spPr>
                  <a:xfrm>
                    <a:off x="211596" y="293739"/>
                    <a:ext cx="134617" cy="149750"/>
                  </a:xfrm>
                  <a:custGeom>
                    <a:avLst/>
                    <a:gdLst/>
                    <a:ahLst/>
                    <a:cxnLst>
                      <a:cxn ang="0">
                        <a:pos x="wd2" y="hd2"/>
                      </a:cxn>
                      <a:cxn ang="5400000">
                        <a:pos x="wd2" y="hd2"/>
                      </a:cxn>
                      <a:cxn ang="10800000">
                        <a:pos x="wd2" y="hd2"/>
                      </a:cxn>
                      <a:cxn ang="16200000">
                        <a:pos x="wd2" y="hd2"/>
                      </a:cxn>
                    </a:cxnLst>
                    <a:rect l="0" t="0" r="r" b="b"/>
                    <a:pathLst>
                      <a:path w="21600" h="21600" extrusionOk="0">
                        <a:moveTo>
                          <a:pt x="3465" y="0"/>
                        </a:moveTo>
                        <a:cubicBezTo>
                          <a:pt x="2200" y="1478"/>
                          <a:pt x="1062" y="3001"/>
                          <a:pt x="0" y="4593"/>
                        </a:cubicBezTo>
                        <a:lnTo>
                          <a:pt x="18919" y="21600"/>
                        </a:lnTo>
                        <a:cubicBezTo>
                          <a:pt x="19577" y="19736"/>
                          <a:pt x="20487" y="17962"/>
                          <a:pt x="21600" y="16302"/>
                        </a:cubicBezTo>
                        <a:lnTo>
                          <a:pt x="3465"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17" name="Freeform: Shape 88"/>
                  <p:cNvSpPr/>
                  <p:nvPr/>
                </p:nvSpPr>
                <p:spPr>
                  <a:xfrm>
                    <a:off x="622376" y="591869"/>
                    <a:ext cx="174969" cy="33313"/>
                  </a:xfrm>
                  <a:prstGeom prst="rect">
                    <a:avLst/>
                  </a:pr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18" name="Freeform: Shape 89"/>
                  <p:cNvSpPr/>
                  <p:nvPr/>
                </p:nvSpPr>
                <p:spPr>
                  <a:xfrm>
                    <a:off x="578240" y="554141"/>
                    <a:ext cx="261666" cy="291615"/>
                  </a:xfrm>
                  <a:custGeom>
                    <a:avLst/>
                    <a:gdLst/>
                    <a:ahLst/>
                    <a:cxnLst>
                      <a:cxn ang="0">
                        <a:pos x="wd2" y="hd2"/>
                      </a:cxn>
                      <a:cxn ang="5400000">
                        <a:pos x="wd2" y="hd2"/>
                      </a:cxn>
                      <a:cxn ang="10800000">
                        <a:pos x="wd2" y="hd2"/>
                      </a:cxn>
                      <a:cxn ang="16200000">
                        <a:pos x="wd2" y="hd2"/>
                      </a:cxn>
                    </a:cxnLst>
                    <a:rect l="0" t="0" r="r" b="b"/>
                    <a:pathLst>
                      <a:path w="21600" h="21600" extrusionOk="0">
                        <a:moveTo>
                          <a:pt x="18737" y="0"/>
                        </a:moveTo>
                        <a:lnTo>
                          <a:pt x="2863" y="0"/>
                        </a:lnTo>
                        <a:cubicBezTo>
                          <a:pt x="1275" y="0"/>
                          <a:pt x="0" y="1144"/>
                          <a:pt x="0" y="2569"/>
                        </a:cubicBezTo>
                        <a:lnTo>
                          <a:pt x="0" y="19031"/>
                        </a:lnTo>
                        <a:cubicBezTo>
                          <a:pt x="0" y="20456"/>
                          <a:pt x="1275" y="21600"/>
                          <a:pt x="2863" y="21600"/>
                        </a:cubicBezTo>
                        <a:lnTo>
                          <a:pt x="18737" y="21600"/>
                        </a:lnTo>
                        <a:cubicBezTo>
                          <a:pt x="20325" y="21600"/>
                          <a:pt x="21600" y="20456"/>
                          <a:pt x="21600" y="19031"/>
                        </a:cubicBezTo>
                        <a:lnTo>
                          <a:pt x="21600" y="2569"/>
                        </a:lnTo>
                        <a:cubicBezTo>
                          <a:pt x="21600" y="1144"/>
                          <a:pt x="20325" y="0"/>
                          <a:pt x="18737" y="0"/>
                        </a:cubicBezTo>
                        <a:close/>
                        <a:moveTo>
                          <a:pt x="5595" y="19849"/>
                        </a:moveTo>
                        <a:lnTo>
                          <a:pt x="2537" y="19849"/>
                        </a:lnTo>
                        <a:cubicBezTo>
                          <a:pt x="1965" y="19849"/>
                          <a:pt x="1496" y="19428"/>
                          <a:pt x="1496" y="18915"/>
                        </a:cubicBezTo>
                        <a:cubicBezTo>
                          <a:pt x="1496" y="18401"/>
                          <a:pt x="1965" y="17981"/>
                          <a:pt x="2537" y="17981"/>
                        </a:cubicBezTo>
                        <a:lnTo>
                          <a:pt x="5595" y="17981"/>
                        </a:lnTo>
                        <a:cubicBezTo>
                          <a:pt x="6168" y="17981"/>
                          <a:pt x="6636" y="18401"/>
                          <a:pt x="6636" y="18915"/>
                        </a:cubicBezTo>
                        <a:cubicBezTo>
                          <a:pt x="6636" y="19428"/>
                          <a:pt x="6181" y="19849"/>
                          <a:pt x="5595" y="19849"/>
                        </a:cubicBezTo>
                        <a:close/>
                        <a:moveTo>
                          <a:pt x="5595" y="15178"/>
                        </a:moveTo>
                        <a:lnTo>
                          <a:pt x="2537" y="15178"/>
                        </a:lnTo>
                        <a:cubicBezTo>
                          <a:pt x="1965" y="15178"/>
                          <a:pt x="1496" y="14758"/>
                          <a:pt x="1496" y="14244"/>
                        </a:cubicBezTo>
                        <a:cubicBezTo>
                          <a:pt x="1496" y="13731"/>
                          <a:pt x="1965" y="13310"/>
                          <a:pt x="2537" y="13310"/>
                        </a:cubicBezTo>
                        <a:lnTo>
                          <a:pt x="5595" y="13310"/>
                        </a:lnTo>
                        <a:cubicBezTo>
                          <a:pt x="6168" y="13310"/>
                          <a:pt x="6636" y="13731"/>
                          <a:pt x="6636" y="14244"/>
                        </a:cubicBezTo>
                        <a:cubicBezTo>
                          <a:pt x="6636" y="14758"/>
                          <a:pt x="6181" y="15178"/>
                          <a:pt x="5595" y="15178"/>
                        </a:cubicBezTo>
                        <a:close/>
                        <a:moveTo>
                          <a:pt x="5595" y="10391"/>
                        </a:moveTo>
                        <a:lnTo>
                          <a:pt x="2537" y="10391"/>
                        </a:lnTo>
                        <a:cubicBezTo>
                          <a:pt x="1965" y="10391"/>
                          <a:pt x="1496" y="9971"/>
                          <a:pt x="1496" y="9457"/>
                        </a:cubicBezTo>
                        <a:cubicBezTo>
                          <a:pt x="1496" y="8944"/>
                          <a:pt x="1965" y="8523"/>
                          <a:pt x="2537" y="8523"/>
                        </a:cubicBezTo>
                        <a:lnTo>
                          <a:pt x="5595" y="8523"/>
                        </a:lnTo>
                        <a:cubicBezTo>
                          <a:pt x="6168" y="8523"/>
                          <a:pt x="6636" y="8944"/>
                          <a:pt x="6636" y="9457"/>
                        </a:cubicBezTo>
                        <a:cubicBezTo>
                          <a:pt x="6636" y="9971"/>
                          <a:pt x="6181" y="10391"/>
                          <a:pt x="5595" y="10391"/>
                        </a:cubicBezTo>
                        <a:close/>
                        <a:moveTo>
                          <a:pt x="12309" y="19849"/>
                        </a:moveTo>
                        <a:lnTo>
                          <a:pt x="9252" y="19849"/>
                        </a:lnTo>
                        <a:cubicBezTo>
                          <a:pt x="8679" y="19849"/>
                          <a:pt x="8211" y="19428"/>
                          <a:pt x="8211" y="18915"/>
                        </a:cubicBezTo>
                        <a:cubicBezTo>
                          <a:pt x="8211" y="18401"/>
                          <a:pt x="8679" y="17981"/>
                          <a:pt x="9252" y="17981"/>
                        </a:cubicBezTo>
                        <a:lnTo>
                          <a:pt x="12309" y="17981"/>
                        </a:lnTo>
                        <a:cubicBezTo>
                          <a:pt x="12882" y="17981"/>
                          <a:pt x="13350" y="18401"/>
                          <a:pt x="13350" y="18915"/>
                        </a:cubicBezTo>
                        <a:cubicBezTo>
                          <a:pt x="13350" y="19428"/>
                          <a:pt x="12882" y="19849"/>
                          <a:pt x="12309" y="19849"/>
                        </a:cubicBezTo>
                        <a:close/>
                        <a:moveTo>
                          <a:pt x="12309" y="15178"/>
                        </a:moveTo>
                        <a:lnTo>
                          <a:pt x="9252" y="15178"/>
                        </a:lnTo>
                        <a:cubicBezTo>
                          <a:pt x="8679" y="15178"/>
                          <a:pt x="8211" y="14758"/>
                          <a:pt x="8211" y="14244"/>
                        </a:cubicBezTo>
                        <a:cubicBezTo>
                          <a:pt x="8211" y="13731"/>
                          <a:pt x="8679" y="13310"/>
                          <a:pt x="9252" y="13310"/>
                        </a:cubicBezTo>
                        <a:lnTo>
                          <a:pt x="12309" y="13310"/>
                        </a:lnTo>
                        <a:cubicBezTo>
                          <a:pt x="12882" y="13310"/>
                          <a:pt x="13350" y="13731"/>
                          <a:pt x="13350" y="14244"/>
                        </a:cubicBezTo>
                        <a:cubicBezTo>
                          <a:pt x="13350" y="14758"/>
                          <a:pt x="12882" y="15178"/>
                          <a:pt x="12309" y="15178"/>
                        </a:cubicBezTo>
                        <a:close/>
                        <a:moveTo>
                          <a:pt x="12309" y="10391"/>
                        </a:moveTo>
                        <a:lnTo>
                          <a:pt x="9252" y="10391"/>
                        </a:lnTo>
                        <a:cubicBezTo>
                          <a:pt x="8679" y="10391"/>
                          <a:pt x="8211" y="9971"/>
                          <a:pt x="8211" y="9457"/>
                        </a:cubicBezTo>
                        <a:cubicBezTo>
                          <a:pt x="8211" y="8944"/>
                          <a:pt x="8679" y="8523"/>
                          <a:pt x="9252" y="8523"/>
                        </a:cubicBezTo>
                        <a:lnTo>
                          <a:pt x="12309" y="8523"/>
                        </a:lnTo>
                        <a:cubicBezTo>
                          <a:pt x="12882" y="8523"/>
                          <a:pt x="13350" y="8944"/>
                          <a:pt x="13350" y="9457"/>
                        </a:cubicBezTo>
                        <a:cubicBezTo>
                          <a:pt x="13350" y="9971"/>
                          <a:pt x="12882" y="10391"/>
                          <a:pt x="12309" y="10391"/>
                        </a:cubicBezTo>
                        <a:close/>
                        <a:moveTo>
                          <a:pt x="19037" y="19849"/>
                        </a:moveTo>
                        <a:lnTo>
                          <a:pt x="15979" y="19849"/>
                        </a:lnTo>
                        <a:cubicBezTo>
                          <a:pt x="15406" y="19849"/>
                          <a:pt x="14938" y="19428"/>
                          <a:pt x="14938" y="18915"/>
                        </a:cubicBezTo>
                        <a:cubicBezTo>
                          <a:pt x="14938" y="18401"/>
                          <a:pt x="15406" y="17981"/>
                          <a:pt x="15979" y="17981"/>
                        </a:cubicBezTo>
                        <a:lnTo>
                          <a:pt x="19037" y="17981"/>
                        </a:lnTo>
                        <a:cubicBezTo>
                          <a:pt x="19609" y="17981"/>
                          <a:pt x="20078" y="18401"/>
                          <a:pt x="20078" y="18915"/>
                        </a:cubicBezTo>
                        <a:cubicBezTo>
                          <a:pt x="20078" y="19428"/>
                          <a:pt x="19609" y="19849"/>
                          <a:pt x="19037" y="19849"/>
                        </a:cubicBezTo>
                        <a:close/>
                        <a:moveTo>
                          <a:pt x="19037" y="15178"/>
                        </a:moveTo>
                        <a:lnTo>
                          <a:pt x="15979" y="15178"/>
                        </a:lnTo>
                        <a:cubicBezTo>
                          <a:pt x="15406" y="15178"/>
                          <a:pt x="14938" y="14758"/>
                          <a:pt x="14938" y="14244"/>
                        </a:cubicBezTo>
                        <a:cubicBezTo>
                          <a:pt x="14938" y="13731"/>
                          <a:pt x="15406" y="13310"/>
                          <a:pt x="15979" y="13310"/>
                        </a:cubicBezTo>
                        <a:lnTo>
                          <a:pt x="19037" y="13310"/>
                        </a:lnTo>
                        <a:cubicBezTo>
                          <a:pt x="19609" y="13310"/>
                          <a:pt x="20078" y="13731"/>
                          <a:pt x="20078" y="14244"/>
                        </a:cubicBezTo>
                        <a:cubicBezTo>
                          <a:pt x="20078" y="14758"/>
                          <a:pt x="19609" y="15178"/>
                          <a:pt x="19037" y="15178"/>
                        </a:cubicBezTo>
                        <a:close/>
                        <a:moveTo>
                          <a:pt x="19037" y="10391"/>
                        </a:moveTo>
                        <a:lnTo>
                          <a:pt x="15979" y="10391"/>
                        </a:lnTo>
                        <a:cubicBezTo>
                          <a:pt x="15406" y="10391"/>
                          <a:pt x="14938" y="9971"/>
                          <a:pt x="14938" y="9457"/>
                        </a:cubicBezTo>
                        <a:cubicBezTo>
                          <a:pt x="14938" y="8944"/>
                          <a:pt x="15406" y="8523"/>
                          <a:pt x="15979" y="8523"/>
                        </a:cubicBezTo>
                        <a:lnTo>
                          <a:pt x="19037" y="8523"/>
                        </a:lnTo>
                        <a:cubicBezTo>
                          <a:pt x="19609" y="8523"/>
                          <a:pt x="20078" y="8944"/>
                          <a:pt x="20078" y="9457"/>
                        </a:cubicBezTo>
                        <a:cubicBezTo>
                          <a:pt x="20078" y="9971"/>
                          <a:pt x="19609" y="10391"/>
                          <a:pt x="19037" y="10391"/>
                        </a:cubicBezTo>
                        <a:close/>
                        <a:moveTo>
                          <a:pt x="20169" y="5838"/>
                        </a:moveTo>
                        <a:cubicBezTo>
                          <a:pt x="20169" y="6352"/>
                          <a:pt x="19700" y="6772"/>
                          <a:pt x="19128" y="6772"/>
                        </a:cubicBezTo>
                        <a:lnTo>
                          <a:pt x="2602" y="6772"/>
                        </a:lnTo>
                        <a:cubicBezTo>
                          <a:pt x="2030" y="6772"/>
                          <a:pt x="1561" y="6352"/>
                          <a:pt x="1561" y="5838"/>
                        </a:cubicBezTo>
                        <a:lnTo>
                          <a:pt x="1561" y="2218"/>
                        </a:lnTo>
                        <a:cubicBezTo>
                          <a:pt x="1561" y="1705"/>
                          <a:pt x="2030" y="1284"/>
                          <a:pt x="2602" y="1284"/>
                        </a:cubicBezTo>
                        <a:lnTo>
                          <a:pt x="19128" y="1284"/>
                        </a:lnTo>
                        <a:cubicBezTo>
                          <a:pt x="19700" y="1284"/>
                          <a:pt x="20169" y="1705"/>
                          <a:pt x="20169" y="2218"/>
                        </a:cubicBezTo>
                        <a:lnTo>
                          <a:pt x="20169" y="5838"/>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grpSp>
          </p:grpSp>
          <p:sp>
            <p:nvSpPr>
              <p:cNvPr id="102" name="Provision"/>
              <p:cNvSpPr/>
              <p:nvPr/>
            </p:nvSpPr>
            <p:spPr>
              <a:xfrm>
                <a:off x="-1" y="171045"/>
                <a:ext cx="1825643" cy="787643"/>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25400" cap="flat">
                <a:solidFill>
                  <a:srgbClr val="22BF00"/>
                </a:solidFill>
                <a:prstDash val="solid"/>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21918" tIns="121918" rIns="121918" bIns="121918" numCol="1" anchor="t">
                <a:spAutoFit/>
              </a:bodyPr>
              <a:lstStyle>
                <a:lvl1pPr algn="l" defTabSz="2438400">
                  <a:defRPr sz="2900" b="0">
                    <a:solidFill>
                      <a:srgbClr val="000000"/>
                    </a:solidFill>
                    <a:effectLst>
                      <a:outerShdw blurRad="12700" dist="12700" dir="18900000" rotWithShape="0">
                        <a:srgbClr val="000000">
                          <a:alpha val="24000"/>
                        </a:srgbClr>
                      </a:outerShdw>
                    </a:effectLst>
                  </a:defRPr>
                </a:lvl1pPr>
              </a:lstStyle>
              <a:p>
                <a:r>
                  <a:rPr sz="2000" dirty="0"/>
                  <a:t>Provision</a:t>
                </a:r>
              </a:p>
            </p:txBody>
          </p:sp>
          <p:sp>
            <p:nvSpPr>
              <p:cNvPr id="103" name="Actual"/>
              <p:cNvSpPr/>
              <p:nvPr/>
            </p:nvSpPr>
            <p:spPr>
              <a:xfrm>
                <a:off x="-1" y="1369563"/>
                <a:ext cx="1825643" cy="787643"/>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25400" cap="flat">
                <a:solidFill>
                  <a:schemeClr val="accent3"/>
                </a:solidFill>
                <a:prstDash val="solid"/>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21918" tIns="121918" rIns="121918" bIns="121918" numCol="1" anchor="t">
                <a:spAutoFit/>
              </a:bodyPr>
              <a:lstStyle>
                <a:lvl1pPr algn="l" defTabSz="2438400">
                  <a:defRPr sz="2900" b="0">
                    <a:solidFill>
                      <a:srgbClr val="000000"/>
                    </a:solidFill>
                    <a:effectLst>
                      <a:outerShdw blurRad="12700" dist="12700" dir="18900000" rotWithShape="0">
                        <a:srgbClr val="000000">
                          <a:alpha val="24000"/>
                        </a:srgbClr>
                      </a:outerShdw>
                    </a:effectLst>
                  </a:defRPr>
                </a:lvl1pPr>
              </a:lstStyle>
              <a:p>
                <a:r>
                  <a:rPr sz="2000" dirty="0"/>
                  <a:t>Actual</a:t>
                </a:r>
              </a:p>
            </p:txBody>
          </p:sp>
        </p:grpSp>
        <p:sp>
          <p:nvSpPr>
            <p:cNvPr id="99" name="TextBox 98"/>
            <p:cNvSpPr txBox="1"/>
            <p:nvPr/>
          </p:nvSpPr>
          <p:spPr>
            <a:xfrm>
              <a:off x="3036245" y="6143881"/>
              <a:ext cx="6119549"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r>
                <a:rPr lang="en-US" sz="2000" dirty="0">
                  <a:solidFill>
                    <a:schemeClr val="accent1">
                      <a:lumMod val="50000"/>
                    </a:schemeClr>
                  </a:solidFill>
                  <a:effectLst/>
                </a:rPr>
                <a:t>REPAYMENTS</a:t>
              </a:r>
            </a:p>
          </p:txBody>
        </p:sp>
      </p:grpSp>
      <p:sp>
        <p:nvSpPr>
          <p:cNvPr id="138" name="TextBox 137">
            <a:extLst>
              <a:ext uri="{FF2B5EF4-FFF2-40B4-BE49-F238E27FC236}">
                <a16:creationId xmlns:a16="http://schemas.microsoft.com/office/drawing/2014/main" id="{E58635AC-8052-D64C-8764-14462A687236}"/>
              </a:ext>
            </a:extLst>
          </p:cNvPr>
          <p:cNvSpPr txBox="1"/>
          <p:nvPr/>
        </p:nvSpPr>
        <p:spPr>
          <a:xfrm>
            <a:off x="3137827" y="5950350"/>
            <a:ext cx="1508951"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x-none" sz="2000" b="1" i="0" u="none" strike="noStrike" cap="small" spc="0" normalizeH="0" baseline="0" dirty="0">
                <a:ln>
                  <a:noFill/>
                </a:ln>
                <a:solidFill>
                  <a:srgbClr val="FF0000"/>
                </a:solidFill>
                <a:effectLst>
                  <a:outerShdw blurRad="12700" dist="12700" dir="18900000" rotWithShape="0">
                    <a:srgbClr val="000000">
                      <a:alpha val="40000"/>
                    </a:srgbClr>
                  </a:outerShdw>
                </a:effectLst>
                <a:uFillTx/>
                <a:latin typeface="Trebuchet MS"/>
                <a:ea typeface="Trebuchet MS"/>
                <a:cs typeface="Trebuchet MS"/>
                <a:sym typeface="Trebuchet MS"/>
              </a:rPr>
              <a:t>27%</a:t>
            </a:r>
          </a:p>
        </p:txBody>
      </p:sp>
      <p:sp>
        <p:nvSpPr>
          <p:cNvPr id="139" name="TextBox 138">
            <a:extLst>
              <a:ext uri="{FF2B5EF4-FFF2-40B4-BE49-F238E27FC236}">
                <a16:creationId xmlns:a16="http://schemas.microsoft.com/office/drawing/2014/main" id="{CF9C1FF4-633D-EA40-ACCF-8F5884945D8D}"/>
              </a:ext>
            </a:extLst>
          </p:cNvPr>
          <p:cNvSpPr txBox="1"/>
          <p:nvPr/>
        </p:nvSpPr>
        <p:spPr>
          <a:xfrm>
            <a:off x="3137827" y="8600595"/>
            <a:ext cx="1508951"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x-none" sz="2000" b="1" i="0" u="none" strike="noStrike" cap="small" spc="0" normalizeH="0" baseline="0" dirty="0">
                <a:ln>
                  <a:noFill/>
                </a:ln>
                <a:solidFill>
                  <a:srgbClr val="FF0000"/>
                </a:solidFill>
                <a:effectLst>
                  <a:outerShdw blurRad="12700" dist="12700" dir="18900000" rotWithShape="0">
                    <a:srgbClr val="000000">
                      <a:alpha val="40000"/>
                    </a:srgbClr>
                  </a:outerShdw>
                </a:effectLst>
                <a:uFillTx/>
                <a:latin typeface="Trebuchet MS"/>
                <a:ea typeface="Trebuchet MS"/>
                <a:cs typeface="Trebuchet MS"/>
                <a:sym typeface="Trebuchet MS"/>
              </a:rPr>
              <a:t>246%</a:t>
            </a:r>
          </a:p>
        </p:txBody>
      </p:sp>
    </p:spTree>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6" name="Text Box 3"/>
          <p:cNvSpPr txBox="1"/>
          <p:nvPr/>
        </p:nvSpPr>
        <p:spPr>
          <a:xfrm>
            <a:off x="4013937" y="837446"/>
            <a:ext cx="16356125" cy="72327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8100" tIns="38100" rIns="38100" bIns="38100" anchor="ctr">
            <a:spAutoFit/>
          </a:bodyPr>
          <a:lstStyle/>
          <a:p>
            <a:r>
              <a:rPr lang="en-GB" dirty="0"/>
              <a:t>Recurrent Expenditure — Q1 Y2021</a:t>
            </a:r>
          </a:p>
        </p:txBody>
      </p:sp>
      <p:grpSp>
        <p:nvGrpSpPr>
          <p:cNvPr id="128" name="Group 127"/>
          <p:cNvGrpSpPr/>
          <p:nvPr/>
        </p:nvGrpSpPr>
        <p:grpSpPr>
          <a:xfrm>
            <a:off x="12776724" y="2084433"/>
            <a:ext cx="8979503" cy="5126327"/>
            <a:chOff x="12776724" y="2670583"/>
            <a:chExt cx="8979503" cy="5126327"/>
          </a:xfrm>
        </p:grpSpPr>
        <p:sp>
          <p:nvSpPr>
            <p:cNvPr id="131" name="92%"/>
            <p:cNvSpPr txBox="1"/>
            <p:nvPr/>
          </p:nvSpPr>
          <p:spPr>
            <a:xfrm>
              <a:off x="16737044" y="4710647"/>
              <a:ext cx="1259315" cy="984881"/>
            </a:xfrm>
            <a:prstGeom prst="rect">
              <a:avLst/>
            </a:prstGeom>
            <a:ln w="12700">
              <a:miter lim="400000"/>
            </a:ln>
          </p:spPr>
          <p:txBody>
            <a:bodyPr wrap="none" lIns="121918" tIns="121918" rIns="121918" bIns="121918">
              <a:spAutoFit/>
            </a:bodyPr>
            <a:lstStyle/>
            <a:p>
              <a:pPr algn="l" defTabSz="2438400">
                <a:defRPr sz="4800" b="0">
                  <a:solidFill>
                    <a:srgbClr val="000000"/>
                  </a:solidFill>
                  <a:effectLst>
                    <a:outerShdw blurRad="12700" dist="12700" dir="18900000" rotWithShape="0">
                      <a:srgbClr val="000000">
                        <a:alpha val="24000"/>
                      </a:srgbClr>
                    </a:outerShdw>
                  </a:effectLst>
                </a:defRPr>
              </a:pPr>
              <a:r>
                <a:rPr lang="en-GB" dirty="0">
                  <a:solidFill>
                    <a:srgbClr val="00B050"/>
                  </a:solidFill>
                </a:rPr>
                <a:t>78%</a:t>
              </a:r>
            </a:p>
          </p:txBody>
        </p:sp>
        <p:graphicFrame>
          <p:nvGraphicFramePr>
            <p:cNvPr id="132" name="Chart 12"/>
            <p:cNvGraphicFramePr/>
            <p:nvPr>
              <p:extLst>
                <p:ext uri="{D42A27DB-BD31-4B8C-83A1-F6EECF244321}">
                  <p14:modId xmlns:p14="http://schemas.microsoft.com/office/powerpoint/2010/main" val="1715156429"/>
                </p:ext>
              </p:extLst>
            </p:nvPr>
          </p:nvGraphicFramePr>
          <p:xfrm>
            <a:off x="12776724" y="2670583"/>
            <a:ext cx="8979503" cy="5126327"/>
          </p:xfrm>
          <a:graphic>
            <a:graphicData uri="http://schemas.openxmlformats.org/drawingml/2006/chart">
              <c:chart xmlns:c="http://schemas.openxmlformats.org/drawingml/2006/chart" xmlns:r="http://schemas.openxmlformats.org/officeDocument/2006/relationships" r:id="rId2"/>
            </a:graphicData>
          </a:graphic>
        </p:graphicFrame>
      </p:grpSp>
      <p:grpSp>
        <p:nvGrpSpPr>
          <p:cNvPr id="133" name="Group"/>
          <p:cNvGrpSpPr/>
          <p:nvPr/>
        </p:nvGrpSpPr>
        <p:grpSpPr>
          <a:xfrm>
            <a:off x="12544462" y="7973091"/>
            <a:ext cx="10454330" cy="3096853"/>
            <a:chOff x="-1" y="0"/>
            <a:chExt cx="6001041" cy="2228953"/>
          </a:xfrm>
        </p:grpSpPr>
        <p:grpSp>
          <p:nvGrpSpPr>
            <p:cNvPr id="134" name="Group"/>
            <p:cNvGrpSpPr/>
            <p:nvPr/>
          </p:nvGrpSpPr>
          <p:grpSpPr>
            <a:xfrm>
              <a:off x="2088173" y="0"/>
              <a:ext cx="3912867" cy="1030435"/>
              <a:chOff x="-1" y="0"/>
              <a:chExt cx="3912866" cy="1030434"/>
            </a:xfrm>
          </p:grpSpPr>
          <p:grpSp>
            <p:nvGrpSpPr>
              <p:cNvPr id="155" name="Rectangle: Rounded Corners 29"/>
              <p:cNvGrpSpPr/>
              <p:nvPr/>
            </p:nvGrpSpPr>
            <p:grpSpPr>
              <a:xfrm>
                <a:off x="1108845" y="0"/>
                <a:ext cx="2804020" cy="1030434"/>
                <a:chOff x="0" y="0"/>
                <a:chExt cx="2804019" cy="1030433"/>
              </a:xfrm>
            </p:grpSpPr>
            <p:sp>
              <p:nvSpPr>
                <p:cNvPr id="170" name="Rounded Rectangle"/>
                <p:cNvSpPr/>
                <p:nvPr/>
              </p:nvSpPr>
              <p:spPr>
                <a:xfrm>
                  <a:off x="0" y="0"/>
                  <a:ext cx="1660144" cy="1030433"/>
                </a:xfrm>
                <a:prstGeom prst="roundRect">
                  <a:avLst>
                    <a:gd name="adj" fmla="val 17206"/>
                  </a:avLst>
                </a:prstGeom>
                <a:gradFill>
                  <a:gsLst>
                    <a:gs pos="100000">
                      <a:schemeClr val="accent6">
                        <a:tint val="50000"/>
                        <a:satMod val="300000"/>
                      </a:schemeClr>
                    </a:gs>
                    <a:gs pos="35000">
                      <a:schemeClr val="accent6">
                        <a:tint val="37000"/>
                        <a:satMod val="300000"/>
                      </a:schemeClr>
                    </a:gs>
                    <a:gs pos="100000">
                      <a:schemeClr val="accent6">
                        <a:tint val="15000"/>
                        <a:satMod val="350000"/>
                      </a:schemeClr>
                    </a:gs>
                  </a:gsLst>
                </a:gradFill>
                <a:ln/>
              </p:spPr>
              <p:style>
                <a:lnRef idx="1">
                  <a:schemeClr val="accent6"/>
                </a:lnRef>
                <a:fillRef idx="2">
                  <a:schemeClr val="accent6"/>
                </a:fillRef>
                <a:effectRef idx="1">
                  <a:schemeClr val="accent6"/>
                </a:effectRef>
                <a:fontRef idx="minor">
                  <a:schemeClr val="dk1"/>
                </a:fontRef>
              </p:style>
              <p:txBody>
                <a:bodyPr wrap="square" lIns="38100" tIns="38100" rIns="38100" bIns="38100" numCol="1" anchor="ctr">
                  <a:noAutofit/>
                </a:bodyPr>
                <a:lstStyle/>
                <a:p>
                  <a:pPr algn="l">
                    <a:spcBef>
                      <a:spcPts val="1000"/>
                    </a:spcBef>
                    <a:defRPr sz="2700">
                      <a:solidFill>
                        <a:srgbClr val="000000"/>
                      </a:solidFill>
                      <a:effectLst/>
                    </a:defRPr>
                  </a:pPr>
                  <a:endParaRPr dirty="0"/>
                </a:p>
              </p:txBody>
            </p:sp>
            <p:sp>
              <p:nvSpPr>
                <p:cNvPr id="171" name="310,055 (₦’bn)"/>
                <p:cNvSpPr/>
                <p:nvPr/>
              </p:nvSpPr>
              <p:spPr>
                <a:xfrm>
                  <a:off x="51926" y="261302"/>
                  <a:ext cx="2752093" cy="507826"/>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8" tIns="45718" rIns="45718" bIns="45718" numCol="1" anchor="ctr">
                  <a:spAutoFit/>
                </a:bodyPr>
                <a:lstStyle>
                  <a:lvl1pPr algn="l">
                    <a:spcBef>
                      <a:spcPts val="1000"/>
                    </a:spcBef>
                    <a:defRPr sz="2700">
                      <a:solidFill>
                        <a:srgbClr val="000000"/>
                      </a:solidFill>
                    </a:defRPr>
                  </a:lvl1pPr>
                </a:lstStyle>
                <a:p>
                  <a:pPr>
                    <a:defRPr>
                      <a:effectLst/>
                    </a:defRPr>
                  </a:pPr>
                  <a:r>
                    <a:rPr lang="en-US" dirty="0"/>
                    <a:t>115.147 </a:t>
                  </a:r>
                  <a:r>
                    <a:rPr dirty="0"/>
                    <a:t>(</a:t>
                  </a:r>
                  <a:r>
                    <a:rPr lang="en-GB" dirty="0"/>
                    <a:t>₦</a:t>
                  </a:r>
                  <a:r>
                    <a:rPr dirty="0"/>
                    <a:t>’</a:t>
                  </a:r>
                  <a:r>
                    <a:rPr lang="en-GB" dirty="0"/>
                    <a:t>BN</a:t>
                  </a:r>
                  <a:r>
                    <a:rPr dirty="0"/>
                    <a:t>)</a:t>
                  </a:r>
                </a:p>
              </p:txBody>
            </p:sp>
          </p:grpSp>
          <p:grpSp>
            <p:nvGrpSpPr>
              <p:cNvPr id="156" name="Group"/>
              <p:cNvGrpSpPr/>
              <p:nvPr/>
            </p:nvGrpSpPr>
            <p:grpSpPr>
              <a:xfrm>
                <a:off x="-1" y="10254"/>
                <a:ext cx="1004617" cy="1009925"/>
                <a:chOff x="0" y="0"/>
                <a:chExt cx="1004615" cy="1009924"/>
              </a:xfrm>
            </p:grpSpPr>
            <p:sp>
              <p:nvSpPr>
                <p:cNvPr id="157" name="Rectangle: Rounded Corners 28"/>
                <p:cNvSpPr/>
                <p:nvPr/>
              </p:nvSpPr>
              <p:spPr>
                <a:xfrm>
                  <a:off x="0" y="0"/>
                  <a:ext cx="1004615" cy="1009924"/>
                </a:xfrm>
                <a:prstGeom prst="roundRect">
                  <a:avLst>
                    <a:gd name="adj" fmla="val 6667"/>
                  </a:avLst>
                </a:prstGeom>
                <a:solidFill>
                  <a:srgbClr val="00B050"/>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defTabSz="914400">
                    <a:defRPr sz="1800" b="0" cap="none">
                      <a:solidFill>
                        <a:srgbClr val="FFFFFF"/>
                      </a:solidFill>
                      <a:effectLst/>
                      <a:latin typeface="Calibri"/>
                      <a:ea typeface="Calibri"/>
                      <a:cs typeface="Calibri"/>
                      <a:sym typeface="Calibri"/>
                    </a:defRPr>
                  </a:pPr>
                  <a:endParaRPr dirty="0"/>
                </a:p>
              </p:txBody>
            </p:sp>
            <p:sp>
              <p:nvSpPr>
                <p:cNvPr id="158" name="Freeform: Shape 78"/>
                <p:cNvSpPr/>
                <p:nvPr/>
              </p:nvSpPr>
              <p:spPr>
                <a:xfrm>
                  <a:off x="166672" y="544685"/>
                  <a:ext cx="178122" cy="156842"/>
                </a:xfrm>
                <a:custGeom>
                  <a:avLst/>
                  <a:gdLst/>
                  <a:ahLst/>
                  <a:cxnLst>
                    <a:cxn ang="0">
                      <a:pos x="wd2" y="hd2"/>
                    </a:cxn>
                    <a:cxn ang="5400000">
                      <a:pos x="wd2" y="hd2"/>
                    </a:cxn>
                    <a:cxn ang="10800000">
                      <a:pos x="wd2" y="hd2"/>
                    </a:cxn>
                    <a:cxn ang="16200000">
                      <a:pos x="wd2" y="hd2"/>
                    </a:cxn>
                  </a:cxnLst>
                  <a:rect l="0" t="0" r="r" b="b"/>
                  <a:pathLst>
                    <a:path w="21600" h="21600" extrusionOk="0">
                      <a:moveTo>
                        <a:pt x="19421" y="0"/>
                      </a:moveTo>
                      <a:lnTo>
                        <a:pt x="0" y="0"/>
                      </a:lnTo>
                      <a:cubicBezTo>
                        <a:pt x="956" y="7858"/>
                        <a:pt x="3651" y="15283"/>
                        <a:pt x="7856" y="21600"/>
                      </a:cubicBezTo>
                      <a:lnTo>
                        <a:pt x="21600" y="5992"/>
                      </a:lnTo>
                      <a:cubicBezTo>
                        <a:pt x="20644" y="4125"/>
                        <a:pt x="19899" y="2106"/>
                        <a:pt x="19421"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59" name="Freeform: Shape 79"/>
                <p:cNvSpPr/>
                <p:nvPr/>
              </p:nvSpPr>
              <p:spPr>
                <a:xfrm>
                  <a:off x="297661" y="654393"/>
                  <a:ext cx="157631" cy="178281"/>
                </a:xfrm>
                <a:custGeom>
                  <a:avLst/>
                  <a:gdLst/>
                  <a:ahLst/>
                  <a:cxnLst>
                    <a:cxn ang="0">
                      <a:pos x="wd2" y="hd2"/>
                    </a:cxn>
                    <a:cxn ang="5400000">
                      <a:pos x="wd2" y="hd2"/>
                    </a:cxn>
                    <a:cxn ang="10800000">
                      <a:pos x="wd2" y="hd2"/>
                    </a:cxn>
                    <a:cxn ang="16200000">
                      <a:pos x="wd2" y="hd2"/>
                    </a:cxn>
                  </a:cxnLst>
                  <a:rect l="0" t="0" r="r" b="b"/>
                  <a:pathLst>
                    <a:path w="21600" h="21600" extrusionOk="0">
                      <a:moveTo>
                        <a:pt x="15509" y="0"/>
                      </a:moveTo>
                      <a:lnTo>
                        <a:pt x="0" y="13732"/>
                      </a:lnTo>
                      <a:cubicBezTo>
                        <a:pt x="6307" y="17952"/>
                        <a:pt x="13738" y="20664"/>
                        <a:pt x="21600" y="21600"/>
                      </a:cubicBezTo>
                      <a:lnTo>
                        <a:pt x="21600" y="2196"/>
                      </a:lnTo>
                      <a:cubicBezTo>
                        <a:pt x="19462" y="1700"/>
                        <a:pt x="17431" y="974"/>
                        <a:pt x="15509"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60" name="Freeform: Shape 80"/>
                <p:cNvSpPr/>
                <p:nvPr/>
              </p:nvSpPr>
              <p:spPr>
                <a:xfrm>
                  <a:off x="548133" y="164956"/>
                  <a:ext cx="286887" cy="287044"/>
                </a:xfrm>
                <a:custGeom>
                  <a:avLst/>
                  <a:gdLst/>
                  <a:ahLst/>
                  <a:cxnLst>
                    <a:cxn ang="0">
                      <a:pos x="wd2" y="hd2"/>
                    </a:cxn>
                    <a:cxn ang="5400000">
                      <a:pos x="wd2" y="hd2"/>
                    </a:cxn>
                    <a:cxn ang="10800000">
                      <a:pos x="wd2" y="hd2"/>
                    </a:cxn>
                    <a:cxn ang="16200000">
                      <a:pos x="wd2" y="hd2"/>
                    </a:cxn>
                  </a:cxnLst>
                  <a:rect l="0" t="0" r="r" b="b"/>
                  <a:pathLst>
                    <a:path w="21600" h="21600" extrusionOk="0">
                      <a:moveTo>
                        <a:pt x="83" y="0"/>
                      </a:moveTo>
                      <a:cubicBezTo>
                        <a:pt x="47" y="4413"/>
                        <a:pt x="12" y="10094"/>
                        <a:pt x="0" y="12075"/>
                      </a:cubicBezTo>
                      <a:cubicBezTo>
                        <a:pt x="4640" y="13332"/>
                        <a:pt x="8260" y="16962"/>
                        <a:pt x="9506" y="21600"/>
                      </a:cubicBezTo>
                      <a:lnTo>
                        <a:pt x="21600" y="21576"/>
                      </a:lnTo>
                      <a:cubicBezTo>
                        <a:pt x="20010" y="10415"/>
                        <a:pt x="11251" y="1625"/>
                        <a:pt x="83"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61" name="Freeform: Shape 81"/>
                <p:cNvSpPr/>
                <p:nvPr/>
              </p:nvSpPr>
              <p:spPr>
                <a:xfrm>
                  <a:off x="350152" y="180718"/>
                  <a:ext cx="104036" cy="119800"/>
                </a:xfrm>
                <a:custGeom>
                  <a:avLst/>
                  <a:gdLst/>
                  <a:ahLst/>
                  <a:cxnLst>
                    <a:cxn ang="0">
                      <a:pos x="wd2" y="hd2"/>
                    </a:cxn>
                    <a:cxn ang="5400000">
                      <a:pos x="wd2" y="hd2"/>
                    </a:cxn>
                    <a:cxn ang="10800000">
                      <a:pos x="wd2" y="hd2"/>
                    </a:cxn>
                    <a:cxn ang="16200000">
                      <a:pos x="wd2" y="hd2"/>
                    </a:cxn>
                  </a:cxnLst>
                  <a:rect l="0" t="0" r="r" b="b"/>
                  <a:pathLst>
                    <a:path w="21600" h="21600" extrusionOk="0">
                      <a:moveTo>
                        <a:pt x="7789" y="0"/>
                      </a:moveTo>
                      <a:cubicBezTo>
                        <a:pt x="5138" y="824"/>
                        <a:pt x="2520" y="1791"/>
                        <a:pt x="0" y="2899"/>
                      </a:cubicBezTo>
                      <a:lnTo>
                        <a:pt x="21535" y="21600"/>
                      </a:lnTo>
                      <a:lnTo>
                        <a:pt x="21600" y="11994"/>
                      </a:lnTo>
                      <a:lnTo>
                        <a:pt x="7789"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62" name="Freeform: Shape 82"/>
                <p:cNvSpPr/>
                <p:nvPr/>
              </p:nvSpPr>
              <p:spPr>
                <a:xfrm>
                  <a:off x="295297" y="209408"/>
                  <a:ext cx="149749" cy="134774"/>
                </a:xfrm>
                <a:custGeom>
                  <a:avLst/>
                  <a:gdLst/>
                  <a:ahLst/>
                  <a:cxnLst>
                    <a:cxn ang="0">
                      <a:pos x="wd2" y="hd2"/>
                    </a:cxn>
                    <a:cxn ang="5400000">
                      <a:pos x="wd2" y="hd2"/>
                    </a:cxn>
                    <a:cxn ang="10800000">
                      <a:pos x="wd2" y="hd2"/>
                    </a:cxn>
                    <a:cxn ang="16200000">
                      <a:pos x="wd2" y="hd2"/>
                    </a:cxn>
                  </a:cxnLst>
                  <a:rect l="0" t="0" r="r" b="b"/>
                  <a:pathLst>
                    <a:path w="21600" h="21600" extrusionOk="0">
                      <a:moveTo>
                        <a:pt x="4593" y="0"/>
                      </a:moveTo>
                      <a:cubicBezTo>
                        <a:pt x="3001" y="1061"/>
                        <a:pt x="1478" y="2223"/>
                        <a:pt x="0" y="3486"/>
                      </a:cubicBezTo>
                      <a:lnTo>
                        <a:pt x="16302" y="21600"/>
                      </a:lnTo>
                      <a:cubicBezTo>
                        <a:pt x="17985" y="20488"/>
                        <a:pt x="19758" y="19579"/>
                        <a:pt x="21600" y="18897"/>
                      </a:cubicBezTo>
                      <a:lnTo>
                        <a:pt x="4593"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63" name="Freeform: Shape 83"/>
                <p:cNvSpPr/>
                <p:nvPr/>
              </p:nvSpPr>
              <p:spPr>
                <a:xfrm>
                  <a:off x="414937" y="164482"/>
                  <a:ext cx="39567" cy="47291"/>
                </a:xfrm>
                <a:custGeom>
                  <a:avLst/>
                  <a:gdLst/>
                  <a:ahLst/>
                  <a:cxnLst>
                    <a:cxn ang="0">
                      <a:pos x="wd2" y="hd2"/>
                    </a:cxn>
                    <a:cxn ang="5400000">
                      <a:pos x="wd2" y="hd2"/>
                    </a:cxn>
                    <a:cxn ang="10800000">
                      <a:pos x="wd2" y="hd2"/>
                    </a:cxn>
                    <a:cxn ang="16200000">
                      <a:pos x="wd2" y="hd2"/>
                    </a:cxn>
                  </a:cxnLst>
                  <a:rect l="0" t="0" r="r" b="b"/>
                  <a:pathLst>
                    <a:path w="21600" h="21600" extrusionOk="0">
                      <a:moveTo>
                        <a:pt x="0" y="3600"/>
                      </a:moveTo>
                      <a:lnTo>
                        <a:pt x="21514" y="21600"/>
                      </a:lnTo>
                      <a:lnTo>
                        <a:pt x="21600" y="0"/>
                      </a:lnTo>
                      <a:cubicBezTo>
                        <a:pt x="14285" y="864"/>
                        <a:pt x="7143" y="2016"/>
                        <a:pt x="0" y="360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64" name="Freeform: Shape 84"/>
                <p:cNvSpPr/>
                <p:nvPr/>
              </p:nvSpPr>
              <p:spPr>
                <a:xfrm>
                  <a:off x="249270" y="247396"/>
                  <a:ext cx="138400" cy="138401"/>
                </a:xfrm>
                <a:custGeom>
                  <a:avLst/>
                  <a:gdLst/>
                  <a:ahLst/>
                  <a:cxnLst>
                    <a:cxn ang="0">
                      <a:pos x="wd2" y="hd2"/>
                    </a:cxn>
                    <a:cxn ang="5400000">
                      <a:pos x="wd2" y="hd2"/>
                    </a:cxn>
                    <a:cxn ang="10800000">
                      <a:pos x="wd2" y="hd2"/>
                    </a:cxn>
                    <a:cxn ang="16200000">
                      <a:pos x="wd2" y="hd2"/>
                    </a:cxn>
                  </a:cxnLst>
                  <a:rect l="0" t="0" r="r" b="b"/>
                  <a:pathLst>
                    <a:path w="21600" h="21600" extrusionOk="0">
                      <a:moveTo>
                        <a:pt x="4182" y="0"/>
                      </a:moveTo>
                      <a:cubicBezTo>
                        <a:pt x="3469" y="640"/>
                        <a:pt x="2755" y="1304"/>
                        <a:pt x="2067" y="1993"/>
                      </a:cubicBezTo>
                      <a:cubicBezTo>
                        <a:pt x="1353" y="2706"/>
                        <a:pt x="664" y="3444"/>
                        <a:pt x="0" y="4182"/>
                      </a:cubicBezTo>
                      <a:lnTo>
                        <a:pt x="17418" y="21600"/>
                      </a:lnTo>
                      <a:cubicBezTo>
                        <a:pt x="18672" y="20075"/>
                        <a:pt x="20050" y="18672"/>
                        <a:pt x="21600" y="17418"/>
                      </a:cubicBezTo>
                      <a:lnTo>
                        <a:pt x="4182"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65" name="Freeform: Shape 85"/>
                <p:cNvSpPr/>
                <p:nvPr/>
              </p:nvSpPr>
              <p:spPr>
                <a:xfrm>
                  <a:off x="166830" y="413063"/>
                  <a:ext cx="44611" cy="37045"/>
                </a:xfrm>
                <a:custGeom>
                  <a:avLst/>
                  <a:gdLst/>
                  <a:ahLst/>
                  <a:cxnLst>
                    <a:cxn ang="0">
                      <a:pos x="wd2" y="hd2"/>
                    </a:cxn>
                    <a:cxn ang="5400000">
                      <a:pos x="wd2" y="hd2"/>
                    </a:cxn>
                    <a:cxn ang="10800000">
                      <a:pos x="wd2" y="hd2"/>
                    </a:cxn>
                    <a:cxn ang="16200000">
                      <a:pos x="wd2" y="hd2"/>
                    </a:cxn>
                  </a:cxnLst>
                  <a:rect l="0" t="0" r="r" b="b"/>
                  <a:pathLst>
                    <a:path w="21600" h="21600" extrusionOk="0">
                      <a:moveTo>
                        <a:pt x="3664" y="0"/>
                      </a:moveTo>
                      <a:cubicBezTo>
                        <a:pt x="2137" y="7077"/>
                        <a:pt x="916" y="14339"/>
                        <a:pt x="0" y="21600"/>
                      </a:cubicBezTo>
                      <a:lnTo>
                        <a:pt x="21600" y="21600"/>
                      </a:lnTo>
                      <a:lnTo>
                        <a:pt x="3664"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66" name="Freeform: Shape 86"/>
                <p:cNvSpPr/>
                <p:nvPr/>
              </p:nvSpPr>
              <p:spPr>
                <a:xfrm>
                  <a:off x="182908" y="348436"/>
                  <a:ext cx="117751" cy="101673"/>
                </a:xfrm>
                <a:custGeom>
                  <a:avLst/>
                  <a:gdLst/>
                  <a:ahLst/>
                  <a:cxnLst>
                    <a:cxn ang="0">
                      <a:pos x="wd2" y="hd2"/>
                    </a:cxn>
                    <a:cxn ang="5400000">
                      <a:pos x="wd2" y="hd2"/>
                    </a:cxn>
                    <a:cxn ang="10800000">
                      <a:pos x="wd2" y="hd2"/>
                    </a:cxn>
                    <a:cxn ang="16200000">
                      <a:pos x="wd2" y="hd2"/>
                    </a:cxn>
                  </a:cxnLst>
                  <a:rect l="0" t="0" r="r" b="b"/>
                  <a:pathLst>
                    <a:path w="21600" h="21600" extrusionOk="0">
                      <a:moveTo>
                        <a:pt x="2920" y="0"/>
                      </a:moveTo>
                      <a:cubicBezTo>
                        <a:pt x="1793" y="2579"/>
                        <a:pt x="839" y="5224"/>
                        <a:pt x="0" y="7937"/>
                      </a:cubicBezTo>
                      <a:lnTo>
                        <a:pt x="11798" y="21600"/>
                      </a:lnTo>
                      <a:lnTo>
                        <a:pt x="21600" y="21600"/>
                      </a:lnTo>
                      <a:lnTo>
                        <a:pt x="2920"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67" name="Freeform: Shape 87"/>
                <p:cNvSpPr/>
                <p:nvPr/>
              </p:nvSpPr>
              <p:spPr>
                <a:xfrm>
                  <a:off x="211596" y="293739"/>
                  <a:ext cx="134617" cy="149750"/>
                </a:xfrm>
                <a:custGeom>
                  <a:avLst/>
                  <a:gdLst/>
                  <a:ahLst/>
                  <a:cxnLst>
                    <a:cxn ang="0">
                      <a:pos x="wd2" y="hd2"/>
                    </a:cxn>
                    <a:cxn ang="5400000">
                      <a:pos x="wd2" y="hd2"/>
                    </a:cxn>
                    <a:cxn ang="10800000">
                      <a:pos x="wd2" y="hd2"/>
                    </a:cxn>
                    <a:cxn ang="16200000">
                      <a:pos x="wd2" y="hd2"/>
                    </a:cxn>
                  </a:cxnLst>
                  <a:rect l="0" t="0" r="r" b="b"/>
                  <a:pathLst>
                    <a:path w="21600" h="21600" extrusionOk="0">
                      <a:moveTo>
                        <a:pt x="3465" y="0"/>
                      </a:moveTo>
                      <a:cubicBezTo>
                        <a:pt x="2200" y="1478"/>
                        <a:pt x="1062" y="3001"/>
                        <a:pt x="0" y="4593"/>
                      </a:cubicBezTo>
                      <a:lnTo>
                        <a:pt x="18919" y="21600"/>
                      </a:lnTo>
                      <a:cubicBezTo>
                        <a:pt x="19577" y="19736"/>
                        <a:pt x="20487" y="17962"/>
                        <a:pt x="21600" y="16302"/>
                      </a:cubicBezTo>
                      <a:lnTo>
                        <a:pt x="3465"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68" name="Freeform: Shape 88"/>
                <p:cNvSpPr/>
                <p:nvPr/>
              </p:nvSpPr>
              <p:spPr>
                <a:xfrm>
                  <a:off x="622376" y="591869"/>
                  <a:ext cx="174969" cy="33313"/>
                </a:xfrm>
                <a:prstGeom prst="rect">
                  <a:avLst/>
                </a:pr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69" name="Freeform: Shape 89"/>
                <p:cNvSpPr/>
                <p:nvPr/>
              </p:nvSpPr>
              <p:spPr>
                <a:xfrm>
                  <a:off x="578240" y="554141"/>
                  <a:ext cx="261666" cy="291615"/>
                </a:xfrm>
                <a:custGeom>
                  <a:avLst/>
                  <a:gdLst/>
                  <a:ahLst/>
                  <a:cxnLst>
                    <a:cxn ang="0">
                      <a:pos x="wd2" y="hd2"/>
                    </a:cxn>
                    <a:cxn ang="5400000">
                      <a:pos x="wd2" y="hd2"/>
                    </a:cxn>
                    <a:cxn ang="10800000">
                      <a:pos x="wd2" y="hd2"/>
                    </a:cxn>
                    <a:cxn ang="16200000">
                      <a:pos x="wd2" y="hd2"/>
                    </a:cxn>
                  </a:cxnLst>
                  <a:rect l="0" t="0" r="r" b="b"/>
                  <a:pathLst>
                    <a:path w="21600" h="21600" extrusionOk="0">
                      <a:moveTo>
                        <a:pt x="18737" y="0"/>
                      </a:moveTo>
                      <a:lnTo>
                        <a:pt x="2863" y="0"/>
                      </a:lnTo>
                      <a:cubicBezTo>
                        <a:pt x="1275" y="0"/>
                        <a:pt x="0" y="1144"/>
                        <a:pt x="0" y="2569"/>
                      </a:cubicBezTo>
                      <a:lnTo>
                        <a:pt x="0" y="19031"/>
                      </a:lnTo>
                      <a:cubicBezTo>
                        <a:pt x="0" y="20456"/>
                        <a:pt x="1275" y="21600"/>
                        <a:pt x="2863" y="21600"/>
                      </a:cubicBezTo>
                      <a:lnTo>
                        <a:pt x="18737" y="21600"/>
                      </a:lnTo>
                      <a:cubicBezTo>
                        <a:pt x="20325" y="21600"/>
                        <a:pt x="21600" y="20456"/>
                        <a:pt x="21600" y="19031"/>
                      </a:cubicBezTo>
                      <a:lnTo>
                        <a:pt x="21600" y="2569"/>
                      </a:lnTo>
                      <a:cubicBezTo>
                        <a:pt x="21600" y="1144"/>
                        <a:pt x="20325" y="0"/>
                        <a:pt x="18737" y="0"/>
                      </a:cubicBezTo>
                      <a:close/>
                      <a:moveTo>
                        <a:pt x="5595" y="19849"/>
                      </a:moveTo>
                      <a:lnTo>
                        <a:pt x="2537" y="19849"/>
                      </a:lnTo>
                      <a:cubicBezTo>
                        <a:pt x="1965" y="19849"/>
                        <a:pt x="1496" y="19428"/>
                        <a:pt x="1496" y="18915"/>
                      </a:cubicBezTo>
                      <a:cubicBezTo>
                        <a:pt x="1496" y="18401"/>
                        <a:pt x="1965" y="17981"/>
                        <a:pt x="2537" y="17981"/>
                      </a:cubicBezTo>
                      <a:lnTo>
                        <a:pt x="5595" y="17981"/>
                      </a:lnTo>
                      <a:cubicBezTo>
                        <a:pt x="6168" y="17981"/>
                        <a:pt x="6636" y="18401"/>
                        <a:pt x="6636" y="18915"/>
                      </a:cubicBezTo>
                      <a:cubicBezTo>
                        <a:pt x="6636" y="19428"/>
                        <a:pt x="6181" y="19849"/>
                        <a:pt x="5595" y="19849"/>
                      </a:cubicBezTo>
                      <a:close/>
                      <a:moveTo>
                        <a:pt x="5595" y="15178"/>
                      </a:moveTo>
                      <a:lnTo>
                        <a:pt x="2537" y="15178"/>
                      </a:lnTo>
                      <a:cubicBezTo>
                        <a:pt x="1965" y="15178"/>
                        <a:pt x="1496" y="14758"/>
                        <a:pt x="1496" y="14244"/>
                      </a:cubicBezTo>
                      <a:cubicBezTo>
                        <a:pt x="1496" y="13731"/>
                        <a:pt x="1965" y="13310"/>
                        <a:pt x="2537" y="13310"/>
                      </a:cubicBezTo>
                      <a:lnTo>
                        <a:pt x="5595" y="13310"/>
                      </a:lnTo>
                      <a:cubicBezTo>
                        <a:pt x="6168" y="13310"/>
                        <a:pt x="6636" y="13731"/>
                        <a:pt x="6636" y="14244"/>
                      </a:cubicBezTo>
                      <a:cubicBezTo>
                        <a:pt x="6636" y="14758"/>
                        <a:pt x="6181" y="15178"/>
                        <a:pt x="5595" y="15178"/>
                      </a:cubicBezTo>
                      <a:close/>
                      <a:moveTo>
                        <a:pt x="5595" y="10391"/>
                      </a:moveTo>
                      <a:lnTo>
                        <a:pt x="2537" y="10391"/>
                      </a:lnTo>
                      <a:cubicBezTo>
                        <a:pt x="1965" y="10391"/>
                        <a:pt x="1496" y="9971"/>
                        <a:pt x="1496" y="9457"/>
                      </a:cubicBezTo>
                      <a:cubicBezTo>
                        <a:pt x="1496" y="8944"/>
                        <a:pt x="1965" y="8523"/>
                        <a:pt x="2537" y="8523"/>
                      </a:cubicBezTo>
                      <a:lnTo>
                        <a:pt x="5595" y="8523"/>
                      </a:lnTo>
                      <a:cubicBezTo>
                        <a:pt x="6168" y="8523"/>
                        <a:pt x="6636" y="8944"/>
                        <a:pt x="6636" y="9457"/>
                      </a:cubicBezTo>
                      <a:cubicBezTo>
                        <a:pt x="6636" y="9971"/>
                        <a:pt x="6181" y="10391"/>
                        <a:pt x="5595" y="10391"/>
                      </a:cubicBezTo>
                      <a:close/>
                      <a:moveTo>
                        <a:pt x="12309" y="19849"/>
                      </a:moveTo>
                      <a:lnTo>
                        <a:pt x="9252" y="19849"/>
                      </a:lnTo>
                      <a:cubicBezTo>
                        <a:pt x="8679" y="19849"/>
                        <a:pt x="8211" y="19428"/>
                        <a:pt x="8211" y="18915"/>
                      </a:cubicBezTo>
                      <a:cubicBezTo>
                        <a:pt x="8211" y="18401"/>
                        <a:pt x="8679" y="17981"/>
                        <a:pt x="9252" y="17981"/>
                      </a:cubicBezTo>
                      <a:lnTo>
                        <a:pt x="12309" y="17981"/>
                      </a:lnTo>
                      <a:cubicBezTo>
                        <a:pt x="12882" y="17981"/>
                        <a:pt x="13350" y="18401"/>
                        <a:pt x="13350" y="18915"/>
                      </a:cubicBezTo>
                      <a:cubicBezTo>
                        <a:pt x="13350" y="19428"/>
                        <a:pt x="12882" y="19849"/>
                        <a:pt x="12309" y="19849"/>
                      </a:cubicBezTo>
                      <a:close/>
                      <a:moveTo>
                        <a:pt x="12309" y="15178"/>
                      </a:moveTo>
                      <a:lnTo>
                        <a:pt x="9252" y="15178"/>
                      </a:lnTo>
                      <a:cubicBezTo>
                        <a:pt x="8679" y="15178"/>
                        <a:pt x="8211" y="14758"/>
                        <a:pt x="8211" y="14244"/>
                      </a:cubicBezTo>
                      <a:cubicBezTo>
                        <a:pt x="8211" y="13731"/>
                        <a:pt x="8679" y="13310"/>
                        <a:pt x="9252" y="13310"/>
                      </a:cubicBezTo>
                      <a:lnTo>
                        <a:pt x="12309" y="13310"/>
                      </a:lnTo>
                      <a:cubicBezTo>
                        <a:pt x="12882" y="13310"/>
                        <a:pt x="13350" y="13731"/>
                        <a:pt x="13350" y="14244"/>
                      </a:cubicBezTo>
                      <a:cubicBezTo>
                        <a:pt x="13350" y="14758"/>
                        <a:pt x="12882" y="15178"/>
                        <a:pt x="12309" y="15178"/>
                      </a:cubicBezTo>
                      <a:close/>
                      <a:moveTo>
                        <a:pt x="12309" y="10391"/>
                      </a:moveTo>
                      <a:lnTo>
                        <a:pt x="9252" y="10391"/>
                      </a:lnTo>
                      <a:cubicBezTo>
                        <a:pt x="8679" y="10391"/>
                        <a:pt x="8211" y="9971"/>
                        <a:pt x="8211" y="9457"/>
                      </a:cubicBezTo>
                      <a:cubicBezTo>
                        <a:pt x="8211" y="8944"/>
                        <a:pt x="8679" y="8523"/>
                        <a:pt x="9252" y="8523"/>
                      </a:cubicBezTo>
                      <a:lnTo>
                        <a:pt x="12309" y="8523"/>
                      </a:lnTo>
                      <a:cubicBezTo>
                        <a:pt x="12882" y="8523"/>
                        <a:pt x="13350" y="8944"/>
                        <a:pt x="13350" y="9457"/>
                      </a:cubicBezTo>
                      <a:cubicBezTo>
                        <a:pt x="13350" y="9971"/>
                        <a:pt x="12882" y="10391"/>
                        <a:pt x="12309" y="10391"/>
                      </a:cubicBezTo>
                      <a:close/>
                      <a:moveTo>
                        <a:pt x="19037" y="19849"/>
                      </a:moveTo>
                      <a:lnTo>
                        <a:pt x="15979" y="19849"/>
                      </a:lnTo>
                      <a:cubicBezTo>
                        <a:pt x="15406" y="19849"/>
                        <a:pt x="14938" y="19428"/>
                        <a:pt x="14938" y="18915"/>
                      </a:cubicBezTo>
                      <a:cubicBezTo>
                        <a:pt x="14938" y="18401"/>
                        <a:pt x="15406" y="17981"/>
                        <a:pt x="15979" y="17981"/>
                      </a:cubicBezTo>
                      <a:lnTo>
                        <a:pt x="19037" y="17981"/>
                      </a:lnTo>
                      <a:cubicBezTo>
                        <a:pt x="19609" y="17981"/>
                        <a:pt x="20078" y="18401"/>
                        <a:pt x="20078" y="18915"/>
                      </a:cubicBezTo>
                      <a:cubicBezTo>
                        <a:pt x="20078" y="19428"/>
                        <a:pt x="19609" y="19849"/>
                        <a:pt x="19037" y="19849"/>
                      </a:cubicBezTo>
                      <a:close/>
                      <a:moveTo>
                        <a:pt x="19037" y="15178"/>
                      </a:moveTo>
                      <a:lnTo>
                        <a:pt x="15979" y="15178"/>
                      </a:lnTo>
                      <a:cubicBezTo>
                        <a:pt x="15406" y="15178"/>
                        <a:pt x="14938" y="14758"/>
                        <a:pt x="14938" y="14244"/>
                      </a:cubicBezTo>
                      <a:cubicBezTo>
                        <a:pt x="14938" y="13731"/>
                        <a:pt x="15406" y="13310"/>
                        <a:pt x="15979" y="13310"/>
                      </a:cubicBezTo>
                      <a:lnTo>
                        <a:pt x="19037" y="13310"/>
                      </a:lnTo>
                      <a:cubicBezTo>
                        <a:pt x="19609" y="13310"/>
                        <a:pt x="20078" y="13731"/>
                        <a:pt x="20078" y="14244"/>
                      </a:cubicBezTo>
                      <a:cubicBezTo>
                        <a:pt x="20078" y="14758"/>
                        <a:pt x="19609" y="15178"/>
                        <a:pt x="19037" y="15178"/>
                      </a:cubicBezTo>
                      <a:close/>
                      <a:moveTo>
                        <a:pt x="19037" y="10391"/>
                      </a:moveTo>
                      <a:lnTo>
                        <a:pt x="15979" y="10391"/>
                      </a:lnTo>
                      <a:cubicBezTo>
                        <a:pt x="15406" y="10391"/>
                        <a:pt x="14938" y="9971"/>
                        <a:pt x="14938" y="9457"/>
                      </a:cubicBezTo>
                      <a:cubicBezTo>
                        <a:pt x="14938" y="8944"/>
                        <a:pt x="15406" y="8523"/>
                        <a:pt x="15979" y="8523"/>
                      </a:cubicBezTo>
                      <a:lnTo>
                        <a:pt x="19037" y="8523"/>
                      </a:lnTo>
                      <a:cubicBezTo>
                        <a:pt x="19609" y="8523"/>
                        <a:pt x="20078" y="8944"/>
                        <a:pt x="20078" y="9457"/>
                      </a:cubicBezTo>
                      <a:cubicBezTo>
                        <a:pt x="20078" y="9971"/>
                        <a:pt x="19609" y="10391"/>
                        <a:pt x="19037" y="10391"/>
                      </a:cubicBezTo>
                      <a:close/>
                      <a:moveTo>
                        <a:pt x="20169" y="5838"/>
                      </a:moveTo>
                      <a:cubicBezTo>
                        <a:pt x="20169" y="6352"/>
                        <a:pt x="19700" y="6772"/>
                        <a:pt x="19128" y="6772"/>
                      </a:cubicBezTo>
                      <a:lnTo>
                        <a:pt x="2602" y="6772"/>
                      </a:lnTo>
                      <a:cubicBezTo>
                        <a:pt x="2030" y="6772"/>
                        <a:pt x="1561" y="6352"/>
                        <a:pt x="1561" y="5838"/>
                      </a:cubicBezTo>
                      <a:lnTo>
                        <a:pt x="1561" y="2218"/>
                      </a:lnTo>
                      <a:cubicBezTo>
                        <a:pt x="1561" y="1705"/>
                        <a:pt x="2030" y="1284"/>
                        <a:pt x="2602" y="1284"/>
                      </a:cubicBezTo>
                      <a:lnTo>
                        <a:pt x="19128" y="1284"/>
                      </a:lnTo>
                      <a:cubicBezTo>
                        <a:pt x="19700" y="1284"/>
                        <a:pt x="20169" y="1705"/>
                        <a:pt x="20169" y="2218"/>
                      </a:cubicBezTo>
                      <a:lnTo>
                        <a:pt x="20169" y="5838"/>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grpSp>
        </p:grpSp>
        <p:grpSp>
          <p:nvGrpSpPr>
            <p:cNvPr id="135" name="Group"/>
            <p:cNvGrpSpPr/>
            <p:nvPr/>
          </p:nvGrpSpPr>
          <p:grpSpPr>
            <a:xfrm>
              <a:off x="2088173" y="1198518"/>
              <a:ext cx="3694192" cy="1030435"/>
              <a:chOff x="-1" y="0"/>
              <a:chExt cx="3694191" cy="1030434"/>
            </a:xfrm>
          </p:grpSpPr>
          <p:grpSp>
            <p:nvGrpSpPr>
              <p:cNvPr id="138" name="Rectangle: Rounded Corners 29"/>
              <p:cNvGrpSpPr/>
              <p:nvPr/>
            </p:nvGrpSpPr>
            <p:grpSpPr>
              <a:xfrm>
                <a:off x="1108844" y="0"/>
                <a:ext cx="2585346" cy="1030434"/>
                <a:chOff x="-1" y="0"/>
                <a:chExt cx="2585345" cy="1030433"/>
              </a:xfrm>
            </p:grpSpPr>
            <p:sp>
              <p:nvSpPr>
                <p:cNvPr id="153" name="Rounded Rectangle"/>
                <p:cNvSpPr/>
                <p:nvPr/>
              </p:nvSpPr>
              <p:spPr>
                <a:xfrm>
                  <a:off x="-1" y="0"/>
                  <a:ext cx="1660145" cy="1030433"/>
                </a:xfrm>
                <a:prstGeom prst="roundRect">
                  <a:avLst>
                    <a:gd name="adj" fmla="val 17206"/>
                  </a:avLst>
                </a:prstGeom>
                <a:solidFill>
                  <a:srgbClr val="FFC000"/>
                </a:solidFill>
                <a:ln/>
              </p:spPr>
              <p:style>
                <a:lnRef idx="1">
                  <a:schemeClr val="accent6"/>
                </a:lnRef>
                <a:fillRef idx="2">
                  <a:schemeClr val="accent6"/>
                </a:fillRef>
                <a:effectRef idx="1">
                  <a:schemeClr val="accent6"/>
                </a:effectRef>
                <a:fontRef idx="minor">
                  <a:schemeClr val="dk1"/>
                </a:fontRef>
              </p:style>
              <p:txBody>
                <a:bodyPr wrap="square" lIns="38100" tIns="38100" rIns="38100" bIns="38100" numCol="1" anchor="ctr">
                  <a:noAutofit/>
                </a:bodyPr>
                <a:lstStyle/>
                <a:p>
                  <a:pPr algn="l">
                    <a:spcBef>
                      <a:spcPts val="1000"/>
                    </a:spcBef>
                    <a:defRPr sz="2700">
                      <a:solidFill>
                        <a:srgbClr val="000000"/>
                      </a:solidFill>
                      <a:effectLst/>
                    </a:defRPr>
                  </a:pPr>
                  <a:r>
                    <a:rPr lang="en-GB" dirty="0">
                      <a:solidFill>
                        <a:srgbClr val="000000"/>
                      </a:solidFill>
                    </a:rPr>
                    <a:t>89.979</a:t>
                  </a:r>
                  <a:r>
                    <a:rPr lang="en-GB" dirty="0"/>
                    <a:t> (₦’BN)</a:t>
                  </a:r>
                  <a:endParaRPr dirty="0"/>
                </a:p>
              </p:txBody>
            </p:sp>
            <p:sp>
              <p:nvSpPr>
                <p:cNvPr id="154" name="Text"/>
                <p:cNvSpPr/>
                <p:nvPr/>
              </p:nvSpPr>
              <p:spPr>
                <a:xfrm>
                  <a:off x="51927" y="515215"/>
                  <a:ext cx="2533417" cy="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45718" tIns="45718" rIns="45718" bIns="45718" numCol="1" anchor="ctr">
                  <a:spAutoFit/>
                </a:bodyPr>
                <a:lstStyle/>
                <a:p>
                  <a:pPr algn="l">
                    <a:spcBef>
                      <a:spcPts val="1000"/>
                    </a:spcBef>
                    <a:defRPr sz="2700">
                      <a:solidFill>
                        <a:srgbClr val="000000"/>
                      </a:solidFill>
                      <a:effectLst/>
                    </a:defRPr>
                  </a:pPr>
                  <a:endParaRPr dirty="0"/>
                </a:p>
              </p:txBody>
            </p:sp>
          </p:grpSp>
          <p:grpSp>
            <p:nvGrpSpPr>
              <p:cNvPr id="139" name="Group"/>
              <p:cNvGrpSpPr/>
              <p:nvPr/>
            </p:nvGrpSpPr>
            <p:grpSpPr>
              <a:xfrm>
                <a:off x="-1" y="10255"/>
                <a:ext cx="1004617" cy="1009925"/>
                <a:chOff x="0" y="0"/>
                <a:chExt cx="1004615" cy="1009924"/>
              </a:xfrm>
            </p:grpSpPr>
            <p:sp>
              <p:nvSpPr>
                <p:cNvPr id="140" name="Rectangle: Rounded Corners 28"/>
                <p:cNvSpPr/>
                <p:nvPr/>
              </p:nvSpPr>
              <p:spPr>
                <a:xfrm>
                  <a:off x="0" y="0"/>
                  <a:ext cx="1004615" cy="1009924"/>
                </a:xfrm>
                <a:prstGeom prst="roundRect">
                  <a:avLst>
                    <a:gd name="adj" fmla="val 6667"/>
                  </a:avLst>
                </a:prstGeom>
                <a:solidFill>
                  <a:schemeClr val="accent3"/>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defTabSz="914400">
                    <a:defRPr sz="1800" b="0" cap="none">
                      <a:solidFill>
                        <a:srgbClr val="FFFFFF"/>
                      </a:solidFill>
                      <a:effectLst/>
                      <a:latin typeface="Calibri"/>
                      <a:ea typeface="Calibri"/>
                      <a:cs typeface="Calibri"/>
                      <a:sym typeface="Calibri"/>
                    </a:defRPr>
                  </a:pPr>
                  <a:endParaRPr dirty="0"/>
                </a:p>
              </p:txBody>
            </p:sp>
            <p:sp>
              <p:nvSpPr>
                <p:cNvPr id="141" name="Freeform: Shape 78"/>
                <p:cNvSpPr/>
                <p:nvPr/>
              </p:nvSpPr>
              <p:spPr>
                <a:xfrm>
                  <a:off x="166672" y="544685"/>
                  <a:ext cx="178122" cy="156842"/>
                </a:xfrm>
                <a:custGeom>
                  <a:avLst/>
                  <a:gdLst/>
                  <a:ahLst/>
                  <a:cxnLst>
                    <a:cxn ang="0">
                      <a:pos x="wd2" y="hd2"/>
                    </a:cxn>
                    <a:cxn ang="5400000">
                      <a:pos x="wd2" y="hd2"/>
                    </a:cxn>
                    <a:cxn ang="10800000">
                      <a:pos x="wd2" y="hd2"/>
                    </a:cxn>
                    <a:cxn ang="16200000">
                      <a:pos x="wd2" y="hd2"/>
                    </a:cxn>
                  </a:cxnLst>
                  <a:rect l="0" t="0" r="r" b="b"/>
                  <a:pathLst>
                    <a:path w="21600" h="21600" extrusionOk="0">
                      <a:moveTo>
                        <a:pt x="19421" y="0"/>
                      </a:moveTo>
                      <a:lnTo>
                        <a:pt x="0" y="0"/>
                      </a:lnTo>
                      <a:cubicBezTo>
                        <a:pt x="956" y="7858"/>
                        <a:pt x="3651" y="15283"/>
                        <a:pt x="7856" y="21600"/>
                      </a:cubicBezTo>
                      <a:lnTo>
                        <a:pt x="21600" y="5992"/>
                      </a:lnTo>
                      <a:cubicBezTo>
                        <a:pt x="20644" y="4125"/>
                        <a:pt x="19899" y="2106"/>
                        <a:pt x="19421"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42" name="Freeform: Shape 79"/>
                <p:cNvSpPr/>
                <p:nvPr/>
              </p:nvSpPr>
              <p:spPr>
                <a:xfrm>
                  <a:off x="297661" y="654393"/>
                  <a:ext cx="157631" cy="178281"/>
                </a:xfrm>
                <a:custGeom>
                  <a:avLst/>
                  <a:gdLst/>
                  <a:ahLst/>
                  <a:cxnLst>
                    <a:cxn ang="0">
                      <a:pos x="wd2" y="hd2"/>
                    </a:cxn>
                    <a:cxn ang="5400000">
                      <a:pos x="wd2" y="hd2"/>
                    </a:cxn>
                    <a:cxn ang="10800000">
                      <a:pos x="wd2" y="hd2"/>
                    </a:cxn>
                    <a:cxn ang="16200000">
                      <a:pos x="wd2" y="hd2"/>
                    </a:cxn>
                  </a:cxnLst>
                  <a:rect l="0" t="0" r="r" b="b"/>
                  <a:pathLst>
                    <a:path w="21600" h="21600" extrusionOk="0">
                      <a:moveTo>
                        <a:pt x="15509" y="0"/>
                      </a:moveTo>
                      <a:lnTo>
                        <a:pt x="0" y="13732"/>
                      </a:lnTo>
                      <a:cubicBezTo>
                        <a:pt x="6307" y="17952"/>
                        <a:pt x="13738" y="20664"/>
                        <a:pt x="21600" y="21600"/>
                      </a:cubicBezTo>
                      <a:lnTo>
                        <a:pt x="21600" y="2196"/>
                      </a:lnTo>
                      <a:cubicBezTo>
                        <a:pt x="19462" y="1700"/>
                        <a:pt x="17431" y="974"/>
                        <a:pt x="15509"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43" name="Freeform: Shape 80"/>
                <p:cNvSpPr/>
                <p:nvPr/>
              </p:nvSpPr>
              <p:spPr>
                <a:xfrm>
                  <a:off x="548133" y="164956"/>
                  <a:ext cx="286887" cy="287044"/>
                </a:xfrm>
                <a:custGeom>
                  <a:avLst/>
                  <a:gdLst/>
                  <a:ahLst/>
                  <a:cxnLst>
                    <a:cxn ang="0">
                      <a:pos x="wd2" y="hd2"/>
                    </a:cxn>
                    <a:cxn ang="5400000">
                      <a:pos x="wd2" y="hd2"/>
                    </a:cxn>
                    <a:cxn ang="10800000">
                      <a:pos x="wd2" y="hd2"/>
                    </a:cxn>
                    <a:cxn ang="16200000">
                      <a:pos x="wd2" y="hd2"/>
                    </a:cxn>
                  </a:cxnLst>
                  <a:rect l="0" t="0" r="r" b="b"/>
                  <a:pathLst>
                    <a:path w="21600" h="21600" extrusionOk="0">
                      <a:moveTo>
                        <a:pt x="83" y="0"/>
                      </a:moveTo>
                      <a:cubicBezTo>
                        <a:pt x="47" y="4413"/>
                        <a:pt x="12" y="10094"/>
                        <a:pt x="0" y="12075"/>
                      </a:cubicBezTo>
                      <a:cubicBezTo>
                        <a:pt x="4640" y="13332"/>
                        <a:pt x="8260" y="16962"/>
                        <a:pt x="9506" y="21600"/>
                      </a:cubicBezTo>
                      <a:lnTo>
                        <a:pt x="21600" y="21576"/>
                      </a:lnTo>
                      <a:cubicBezTo>
                        <a:pt x="20010" y="10415"/>
                        <a:pt x="11251" y="1625"/>
                        <a:pt x="83"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44" name="Freeform: Shape 81"/>
                <p:cNvSpPr/>
                <p:nvPr/>
              </p:nvSpPr>
              <p:spPr>
                <a:xfrm>
                  <a:off x="350152" y="180718"/>
                  <a:ext cx="104036" cy="119800"/>
                </a:xfrm>
                <a:custGeom>
                  <a:avLst/>
                  <a:gdLst/>
                  <a:ahLst/>
                  <a:cxnLst>
                    <a:cxn ang="0">
                      <a:pos x="wd2" y="hd2"/>
                    </a:cxn>
                    <a:cxn ang="5400000">
                      <a:pos x="wd2" y="hd2"/>
                    </a:cxn>
                    <a:cxn ang="10800000">
                      <a:pos x="wd2" y="hd2"/>
                    </a:cxn>
                    <a:cxn ang="16200000">
                      <a:pos x="wd2" y="hd2"/>
                    </a:cxn>
                  </a:cxnLst>
                  <a:rect l="0" t="0" r="r" b="b"/>
                  <a:pathLst>
                    <a:path w="21600" h="21600" extrusionOk="0">
                      <a:moveTo>
                        <a:pt x="7789" y="0"/>
                      </a:moveTo>
                      <a:cubicBezTo>
                        <a:pt x="5138" y="824"/>
                        <a:pt x="2520" y="1791"/>
                        <a:pt x="0" y="2899"/>
                      </a:cubicBezTo>
                      <a:lnTo>
                        <a:pt x="21535" y="21600"/>
                      </a:lnTo>
                      <a:lnTo>
                        <a:pt x="21600" y="11994"/>
                      </a:lnTo>
                      <a:lnTo>
                        <a:pt x="7789"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45" name="Freeform: Shape 82"/>
                <p:cNvSpPr/>
                <p:nvPr/>
              </p:nvSpPr>
              <p:spPr>
                <a:xfrm>
                  <a:off x="295297" y="209408"/>
                  <a:ext cx="149749" cy="134774"/>
                </a:xfrm>
                <a:custGeom>
                  <a:avLst/>
                  <a:gdLst/>
                  <a:ahLst/>
                  <a:cxnLst>
                    <a:cxn ang="0">
                      <a:pos x="wd2" y="hd2"/>
                    </a:cxn>
                    <a:cxn ang="5400000">
                      <a:pos x="wd2" y="hd2"/>
                    </a:cxn>
                    <a:cxn ang="10800000">
                      <a:pos x="wd2" y="hd2"/>
                    </a:cxn>
                    <a:cxn ang="16200000">
                      <a:pos x="wd2" y="hd2"/>
                    </a:cxn>
                  </a:cxnLst>
                  <a:rect l="0" t="0" r="r" b="b"/>
                  <a:pathLst>
                    <a:path w="21600" h="21600" extrusionOk="0">
                      <a:moveTo>
                        <a:pt x="4593" y="0"/>
                      </a:moveTo>
                      <a:cubicBezTo>
                        <a:pt x="3001" y="1061"/>
                        <a:pt x="1478" y="2223"/>
                        <a:pt x="0" y="3486"/>
                      </a:cubicBezTo>
                      <a:lnTo>
                        <a:pt x="16302" y="21600"/>
                      </a:lnTo>
                      <a:cubicBezTo>
                        <a:pt x="17985" y="20488"/>
                        <a:pt x="19758" y="19579"/>
                        <a:pt x="21600" y="18897"/>
                      </a:cubicBezTo>
                      <a:lnTo>
                        <a:pt x="4593"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46" name="Freeform: Shape 83"/>
                <p:cNvSpPr/>
                <p:nvPr/>
              </p:nvSpPr>
              <p:spPr>
                <a:xfrm>
                  <a:off x="414937" y="164482"/>
                  <a:ext cx="39567" cy="47291"/>
                </a:xfrm>
                <a:custGeom>
                  <a:avLst/>
                  <a:gdLst/>
                  <a:ahLst/>
                  <a:cxnLst>
                    <a:cxn ang="0">
                      <a:pos x="wd2" y="hd2"/>
                    </a:cxn>
                    <a:cxn ang="5400000">
                      <a:pos x="wd2" y="hd2"/>
                    </a:cxn>
                    <a:cxn ang="10800000">
                      <a:pos x="wd2" y="hd2"/>
                    </a:cxn>
                    <a:cxn ang="16200000">
                      <a:pos x="wd2" y="hd2"/>
                    </a:cxn>
                  </a:cxnLst>
                  <a:rect l="0" t="0" r="r" b="b"/>
                  <a:pathLst>
                    <a:path w="21600" h="21600" extrusionOk="0">
                      <a:moveTo>
                        <a:pt x="0" y="3600"/>
                      </a:moveTo>
                      <a:lnTo>
                        <a:pt x="21514" y="21600"/>
                      </a:lnTo>
                      <a:lnTo>
                        <a:pt x="21600" y="0"/>
                      </a:lnTo>
                      <a:cubicBezTo>
                        <a:pt x="14285" y="864"/>
                        <a:pt x="7143" y="2016"/>
                        <a:pt x="0" y="360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47" name="Freeform: Shape 84"/>
                <p:cNvSpPr/>
                <p:nvPr/>
              </p:nvSpPr>
              <p:spPr>
                <a:xfrm>
                  <a:off x="249270" y="247396"/>
                  <a:ext cx="138400" cy="138401"/>
                </a:xfrm>
                <a:custGeom>
                  <a:avLst/>
                  <a:gdLst/>
                  <a:ahLst/>
                  <a:cxnLst>
                    <a:cxn ang="0">
                      <a:pos x="wd2" y="hd2"/>
                    </a:cxn>
                    <a:cxn ang="5400000">
                      <a:pos x="wd2" y="hd2"/>
                    </a:cxn>
                    <a:cxn ang="10800000">
                      <a:pos x="wd2" y="hd2"/>
                    </a:cxn>
                    <a:cxn ang="16200000">
                      <a:pos x="wd2" y="hd2"/>
                    </a:cxn>
                  </a:cxnLst>
                  <a:rect l="0" t="0" r="r" b="b"/>
                  <a:pathLst>
                    <a:path w="21600" h="21600" extrusionOk="0">
                      <a:moveTo>
                        <a:pt x="4182" y="0"/>
                      </a:moveTo>
                      <a:cubicBezTo>
                        <a:pt x="3469" y="640"/>
                        <a:pt x="2755" y="1304"/>
                        <a:pt x="2067" y="1993"/>
                      </a:cubicBezTo>
                      <a:cubicBezTo>
                        <a:pt x="1353" y="2706"/>
                        <a:pt x="664" y="3444"/>
                        <a:pt x="0" y="4182"/>
                      </a:cubicBezTo>
                      <a:lnTo>
                        <a:pt x="17418" y="21600"/>
                      </a:lnTo>
                      <a:cubicBezTo>
                        <a:pt x="18672" y="20075"/>
                        <a:pt x="20050" y="18672"/>
                        <a:pt x="21600" y="17418"/>
                      </a:cubicBezTo>
                      <a:lnTo>
                        <a:pt x="4182"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48" name="Freeform: Shape 85"/>
                <p:cNvSpPr/>
                <p:nvPr/>
              </p:nvSpPr>
              <p:spPr>
                <a:xfrm>
                  <a:off x="166830" y="413063"/>
                  <a:ext cx="44611" cy="37045"/>
                </a:xfrm>
                <a:custGeom>
                  <a:avLst/>
                  <a:gdLst/>
                  <a:ahLst/>
                  <a:cxnLst>
                    <a:cxn ang="0">
                      <a:pos x="wd2" y="hd2"/>
                    </a:cxn>
                    <a:cxn ang="5400000">
                      <a:pos x="wd2" y="hd2"/>
                    </a:cxn>
                    <a:cxn ang="10800000">
                      <a:pos x="wd2" y="hd2"/>
                    </a:cxn>
                    <a:cxn ang="16200000">
                      <a:pos x="wd2" y="hd2"/>
                    </a:cxn>
                  </a:cxnLst>
                  <a:rect l="0" t="0" r="r" b="b"/>
                  <a:pathLst>
                    <a:path w="21600" h="21600" extrusionOk="0">
                      <a:moveTo>
                        <a:pt x="3664" y="0"/>
                      </a:moveTo>
                      <a:cubicBezTo>
                        <a:pt x="2137" y="7077"/>
                        <a:pt x="916" y="14339"/>
                        <a:pt x="0" y="21600"/>
                      </a:cubicBezTo>
                      <a:lnTo>
                        <a:pt x="21600" y="21600"/>
                      </a:lnTo>
                      <a:lnTo>
                        <a:pt x="3664"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49" name="Freeform: Shape 86"/>
                <p:cNvSpPr/>
                <p:nvPr/>
              </p:nvSpPr>
              <p:spPr>
                <a:xfrm>
                  <a:off x="182908" y="348436"/>
                  <a:ext cx="117751" cy="101673"/>
                </a:xfrm>
                <a:custGeom>
                  <a:avLst/>
                  <a:gdLst/>
                  <a:ahLst/>
                  <a:cxnLst>
                    <a:cxn ang="0">
                      <a:pos x="wd2" y="hd2"/>
                    </a:cxn>
                    <a:cxn ang="5400000">
                      <a:pos x="wd2" y="hd2"/>
                    </a:cxn>
                    <a:cxn ang="10800000">
                      <a:pos x="wd2" y="hd2"/>
                    </a:cxn>
                    <a:cxn ang="16200000">
                      <a:pos x="wd2" y="hd2"/>
                    </a:cxn>
                  </a:cxnLst>
                  <a:rect l="0" t="0" r="r" b="b"/>
                  <a:pathLst>
                    <a:path w="21600" h="21600" extrusionOk="0">
                      <a:moveTo>
                        <a:pt x="2920" y="0"/>
                      </a:moveTo>
                      <a:cubicBezTo>
                        <a:pt x="1793" y="2579"/>
                        <a:pt x="839" y="5224"/>
                        <a:pt x="0" y="7937"/>
                      </a:cubicBezTo>
                      <a:lnTo>
                        <a:pt x="11798" y="21600"/>
                      </a:lnTo>
                      <a:lnTo>
                        <a:pt x="21600" y="21600"/>
                      </a:lnTo>
                      <a:lnTo>
                        <a:pt x="2920"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50" name="Freeform: Shape 87"/>
                <p:cNvSpPr/>
                <p:nvPr/>
              </p:nvSpPr>
              <p:spPr>
                <a:xfrm>
                  <a:off x="211596" y="293739"/>
                  <a:ext cx="134617" cy="149750"/>
                </a:xfrm>
                <a:custGeom>
                  <a:avLst/>
                  <a:gdLst/>
                  <a:ahLst/>
                  <a:cxnLst>
                    <a:cxn ang="0">
                      <a:pos x="wd2" y="hd2"/>
                    </a:cxn>
                    <a:cxn ang="5400000">
                      <a:pos x="wd2" y="hd2"/>
                    </a:cxn>
                    <a:cxn ang="10800000">
                      <a:pos x="wd2" y="hd2"/>
                    </a:cxn>
                    <a:cxn ang="16200000">
                      <a:pos x="wd2" y="hd2"/>
                    </a:cxn>
                  </a:cxnLst>
                  <a:rect l="0" t="0" r="r" b="b"/>
                  <a:pathLst>
                    <a:path w="21600" h="21600" extrusionOk="0">
                      <a:moveTo>
                        <a:pt x="3465" y="0"/>
                      </a:moveTo>
                      <a:cubicBezTo>
                        <a:pt x="2200" y="1478"/>
                        <a:pt x="1062" y="3001"/>
                        <a:pt x="0" y="4593"/>
                      </a:cubicBezTo>
                      <a:lnTo>
                        <a:pt x="18919" y="21600"/>
                      </a:lnTo>
                      <a:cubicBezTo>
                        <a:pt x="19577" y="19736"/>
                        <a:pt x="20487" y="17962"/>
                        <a:pt x="21600" y="16302"/>
                      </a:cubicBezTo>
                      <a:lnTo>
                        <a:pt x="3465"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51" name="Freeform: Shape 88"/>
                <p:cNvSpPr/>
                <p:nvPr/>
              </p:nvSpPr>
              <p:spPr>
                <a:xfrm>
                  <a:off x="622376" y="591869"/>
                  <a:ext cx="174969" cy="33313"/>
                </a:xfrm>
                <a:prstGeom prst="rect">
                  <a:avLst/>
                </a:pr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52" name="Freeform: Shape 89"/>
                <p:cNvSpPr/>
                <p:nvPr/>
              </p:nvSpPr>
              <p:spPr>
                <a:xfrm>
                  <a:off x="578240" y="554141"/>
                  <a:ext cx="261666" cy="291615"/>
                </a:xfrm>
                <a:custGeom>
                  <a:avLst/>
                  <a:gdLst/>
                  <a:ahLst/>
                  <a:cxnLst>
                    <a:cxn ang="0">
                      <a:pos x="wd2" y="hd2"/>
                    </a:cxn>
                    <a:cxn ang="5400000">
                      <a:pos x="wd2" y="hd2"/>
                    </a:cxn>
                    <a:cxn ang="10800000">
                      <a:pos x="wd2" y="hd2"/>
                    </a:cxn>
                    <a:cxn ang="16200000">
                      <a:pos x="wd2" y="hd2"/>
                    </a:cxn>
                  </a:cxnLst>
                  <a:rect l="0" t="0" r="r" b="b"/>
                  <a:pathLst>
                    <a:path w="21600" h="21600" extrusionOk="0">
                      <a:moveTo>
                        <a:pt x="18737" y="0"/>
                      </a:moveTo>
                      <a:lnTo>
                        <a:pt x="2863" y="0"/>
                      </a:lnTo>
                      <a:cubicBezTo>
                        <a:pt x="1275" y="0"/>
                        <a:pt x="0" y="1144"/>
                        <a:pt x="0" y="2569"/>
                      </a:cubicBezTo>
                      <a:lnTo>
                        <a:pt x="0" y="19031"/>
                      </a:lnTo>
                      <a:cubicBezTo>
                        <a:pt x="0" y="20456"/>
                        <a:pt x="1275" y="21600"/>
                        <a:pt x="2863" y="21600"/>
                      </a:cubicBezTo>
                      <a:lnTo>
                        <a:pt x="18737" y="21600"/>
                      </a:lnTo>
                      <a:cubicBezTo>
                        <a:pt x="20325" y="21600"/>
                        <a:pt x="21600" y="20456"/>
                        <a:pt x="21600" y="19031"/>
                      </a:cubicBezTo>
                      <a:lnTo>
                        <a:pt x="21600" y="2569"/>
                      </a:lnTo>
                      <a:cubicBezTo>
                        <a:pt x="21600" y="1144"/>
                        <a:pt x="20325" y="0"/>
                        <a:pt x="18737" y="0"/>
                      </a:cubicBezTo>
                      <a:close/>
                      <a:moveTo>
                        <a:pt x="5595" y="19849"/>
                      </a:moveTo>
                      <a:lnTo>
                        <a:pt x="2537" y="19849"/>
                      </a:lnTo>
                      <a:cubicBezTo>
                        <a:pt x="1965" y="19849"/>
                        <a:pt x="1496" y="19428"/>
                        <a:pt x="1496" y="18915"/>
                      </a:cubicBezTo>
                      <a:cubicBezTo>
                        <a:pt x="1496" y="18401"/>
                        <a:pt x="1965" y="17981"/>
                        <a:pt x="2537" y="17981"/>
                      </a:cubicBezTo>
                      <a:lnTo>
                        <a:pt x="5595" y="17981"/>
                      </a:lnTo>
                      <a:cubicBezTo>
                        <a:pt x="6168" y="17981"/>
                        <a:pt x="6636" y="18401"/>
                        <a:pt x="6636" y="18915"/>
                      </a:cubicBezTo>
                      <a:cubicBezTo>
                        <a:pt x="6636" y="19428"/>
                        <a:pt x="6181" y="19849"/>
                        <a:pt x="5595" y="19849"/>
                      </a:cubicBezTo>
                      <a:close/>
                      <a:moveTo>
                        <a:pt x="5595" y="15178"/>
                      </a:moveTo>
                      <a:lnTo>
                        <a:pt x="2537" y="15178"/>
                      </a:lnTo>
                      <a:cubicBezTo>
                        <a:pt x="1965" y="15178"/>
                        <a:pt x="1496" y="14758"/>
                        <a:pt x="1496" y="14244"/>
                      </a:cubicBezTo>
                      <a:cubicBezTo>
                        <a:pt x="1496" y="13731"/>
                        <a:pt x="1965" y="13310"/>
                        <a:pt x="2537" y="13310"/>
                      </a:cubicBezTo>
                      <a:lnTo>
                        <a:pt x="5595" y="13310"/>
                      </a:lnTo>
                      <a:cubicBezTo>
                        <a:pt x="6168" y="13310"/>
                        <a:pt x="6636" y="13731"/>
                        <a:pt x="6636" y="14244"/>
                      </a:cubicBezTo>
                      <a:cubicBezTo>
                        <a:pt x="6636" y="14758"/>
                        <a:pt x="6181" y="15178"/>
                        <a:pt x="5595" y="15178"/>
                      </a:cubicBezTo>
                      <a:close/>
                      <a:moveTo>
                        <a:pt x="5595" y="10391"/>
                      </a:moveTo>
                      <a:lnTo>
                        <a:pt x="2537" y="10391"/>
                      </a:lnTo>
                      <a:cubicBezTo>
                        <a:pt x="1965" y="10391"/>
                        <a:pt x="1496" y="9971"/>
                        <a:pt x="1496" y="9457"/>
                      </a:cubicBezTo>
                      <a:cubicBezTo>
                        <a:pt x="1496" y="8944"/>
                        <a:pt x="1965" y="8523"/>
                        <a:pt x="2537" y="8523"/>
                      </a:cubicBezTo>
                      <a:lnTo>
                        <a:pt x="5595" y="8523"/>
                      </a:lnTo>
                      <a:cubicBezTo>
                        <a:pt x="6168" y="8523"/>
                        <a:pt x="6636" y="8944"/>
                        <a:pt x="6636" y="9457"/>
                      </a:cubicBezTo>
                      <a:cubicBezTo>
                        <a:pt x="6636" y="9971"/>
                        <a:pt x="6181" y="10391"/>
                        <a:pt x="5595" y="10391"/>
                      </a:cubicBezTo>
                      <a:close/>
                      <a:moveTo>
                        <a:pt x="12309" y="19849"/>
                      </a:moveTo>
                      <a:lnTo>
                        <a:pt x="9252" y="19849"/>
                      </a:lnTo>
                      <a:cubicBezTo>
                        <a:pt x="8679" y="19849"/>
                        <a:pt x="8211" y="19428"/>
                        <a:pt x="8211" y="18915"/>
                      </a:cubicBezTo>
                      <a:cubicBezTo>
                        <a:pt x="8211" y="18401"/>
                        <a:pt x="8679" y="17981"/>
                        <a:pt x="9252" y="17981"/>
                      </a:cubicBezTo>
                      <a:lnTo>
                        <a:pt x="12309" y="17981"/>
                      </a:lnTo>
                      <a:cubicBezTo>
                        <a:pt x="12882" y="17981"/>
                        <a:pt x="13350" y="18401"/>
                        <a:pt x="13350" y="18915"/>
                      </a:cubicBezTo>
                      <a:cubicBezTo>
                        <a:pt x="13350" y="19428"/>
                        <a:pt x="12882" y="19849"/>
                        <a:pt x="12309" y="19849"/>
                      </a:cubicBezTo>
                      <a:close/>
                      <a:moveTo>
                        <a:pt x="12309" y="15178"/>
                      </a:moveTo>
                      <a:lnTo>
                        <a:pt x="9252" y="15178"/>
                      </a:lnTo>
                      <a:cubicBezTo>
                        <a:pt x="8679" y="15178"/>
                        <a:pt x="8211" y="14758"/>
                        <a:pt x="8211" y="14244"/>
                      </a:cubicBezTo>
                      <a:cubicBezTo>
                        <a:pt x="8211" y="13731"/>
                        <a:pt x="8679" y="13310"/>
                        <a:pt x="9252" y="13310"/>
                      </a:cubicBezTo>
                      <a:lnTo>
                        <a:pt x="12309" y="13310"/>
                      </a:lnTo>
                      <a:cubicBezTo>
                        <a:pt x="12882" y="13310"/>
                        <a:pt x="13350" y="13731"/>
                        <a:pt x="13350" y="14244"/>
                      </a:cubicBezTo>
                      <a:cubicBezTo>
                        <a:pt x="13350" y="14758"/>
                        <a:pt x="12882" y="15178"/>
                        <a:pt x="12309" y="15178"/>
                      </a:cubicBezTo>
                      <a:close/>
                      <a:moveTo>
                        <a:pt x="12309" y="10391"/>
                      </a:moveTo>
                      <a:lnTo>
                        <a:pt x="9252" y="10391"/>
                      </a:lnTo>
                      <a:cubicBezTo>
                        <a:pt x="8679" y="10391"/>
                        <a:pt x="8211" y="9971"/>
                        <a:pt x="8211" y="9457"/>
                      </a:cubicBezTo>
                      <a:cubicBezTo>
                        <a:pt x="8211" y="8944"/>
                        <a:pt x="8679" y="8523"/>
                        <a:pt x="9252" y="8523"/>
                      </a:cubicBezTo>
                      <a:lnTo>
                        <a:pt x="12309" y="8523"/>
                      </a:lnTo>
                      <a:cubicBezTo>
                        <a:pt x="12882" y="8523"/>
                        <a:pt x="13350" y="8944"/>
                        <a:pt x="13350" y="9457"/>
                      </a:cubicBezTo>
                      <a:cubicBezTo>
                        <a:pt x="13350" y="9971"/>
                        <a:pt x="12882" y="10391"/>
                        <a:pt x="12309" y="10391"/>
                      </a:cubicBezTo>
                      <a:close/>
                      <a:moveTo>
                        <a:pt x="19037" y="19849"/>
                      </a:moveTo>
                      <a:lnTo>
                        <a:pt x="15979" y="19849"/>
                      </a:lnTo>
                      <a:cubicBezTo>
                        <a:pt x="15406" y="19849"/>
                        <a:pt x="14938" y="19428"/>
                        <a:pt x="14938" y="18915"/>
                      </a:cubicBezTo>
                      <a:cubicBezTo>
                        <a:pt x="14938" y="18401"/>
                        <a:pt x="15406" y="17981"/>
                        <a:pt x="15979" y="17981"/>
                      </a:cubicBezTo>
                      <a:lnTo>
                        <a:pt x="19037" y="17981"/>
                      </a:lnTo>
                      <a:cubicBezTo>
                        <a:pt x="19609" y="17981"/>
                        <a:pt x="20078" y="18401"/>
                        <a:pt x="20078" y="18915"/>
                      </a:cubicBezTo>
                      <a:cubicBezTo>
                        <a:pt x="20078" y="19428"/>
                        <a:pt x="19609" y="19849"/>
                        <a:pt x="19037" y="19849"/>
                      </a:cubicBezTo>
                      <a:close/>
                      <a:moveTo>
                        <a:pt x="19037" y="15178"/>
                      </a:moveTo>
                      <a:lnTo>
                        <a:pt x="15979" y="15178"/>
                      </a:lnTo>
                      <a:cubicBezTo>
                        <a:pt x="15406" y="15178"/>
                        <a:pt x="14938" y="14758"/>
                        <a:pt x="14938" y="14244"/>
                      </a:cubicBezTo>
                      <a:cubicBezTo>
                        <a:pt x="14938" y="13731"/>
                        <a:pt x="15406" y="13310"/>
                        <a:pt x="15979" y="13310"/>
                      </a:cubicBezTo>
                      <a:lnTo>
                        <a:pt x="19037" y="13310"/>
                      </a:lnTo>
                      <a:cubicBezTo>
                        <a:pt x="19609" y="13310"/>
                        <a:pt x="20078" y="13731"/>
                        <a:pt x="20078" y="14244"/>
                      </a:cubicBezTo>
                      <a:cubicBezTo>
                        <a:pt x="20078" y="14758"/>
                        <a:pt x="19609" y="15178"/>
                        <a:pt x="19037" y="15178"/>
                      </a:cubicBezTo>
                      <a:close/>
                      <a:moveTo>
                        <a:pt x="19037" y="10391"/>
                      </a:moveTo>
                      <a:lnTo>
                        <a:pt x="15979" y="10391"/>
                      </a:lnTo>
                      <a:cubicBezTo>
                        <a:pt x="15406" y="10391"/>
                        <a:pt x="14938" y="9971"/>
                        <a:pt x="14938" y="9457"/>
                      </a:cubicBezTo>
                      <a:cubicBezTo>
                        <a:pt x="14938" y="8944"/>
                        <a:pt x="15406" y="8523"/>
                        <a:pt x="15979" y="8523"/>
                      </a:cubicBezTo>
                      <a:lnTo>
                        <a:pt x="19037" y="8523"/>
                      </a:lnTo>
                      <a:cubicBezTo>
                        <a:pt x="19609" y="8523"/>
                        <a:pt x="20078" y="8944"/>
                        <a:pt x="20078" y="9457"/>
                      </a:cubicBezTo>
                      <a:cubicBezTo>
                        <a:pt x="20078" y="9971"/>
                        <a:pt x="19609" y="10391"/>
                        <a:pt x="19037" y="10391"/>
                      </a:cubicBezTo>
                      <a:close/>
                      <a:moveTo>
                        <a:pt x="20169" y="5838"/>
                      </a:moveTo>
                      <a:cubicBezTo>
                        <a:pt x="20169" y="6352"/>
                        <a:pt x="19700" y="6772"/>
                        <a:pt x="19128" y="6772"/>
                      </a:cubicBezTo>
                      <a:lnTo>
                        <a:pt x="2602" y="6772"/>
                      </a:lnTo>
                      <a:cubicBezTo>
                        <a:pt x="2030" y="6772"/>
                        <a:pt x="1561" y="6352"/>
                        <a:pt x="1561" y="5838"/>
                      </a:cubicBezTo>
                      <a:lnTo>
                        <a:pt x="1561" y="2218"/>
                      </a:lnTo>
                      <a:cubicBezTo>
                        <a:pt x="1561" y="1705"/>
                        <a:pt x="2030" y="1284"/>
                        <a:pt x="2602" y="1284"/>
                      </a:cubicBezTo>
                      <a:lnTo>
                        <a:pt x="19128" y="1284"/>
                      </a:lnTo>
                      <a:cubicBezTo>
                        <a:pt x="19700" y="1284"/>
                        <a:pt x="20169" y="1705"/>
                        <a:pt x="20169" y="2218"/>
                      </a:cubicBezTo>
                      <a:lnTo>
                        <a:pt x="20169" y="5838"/>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grpSp>
        </p:grpSp>
        <p:sp>
          <p:nvSpPr>
            <p:cNvPr id="136" name="Provision"/>
            <p:cNvSpPr/>
            <p:nvPr/>
          </p:nvSpPr>
          <p:spPr>
            <a:xfrm>
              <a:off x="-1" y="171045"/>
              <a:ext cx="1825643" cy="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25400" cap="flat">
              <a:solidFill>
                <a:srgbClr val="22BF00"/>
              </a:solidFill>
              <a:prstDash val="solid"/>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21918" tIns="121918" rIns="121918" bIns="121918" numCol="1" anchor="t">
              <a:spAutoFit/>
            </a:bodyPr>
            <a:lstStyle>
              <a:lvl1pPr algn="l" defTabSz="2438400">
                <a:defRPr sz="2900" b="0">
                  <a:solidFill>
                    <a:srgbClr val="000000"/>
                  </a:solidFill>
                  <a:effectLst>
                    <a:outerShdw blurRad="12700" dist="12700" dir="18900000" rotWithShape="0">
                      <a:srgbClr val="000000">
                        <a:alpha val="24000"/>
                      </a:srgbClr>
                    </a:outerShdw>
                  </a:effectLst>
                </a:defRPr>
              </a:lvl1pPr>
            </a:lstStyle>
            <a:p>
              <a:r>
                <a:rPr dirty="0"/>
                <a:t>Provision</a:t>
              </a:r>
            </a:p>
          </p:txBody>
        </p:sp>
        <p:sp>
          <p:nvSpPr>
            <p:cNvPr id="137" name="Actual"/>
            <p:cNvSpPr/>
            <p:nvPr/>
          </p:nvSpPr>
          <p:spPr>
            <a:xfrm>
              <a:off x="-1" y="1369563"/>
              <a:ext cx="1825643" cy="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25400" cap="flat">
              <a:solidFill>
                <a:schemeClr val="accent3"/>
              </a:solidFill>
              <a:prstDash val="solid"/>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21918" tIns="121918" rIns="121918" bIns="121918" numCol="1" anchor="t">
              <a:spAutoFit/>
            </a:bodyPr>
            <a:lstStyle>
              <a:lvl1pPr algn="l" defTabSz="2438400">
                <a:defRPr sz="2900" b="0">
                  <a:solidFill>
                    <a:srgbClr val="000000"/>
                  </a:solidFill>
                  <a:effectLst>
                    <a:outerShdw blurRad="12700" dist="12700" dir="18900000" rotWithShape="0">
                      <a:srgbClr val="000000">
                        <a:alpha val="24000"/>
                      </a:srgbClr>
                    </a:outerShdw>
                  </a:effectLst>
                </a:defRPr>
              </a:lvl1pPr>
            </a:lstStyle>
            <a:p>
              <a:r>
                <a:rPr dirty="0"/>
                <a:t>Actual</a:t>
              </a:r>
            </a:p>
          </p:txBody>
        </p:sp>
      </p:grpSp>
      <p:graphicFrame>
        <p:nvGraphicFramePr>
          <p:cNvPr id="172" name="Table"/>
          <p:cNvGraphicFramePr/>
          <p:nvPr>
            <p:extLst>
              <p:ext uri="{D42A27DB-BD31-4B8C-83A1-F6EECF244321}">
                <p14:modId xmlns:p14="http://schemas.microsoft.com/office/powerpoint/2010/main" val="2420782674"/>
              </p:ext>
            </p:extLst>
          </p:nvPr>
        </p:nvGraphicFramePr>
        <p:xfrm>
          <a:off x="2487782" y="1942740"/>
          <a:ext cx="8579340" cy="3109028"/>
        </p:xfrm>
        <a:graphic>
          <a:graphicData uri="http://schemas.openxmlformats.org/drawingml/2006/table">
            <a:tbl>
              <a:tblPr>
                <a:tableStyleId>{8F44A2F1-9E1F-4B54-A3A2-5F16C0AD49E2}</a:tableStyleId>
              </a:tblPr>
              <a:tblGrid>
                <a:gridCol w="2144835">
                  <a:extLst>
                    <a:ext uri="{9D8B030D-6E8A-4147-A177-3AD203B41FA5}">
                      <a16:colId xmlns:a16="http://schemas.microsoft.com/office/drawing/2014/main" val="20000"/>
                    </a:ext>
                  </a:extLst>
                </a:gridCol>
                <a:gridCol w="2144835">
                  <a:extLst>
                    <a:ext uri="{9D8B030D-6E8A-4147-A177-3AD203B41FA5}">
                      <a16:colId xmlns:a16="http://schemas.microsoft.com/office/drawing/2014/main" val="20001"/>
                    </a:ext>
                  </a:extLst>
                </a:gridCol>
                <a:gridCol w="2144835">
                  <a:extLst>
                    <a:ext uri="{9D8B030D-6E8A-4147-A177-3AD203B41FA5}">
                      <a16:colId xmlns:a16="http://schemas.microsoft.com/office/drawing/2014/main" val="20003"/>
                    </a:ext>
                  </a:extLst>
                </a:gridCol>
                <a:gridCol w="2144835">
                  <a:extLst>
                    <a:ext uri="{9D8B030D-6E8A-4147-A177-3AD203B41FA5}">
                      <a16:colId xmlns:a16="http://schemas.microsoft.com/office/drawing/2014/main" val="20002"/>
                    </a:ext>
                  </a:extLst>
                </a:gridCol>
              </a:tblGrid>
              <a:tr h="1605706">
                <a:tc>
                  <a:txBody>
                    <a:bodyPr/>
                    <a:lstStyle/>
                    <a:p>
                      <a:pPr defTabSz="825500">
                        <a:lnSpc>
                          <a:spcPct val="90000"/>
                        </a:lnSpc>
                        <a:defRPr sz="1800">
                          <a:effectLst/>
                        </a:defRPr>
                      </a:pPr>
                      <a:r>
                        <a:rPr sz="2400" b="1" cap="small" dirty="0">
                          <a:solidFill>
                            <a:srgbClr val="FFFFFF"/>
                          </a:solidFill>
                          <a:effectLst>
                            <a:outerShdw blurRad="38100" dist="38100" dir="2700000" algn="tl">
                              <a:srgbClr val="000000">
                                <a:alpha val="43137"/>
                              </a:srgbClr>
                            </a:outerShdw>
                          </a:effectLst>
                        </a:rPr>
                        <a:t>YEAR</a:t>
                      </a:r>
                    </a:p>
                  </a:txBody>
                  <a:tcPr marL="9840" marR="9840" marT="9840" marB="984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defTabSz="825500">
                        <a:lnSpc>
                          <a:spcPct val="90000"/>
                        </a:lnSpc>
                        <a:defRPr sz="1800">
                          <a:effectLst/>
                        </a:defRPr>
                      </a:pPr>
                      <a:r>
                        <a:rPr lang="en-GB" sz="2400" b="1" cap="small" dirty="0">
                          <a:solidFill>
                            <a:srgbClr val="FFFFFF"/>
                          </a:solidFill>
                          <a:effectLst>
                            <a:outerShdw blurRad="38100" dist="38100" dir="2700000" algn="tl">
                              <a:srgbClr val="000000">
                                <a:alpha val="43137"/>
                              </a:srgbClr>
                            </a:outerShdw>
                          </a:effectLst>
                        </a:rPr>
                        <a:t>Budget</a:t>
                      </a:r>
                      <a:r>
                        <a:rPr sz="2400" b="1" cap="small" dirty="0">
                          <a:solidFill>
                            <a:srgbClr val="FFFFFF"/>
                          </a:solidFill>
                          <a:effectLst>
                            <a:outerShdw blurRad="38100" dist="38100" dir="2700000" algn="tl">
                              <a:srgbClr val="000000">
                                <a:alpha val="43137"/>
                              </a:srgbClr>
                            </a:outerShdw>
                          </a:effectLst>
                        </a:rPr>
                        <a:t>
(₦’bn)</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defTabSz="825500">
                        <a:lnSpc>
                          <a:spcPct val="90000"/>
                        </a:lnSpc>
                        <a:defRPr sz="1800">
                          <a:effectLst/>
                        </a:defRPr>
                      </a:pPr>
                      <a:r>
                        <a:rPr lang="en-US" sz="2400" b="1" cap="small" dirty="0">
                          <a:solidFill>
                            <a:srgbClr val="FFFFFF"/>
                          </a:solidFill>
                          <a:effectLst>
                            <a:outerShdw blurRad="38100" dist="38100" dir="2700000" algn="tl">
                              <a:srgbClr val="000000">
                                <a:alpha val="43137"/>
                              </a:srgbClr>
                            </a:outerShdw>
                          </a:effectLst>
                        </a:rPr>
                        <a:t>CUM</a:t>
                      </a:r>
                      <a:r>
                        <a:rPr lang="en-US" sz="2400" b="1" cap="small" baseline="0" dirty="0">
                          <a:solidFill>
                            <a:srgbClr val="FFFFFF"/>
                          </a:solidFill>
                          <a:effectLst>
                            <a:outerShdw blurRad="38100" dist="38100" dir="2700000" algn="tl">
                              <a:srgbClr val="000000">
                                <a:alpha val="43137"/>
                              </a:srgbClr>
                            </a:outerShdw>
                          </a:effectLst>
                        </a:rPr>
                        <a:t> EST </a:t>
                      </a:r>
                    </a:p>
                    <a:p>
                      <a:pPr defTabSz="825500">
                        <a:lnSpc>
                          <a:spcPct val="90000"/>
                        </a:lnSpc>
                        <a:defRPr sz="1800">
                          <a:effectLst/>
                        </a:defRPr>
                      </a:pPr>
                      <a:r>
                        <a:rPr lang="en-US" sz="2400" b="1" cap="small" baseline="0" dirty="0">
                          <a:solidFill>
                            <a:srgbClr val="FFFFFF"/>
                          </a:solidFill>
                          <a:effectLst>
                            <a:outerShdw blurRad="38100" dist="38100" dir="2700000" algn="tl">
                              <a:srgbClr val="000000">
                                <a:alpha val="43137"/>
                              </a:srgbClr>
                            </a:outerShdw>
                          </a:effectLst>
                        </a:rPr>
                        <a:t>(JAN-MAR)</a:t>
                      </a:r>
                    </a:p>
                    <a:p>
                      <a:pPr defTabSz="825500">
                        <a:lnSpc>
                          <a:spcPct val="90000"/>
                        </a:lnSpc>
                        <a:defRPr sz="1800">
                          <a:effectLst/>
                        </a:defRPr>
                      </a:pPr>
                      <a:r>
                        <a:rPr lang="en-US" sz="2400" b="1" cap="small" dirty="0">
                          <a:solidFill>
                            <a:srgbClr val="FFFFFF"/>
                          </a:solidFill>
                          <a:effectLst>
                            <a:outerShdw blurRad="38100" dist="38100" dir="2700000" algn="tl">
                              <a:srgbClr val="000000">
                                <a:alpha val="43137"/>
                              </a:srgbClr>
                            </a:outerShdw>
                          </a:effectLst>
                        </a:rPr>
                        <a:t>(₦’</a:t>
                      </a:r>
                      <a:r>
                        <a:rPr lang="en-US" sz="2400" b="1" cap="small" dirty="0" err="1">
                          <a:solidFill>
                            <a:srgbClr val="FFFFFF"/>
                          </a:solidFill>
                          <a:effectLst>
                            <a:outerShdw blurRad="38100" dist="38100" dir="2700000" algn="tl">
                              <a:srgbClr val="000000">
                                <a:alpha val="43137"/>
                              </a:srgbClr>
                            </a:outerShdw>
                          </a:effectLst>
                        </a:rPr>
                        <a:t>bn</a:t>
                      </a:r>
                      <a:r>
                        <a:rPr lang="en-US" sz="2400" b="1" cap="small" dirty="0">
                          <a:solidFill>
                            <a:srgbClr val="FFFFFF"/>
                          </a:solidFill>
                          <a:effectLst>
                            <a:outerShdw blurRad="38100" dist="38100" dir="2700000" algn="tl">
                              <a:srgbClr val="000000">
                                <a:alpha val="43137"/>
                              </a:srgbClr>
                            </a:outerShdw>
                          </a:effectLst>
                        </a:rPr>
                        <a:t>)</a:t>
                      </a:r>
                      <a:endParaRPr sz="2400" b="1" cap="small" dirty="0">
                        <a:solidFill>
                          <a:srgbClr val="FFFFFF"/>
                        </a:solidFill>
                        <a:effectLst>
                          <a:outerShdw blurRad="38100" dist="38100" dir="2700000" algn="tl">
                            <a:srgbClr val="000000">
                              <a:alpha val="43137"/>
                            </a:srgbClr>
                          </a:outerShdw>
                        </a:effectLst>
                      </a:endParaRP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defTabSz="825500">
                        <a:lnSpc>
                          <a:spcPct val="90000"/>
                        </a:lnSpc>
                        <a:defRPr sz="1800">
                          <a:effectLst/>
                        </a:defRPr>
                      </a:pPr>
                      <a:r>
                        <a:rPr lang="en-US" sz="2400" b="1" cap="small" dirty="0">
                          <a:solidFill>
                            <a:srgbClr val="FFFFFF"/>
                          </a:solidFill>
                          <a:effectLst>
                            <a:outerShdw blurRad="38100" dist="38100" dir="2700000" algn="tl">
                              <a:srgbClr val="000000">
                                <a:alpha val="43137"/>
                              </a:srgbClr>
                            </a:outerShdw>
                          </a:effectLst>
                        </a:rPr>
                        <a:t>CUM </a:t>
                      </a:r>
                      <a:r>
                        <a:rPr sz="2400" b="1" cap="small" dirty="0">
                          <a:solidFill>
                            <a:srgbClr val="FFFFFF"/>
                          </a:solidFill>
                          <a:effectLst>
                            <a:outerShdw blurRad="38100" dist="38100" dir="2700000" algn="tl">
                              <a:srgbClr val="000000">
                                <a:alpha val="43137"/>
                              </a:srgbClr>
                            </a:outerShdw>
                          </a:effectLst>
                        </a:rPr>
                        <a:t>A</a:t>
                      </a:r>
                      <a:r>
                        <a:rPr lang="en-GB" sz="2400" b="1" cap="small" dirty="0">
                          <a:solidFill>
                            <a:srgbClr val="FFFFFF"/>
                          </a:solidFill>
                          <a:effectLst>
                            <a:outerShdw blurRad="38100" dist="38100" dir="2700000" algn="tl">
                              <a:srgbClr val="000000">
                                <a:alpha val="43137"/>
                              </a:srgbClr>
                            </a:outerShdw>
                          </a:effectLst>
                        </a:rPr>
                        <a:t>ctual (JAN–MAR)</a:t>
                      </a:r>
                      <a:r>
                        <a:rPr sz="2400" b="1" cap="small" dirty="0">
                          <a:solidFill>
                            <a:srgbClr val="FFFFFF"/>
                          </a:solidFill>
                          <a:effectLst>
                            <a:outerShdw blurRad="38100" dist="38100" dir="2700000" algn="tl">
                              <a:srgbClr val="000000">
                                <a:alpha val="43137"/>
                              </a:srgbClr>
                            </a:outerShdw>
                          </a:effectLst>
                        </a:rPr>
                        <a:t>
(₦’</a:t>
                      </a:r>
                      <a:r>
                        <a:rPr sz="2400" b="1" cap="small" dirty="0" err="1">
                          <a:solidFill>
                            <a:srgbClr val="FFFFFF"/>
                          </a:solidFill>
                          <a:effectLst>
                            <a:outerShdw blurRad="38100" dist="38100" dir="2700000" algn="tl">
                              <a:srgbClr val="000000">
                                <a:alpha val="43137"/>
                              </a:srgbClr>
                            </a:outerShdw>
                          </a:effectLst>
                        </a:rPr>
                        <a:t>bn</a:t>
                      </a:r>
                      <a:r>
                        <a:rPr sz="2400" b="1" cap="small" dirty="0">
                          <a:solidFill>
                            <a:srgbClr val="FFFFFF"/>
                          </a:solidFill>
                          <a:effectLst>
                            <a:outerShdw blurRad="38100" dist="38100" dir="2700000" algn="tl">
                              <a:srgbClr val="000000">
                                <a:alpha val="43137"/>
                              </a:srgbClr>
                            </a:outerShdw>
                          </a:effectLst>
                        </a:rPr>
                        <a:t>)</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10000"/>
                  </a:ext>
                </a:extLst>
              </a:tr>
              <a:tr h="1503322">
                <a:tc>
                  <a:txBody>
                    <a:bodyPr/>
                    <a:lstStyle/>
                    <a:p>
                      <a:pPr defTabSz="825500">
                        <a:lnSpc>
                          <a:spcPct val="10000"/>
                        </a:lnSpc>
                        <a:defRPr sz="1800">
                          <a:effectLst/>
                        </a:defRPr>
                      </a:pPr>
                      <a:r>
                        <a:rPr lang="en-US" sz="2400" b="1" dirty="0"/>
                        <a:t>2021</a:t>
                      </a:r>
                      <a:endParaRPr sz="2400" b="1" dirty="0"/>
                    </a:p>
                  </a:txBody>
                  <a:tcPr marL="9840" marR="9840" marT="9840" marB="984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defTabSz="825500">
                        <a:lnSpc>
                          <a:spcPct val="10000"/>
                        </a:lnSpc>
                        <a:defRPr sz="1800">
                          <a:effectLst/>
                        </a:defRPr>
                      </a:pPr>
                      <a:r>
                        <a:rPr lang="en-US" sz="2400" b="1" dirty="0"/>
                        <a:t>460.587</a:t>
                      </a:r>
                      <a:endParaRPr sz="2400" b="1" dirty="0"/>
                    </a:p>
                  </a:txBody>
                  <a:tcPr marL="9840" marR="9840" marT="9840" marB="984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defTabSz="825500">
                        <a:lnSpc>
                          <a:spcPct val="10000"/>
                        </a:lnSpc>
                        <a:defRPr sz="1800">
                          <a:effectLst/>
                        </a:defRPr>
                      </a:pPr>
                      <a:r>
                        <a:rPr lang="en-US" sz="2400" b="1" dirty="0"/>
                        <a:t>115.147</a:t>
                      </a:r>
                      <a:endParaRPr sz="2400" b="1" dirty="0"/>
                    </a:p>
                  </a:txBody>
                  <a:tcPr marL="9840" marR="9840" marT="9840" marB="984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defTabSz="825500">
                        <a:lnSpc>
                          <a:spcPct val="10000"/>
                        </a:lnSpc>
                        <a:defRPr sz="1800">
                          <a:effectLst/>
                        </a:defRPr>
                      </a:pPr>
                      <a:r>
                        <a:rPr lang="en-US" sz="2400" b="1" dirty="0"/>
                        <a:t>89.979</a:t>
                      </a:r>
                      <a:endParaRPr sz="2400" b="1" dirty="0"/>
                    </a:p>
                  </a:txBody>
                  <a:tcPr marL="9840" marR="9840" marT="9840" marB="984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pSp>
        <p:nvGrpSpPr>
          <p:cNvPr id="173" name="Group 172"/>
          <p:cNvGrpSpPr/>
          <p:nvPr/>
        </p:nvGrpSpPr>
        <p:grpSpPr>
          <a:xfrm>
            <a:off x="2675351" y="5343848"/>
            <a:ext cx="6953539" cy="2318233"/>
            <a:chOff x="2675351" y="6210035"/>
            <a:chExt cx="6953539" cy="2014731"/>
          </a:xfrm>
        </p:grpSpPr>
        <p:grpSp>
          <p:nvGrpSpPr>
            <p:cNvPr id="174" name="Group"/>
            <p:cNvGrpSpPr/>
            <p:nvPr/>
          </p:nvGrpSpPr>
          <p:grpSpPr>
            <a:xfrm>
              <a:off x="2675351" y="6657016"/>
              <a:ext cx="6953539" cy="1567750"/>
              <a:chOff x="-1" y="0"/>
              <a:chExt cx="6001041" cy="2228953"/>
            </a:xfrm>
          </p:grpSpPr>
          <p:grpSp>
            <p:nvGrpSpPr>
              <p:cNvPr id="176" name="Group"/>
              <p:cNvGrpSpPr/>
              <p:nvPr/>
            </p:nvGrpSpPr>
            <p:grpSpPr>
              <a:xfrm>
                <a:off x="2088173" y="0"/>
                <a:ext cx="3912867" cy="1030435"/>
                <a:chOff x="-1" y="0"/>
                <a:chExt cx="3912866" cy="1030434"/>
              </a:xfrm>
            </p:grpSpPr>
            <p:grpSp>
              <p:nvGrpSpPr>
                <p:cNvPr id="197" name="Rectangle: Rounded Corners 29"/>
                <p:cNvGrpSpPr/>
                <p:nvPr/>
              </p:nvGrpSpPr>
              <p:grpSpPr>
                <a:xfrm>
                  <a:off x="1108846" y="0"/>
                  <a:ext cx="2804019" cy="1030434"/>
                  <a:chOff x="1" y="0"/>
                  <a:chExt cx="2804018" cy="1030433"/>
                </a:xfrm>
              </p:grpSpPr>
              <p:sp>
                <p:nvSpPr>
                  <p:cNvPr id="212" name="Rounded Rectangle"/>
                  <p:cNvSpPr/>
                  <p:nvPr/>
                </p:nvSpPr>
                <p:spPr>
                  <a:xfrm>
                    <a:off x="1" y="0"/>
                    <a:ext cx="1697578" cy="1030433"/>
                  </a:xfrm>
                  <a:prstGeom prst="roundRect">
                    <a:avLst>
                      <a:gd name="adj" fmla="val 17206"/>
                    </a:avLst>
                  </a:prstGeom>
                  <a:ln/>
                </p:spPr>
                <p:style>
                  <a:lnRef idx="2">
                    <a:schemeClr val="dk1">
                      <a:shade val="50000"/>
                    </a:schemeClr>
                  </a:lnRef>
                  <a:fillRef idx="1">
                    <a:schemeClr val="dk1"/>
                  </a:fillRef>
                  <a:effectRef idx="0">
                    <a:schemeClr val="dk1"/>
                  </a:effectRef>
                  <a:fontRef idx="minor">
                    <a:schemeClr val="lt1"/>
                  </a:fontRef>
                </p:style>
                <p:txBody>
                  <a:bodyPr wrap="square" lIns="38100" tIns="38100" rIns="38100" bIns="38100" numCol="1" anchor="ctr">
                    <a:noAutofit/>
                  </a:bodyPr>
                  <a:lstStyle/>
                  <a:p>
                    <a:pPr algn="l">
                      <a:spcBef>
                        <a:spcPts val="1000"/>
                      </a:spcBef>
                      <a:defRPr sz="2700">
                        <a:solidFill>
                          <a:srgbClr val="000000"/>
                        </a:solidFill>
                        <a:effectLst/>
                      </a:defRPr>
                    </a:pPr>
                    <a:endParaRPr dirty="0"/>
                  </a:p>
                </p:txBody>
              </p:sp>
              <p:sp>
                <p:nvSpPr>
                  <p:cNvPr id="213" name="310,055 (₦’bn)"/>
                  <p:cNvSpPr/>
                  <p:nvPr/>
                </p:nvSpPr>
                <p:spPr>
                  <a:xfrm>
                    <a:off x="51926" y="268026"/>
                    <a:ext cx="2752093" cy="494377"/>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8" tIns="45718" rIns="45718" bIns="45718" numCol="1" anchor="ctr">
                    <a:spAutoFit/>
                  </a:bodyPr>
                  <a:lstStyle>
                    <a:lvl1pPr algn="l">
                      <a:spcBef>
                        <a:spcPts val="1000"/>
                      </a:spcBef>
                      <a:defRPr sz="2700">
                        <a:solidFill>
                          <a:srgbClr val="000000"/>
                        </a:solidFill>
                      </a:defRPr>
                    </a:lvl1pPr>
                  </a:lstStyle>
                  <a:p>
                    <a:pPr>
                      <a:defRPr>
                        <a:effectLst/>
                      </a:defRPr>
                    </a:pPr>
                    <a:r>
                      <a:rPr lang="en-US" sz="2000" dirty="0"/>
                      <a:t>42.632 </a:t>
                    </a:r>
                    <a:r>
                      <a:rPr sz="2000" dirty="0"/>
                      <a:t>(</a:t>
                    </a:r>
                    <a:r>
                      <a:rPr lang="en-GB" sz="2000" dirty="0"/>
                      <a:t>₦</a:t>
                    </a:r>
                    <a:r>
                      <a:rPr sz="2000" dirty="0"/>
                      <a:t>’</a:t>
                    </a:r>
                    <a:r>
                      <a:rPr lang="en-GB" sz="2000" dirty="0"/>
                      <a:t>BN</a:t>
                    </a:r>
                    <a:r>
                      <a:rPr sz="2000" dirty="0"/>
                      <a:t>)</a:t>
                    </a:r>
                  </a:p>
                </p:txBody>
              </p:sp>
            </p:grpSp>
            <p:grpSp>
              <p:nvGrpSpPr>
                <p:cNvPr id="198" name="Group"/>
                <p:cNvGrpSpPr/>
                <p:nvPr/>
              </p:nvGrpSpPr>
              <p:grpSpPr>
                <a:xfrm>
                  <a:off x="-1" y="10254"/>
                  <a:ext cx="1004617" cy="1009925"/>
                  <a:chOff x="0" y="0"/>
                  <a:chExt cx="1004615" cy="1009924"/>
                </a:xfrm>
              </p:grpSpPr>
              <p:sp>
                <p:nvSpPr>
                  <p:cNvPr id="199" name="Rectangle: Rounded Corners 28"/>
                  <p:cNvSpPr/>
                  <p:nvPr/>
                </p:nvSpPr>
                <p:spPr>
                  <a:xfrm>
                    <a:off x="0" y="0"/>
                    <a:ext cx="1004615" cy="1009924"/>
                  </a:xfrm>
                  <a:prstGeom prst="roundRect">
                    <a:avLst>
                      <a:gd name="adj" fmla="val 6667"/>
                    </a:avLst>
                  </a:prstGeom>
                  <a:solidFill>
                    <a:srgbClr val="00B050"/>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defTabSz="914400">
                      <a:defRPr sz="1800" b="0" cap="none">
                        <a:solidFill>
                          <a:srgbClr val="FFFFFF"/>
                        </a:solidFill>
                        <a:effectLst/>
                        <a:latin typeface="Calibri"/>
                        <a:ea typeface="Calibri"/>
                        <a:cs typeface="Calibri"/>
                        <a:sym typeface="Calibri"/>
                      </a:defRPr>
                    </a:pPr>
                    <a:endParaRPr dirty="0"/>
                  </a:p>
                </p:txBody>
              </p:sp>
              <p:sp>
                <p:nvSpPr>
                  <p:cNvPr id="200" name="Freeform: Shape 78"/>
                  <p:cNvSpPr/>
                  <p:nvPr/>
                </p:nvSpPr>
                <p:spPr>
                  <a:xfrm>
                    <a:off x="166672" y="544685"/>
                    <a:ext cx="178122" cy="156842"/>
                  </a:xfrm>
                  <a:custGeom>
                    <a:avLst/>
                    <a:gdLst/>
                    <a:ahLst/>
                    <a:cxnLst>
                      <a:cxn ang="0">
                        <a:pos x="wd2" y="hd2"/>
                      </a:cxn>
                      <a:cxn ang="5400000">
                        <a:pos x="wd2" y="hd2"/>
                      </a:cxn>
                      <a:cxn ang="10800000">
                        <a:pos x="wd2" y="hd2"/>
                      </a:cxn>
                      <a:cxn ang="16200000">
                        <a:pos x="wd2" y="hd2"/>
                      </a:cxn>
                    </a:cxnLst>
                    <a:rect l="0" t="0" r="r" b="b"/>
                    <a:pathLst>
                      <a:path w="21600" h="21600" extrusionOk="0">
                        <a:moveTo>
                          <a:pt x="19421" y="0"/>
                        </a:moveTo>
                        <a:lnTo>
                          <a:pt x="0" y="0"/>
                        </a:lnTo>
                        <a:cubicBezTo>
                          <a:pt x="956" y="7858"/>
                          <a:pt x="3651" y="15283"/>
                          <a:pt x="7856" y="21600"/>
                        </a:cubicBezTo>
                        <a:lnTo>
                          <a:pt x="21600" y="5992"/>
                        </a:lnTo>
                        <a:cubicBezTo>
                          <a:pt x="20644" y="4125"/>
                          <a:pt x="19899" y="2106"/>
                          <a:pt x="19421"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01" name="Freeform: Shape 79"/>
                  <p:cNvSpPr/>
                  <p:nvPr/>
                </p:nvSpPr>
                <p:spPr>
                  <a:xfrm>
                    <a:off x="297661" y="654393"/>
                    <a:ext cx="157631" cy="178281"/>
                  </a:xfrm>
                  <a:custGeom>
                    <a:avLst/>
                    <a:gdLst/>
                    <a:ahLst/>
                    <a:cxnLst>
                      <a:cxn ang="0">
                        <a:pos x="wd2" y="hd2"/>
                      </a:cxn>
                      <a:cxn ang="5400000">
                        <a:pos x="wd2" y="hd2"/>
                      </a:cxn>
                      <a:cxn ang="10800000">
                        <a:pos x="wd2" y="hd2"/>
                      </a:cxn>
                      <a:cxn ang="16200000">
                        <a:pos x="wd2" y="hd2"/>
                      </a:cxn>
                    </a:cxnLst>
                    <a:rect l="0" t="0" r="r" b="b"/>
                    <a:pathLst>
                      <a:path w="21600" h="21600" extrusionOk="0">
                        <a:moveTo>
                          <a:pt x="15509" y="0"/>
                        </a:moveTo>
                        <a:lnTo>
                          <a:pt x="0" y="13732"/>
                        </a:lnTo>
                        <a:cubicBezTo>
                          <a:pt x="6307" y="17952"/>
                          <a:pt x="13738" y="20664"/>
                          <a:pt x="21600" y="21600"/>
                        </a:cubicBezTo>
                        <a:lnTo>
                          <a:pt x="21600" y="2196"/>
                        </a:lnTo>
                        <a:cubicBezTo>
                          <a:pt x="19462" y="1700"/>
                          <a:pt x="17431" y="974"/>
                          <a:pt x="15509"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02" name="Freeform: Shape 80"/>
                  <p:cNvSpPr/>
                  <p:nvPr/>
                </p:nvSpPr>
                <p:spPr>
                  <a:xfrm>
                    <a:off x="548133" y="164956"/>
                    <a:ext cx="286887" cy="287044"/>
                  </a:xfrm>
                  <a:custGeom>
                    <a:avLst/>
                    <a:gdLst/>
                    <a:ahLst/>
                    <a:cxnLst>
                      <a:cxn ang="0">
                        <a:pos x="wd2" y="hd2"/>
                      </a:cxn>
                      <a:cxn ang="5400000">
                        <a:pos x="wd2" y="hd2"/>
                      </a:cxn>
                      <a:cxn ang="10800000">
                        <a:pos x="wd2" y="hd2"/>
                      </a:cxn>
                      <a:cxn ang="16200000">
                        <a:pos x="wd2" y="hd2"/>
                      </a:cxn>
                    </a:cxnLst>
                    <a:rect l="0" t="0" r="r" b="b"/>
                    <a:pathLst>
                      <a:path w="21600" h="21600" extrusionOk="0">
                        <a:moveTo>
                          <a:pt x="83" y="0"/>
                        </a:moveTo>
                        <a:cubicBezTo>
                          <a:pt x="47" y="4413"/>
                          <a:pt x="12" y="10094"/>
                          <a:pt x="0" y="12075"/>
                        </a:cubicBezTo>
                        <a:cubicBezTo>
                          <a:pt x="4640" y="13332"/>
                          <a:pt x="8260" y="16962"/>
                          <a:pt x="9506" y="21600"/>
                        </a:cubicBezTo>
                        <a:lnTo>
                          <a:pt x="21600" y="21576"/>
                        </a:lnTo>
                        <a:cubicBezTo>
                          <a:pt x="20010" y="10415"/>
                          <a:pt x="11251" y="1625"/>
                          <a:pt x="83"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03" name="Freeform: Shape 81"/>
                  <p:cNvSpPr/>
                  <p:nvPr/>
                </p:nvSpPr>
                <p:spPr>
                  <a:xfrm>
                    <a:off x="350152" y="180718"/>
                    <a:ext cx="104036" cy="119800"/>
                  </a:xfrm>
                  <a:custGeom>
                    <a:avLst/>
                    <a:gdLst/>
                    <a:ahLst/>
                    <a:cxnLst>
                      <a:cxn ang="0">
                        <a:pos x="wd2" y="hd2"/>
                      </a:cxn>
                      <a:cxn ang="5400000">
                        <a:pos x="wd2" y="hd2"/>
                      </a:cxn>
                      <a:cxn ang="10800000">
                        <a:pos x="wd2" y="hd2"/>
                      </a:cxn>
                      <a:cxn ang="16200000">
                        <a:pos x="wd2" y="hd2"/>
                      </a:cxn>
                    </a:cxnLst>
                    <a:rect l="0" t="0" r="r" b="b"/>
                    <a:pathLst>
                      <a:path w="21600" h="21600" extrusionOk="0">
                        <a:moveTo>
                          <a:pt x="7789" y="0"/>
                        </a:moveTo>
                        <a:cubicBezTo>
                          <a:pt x="5138" y="824"/>
                          <a:pt x="2520" y="1791"/>
                          <a:pt x="0" y="2899"/>
                        </a:cubicBezTo>
                        <a:lnTo>
                          <a:pt x="21535" y="21600"/>
                        </a:lnTo>
                        <a:lnTo>
                          <a:pt x="21600" y="11994"/>
                        </a:lnTo>
                        <a:lnTo>
                          <a:pt x="7789"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04" name="Freeform: Shape 82"/>
                  <p:cNvSpPr/>
                  <p:nvPr/>
                </p:nvSpPr>
                <p:spPr>
                  <a:xfrm>
                    <a:off x="295297" y="209408"/>
                    <a:ext cx="149749" cy="134774"/>
                  </a:xfrm>
                  <a:custGeom>
                    <a:avLst/>
                    <a:gdLst/>
                    <a:ahLst/>
                    <a:cxnLst>
                      <a:cxn ang="0">
                        <a:pos x="wd2" y="hd2"/>
                      </a:cxn>
                      <a:cxn ang="5400000">
                        <a:pos x="wd2" y="hd2"/>
                      </a:cxn>
                      <a:cxn ang="10800000">
                        <a:pos x="wd2" y="hd2"/>
                      </a:cxn>
                      <a:cxn ang="16200000">
                        <a:pos x="wd2" y="hd2"/>
                      </a:cxn>
                    </a:cxnLst>
                    <a:rect l="0" t="0" r="r" b="b"/>
                    <a:pathLst>
                      <a:path w="21600" h="21600" extrusionOk="0">
                        <a:moveTo>
                          <a:pt x="4593" y="0"/>
                        </a:moveTo>
                        <a:cubicBezTo>
                          <a:pt x="3001" y="1061"/>
                          <a:pt x="1478" y="2223"/>
                          <a:pt x="0" y="3486"/>
                        </a:cubicBezTo>
                        <a:lnTo>
                          <a:pt x="16302" y="21600"/>
                        </a:lnTo>
                        <a:cubicBezTo>
                          <a:pt x="17985" y="20488"/>
                          <a:pt x="19758" y="19579"/>
                          <a:pt x="21600" y="18897"/>
                        </a:cubicBezTo>
                        <a:lnTo>
                          <a:pt x="4593"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05" name="Freeform: Shape 83"/>
                  <p:cNvSpPr/>
                  <p:nvPr/>
                </p:nvSpPr>
                <p:spPr>
                  <a:xfrm>
                    <a:off x="414937" y="164482"/>
                    <a:ext cx="39567" cy="47291"/>
                  </a:xfrm>
                  <a:custGeom>
                    <a:avLst/>
                    <a:gdLst/>
                    <a:ahLst/>
                    <a:cxnLst>
                      <a:cxn ang="0">
                        <a:pos x="wd2" y="hd2"/>
                      </a:cxn>
                      <a:cxn ang="5400000">
                        <a:pos x="wd2" y="hd2"/>
                      </a:cxn>
                      <a:cxn ang="10800000">
                        <a:pos x="wd2" y="hd2"/>
                      </a:cxn>
                      <a:cxn ang="16200000">
                        <a:pos x="wd2" y="hd2"/>
                      </a:cxn>
                    </a:cxnLst>
                    <a:rect l="0" t="0" r="r" b="b"/>
                    <a:pathLst>
                      <a:path w="21600" h="21600" extrusionOk="0">
                        <a:moveTo>
                          <a:pt x="0" y="3600"/>
                        </a:moveTo>
                        <a:lnTo>
                          <a:pt x="21514" y="21600"/>
                        </a:lnTo>
                        <a:lnTo>
                          <a:pt x="21600" y="0"/>
                        </a:lnTo>
                        <a:cubicBezTo>
                          <a:pt x="14285" y="864"/>
                          <a:pt x="7143" y="2016"/>
                          <a:pt x="0" y="360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06" name="Freeform: Shape 84"/>
                  <p:cNvSpPr/>
                  <p:nvPr/>
                </p:nvSpPr>
                <p:spPr>
                  <a:xfrm>
                    <a:off x="249270" y="247396"/>
                    <a:ext cx="138400" cy="138401"/>
                  </a:xfrm>
                  <a:custGeom>
                    <a:avLst/>
                    <a:gdLst/>
                    <a:ahLst/>
                    <a:cxnLst>
                      <a:cxn ang="0">
                        <a:pos x="wd2" y="hd2"/>
                      </a:cxn>
                      <a:cxn ang="5400000">
                        <a:pos x="wd2" y="hd2"/>
                      </a:cxn>
                      <a:cxn ang="10800000">
                        <a:pos x="wd2" y="hd2"/>
                      </a:cxn>
                      <a:cxn ang="16200000">
                        <a:pos x="wd2" y="hd2"/>
                      </a:cxn>
                    </a:cxnLst>
                    <a:rect l="0" t="0" r="r" b="b"/>
                    <a:pathLst>
                      <a:path w="21600" h="21600" extrusionOk="0">
                        <a:moveTo>
                          <a:pt x="4182" y="0"/>
                        </a:moveTo>
                        <a:cubicBezTo>
                          <a:pt x="3469" y="640"/>
                          <a:pt x="2755" y="1304"/>
                          <a:pt x="2067" y="1993"/>
                        </a:cubicBezTo>
                        <a:cubicBezTo>
                          <a:pt x="1353" y="2706"/>
                          <a:pt x="664" y="3444"/>
                          <a:pt x="0" y="4182"/>
                        </a:cubicBezTo>
                        <a:lnTo>
                          <a:pt x="17418" y="21600"/>
                        </a:lnTo>
                        <a:cubicBezTo>
                          <a:pt x="18672" y="20075"/>
                          <a:pt x="20050" y="18672"/>
                          <a:pt x="21600" y="17418"/>
                        </a:cubicBezTo>
                        <a:lnTo>
                          <a:pt x="4182"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07" name="Freeform: Shape 85"/>
                  <p:cNvSpPr/>
                  <p:nvPr/>
                </p:nvSpPr>
                <p:spPr>
                  <a:xfrm>
                    <a:off x="166830" y="413063"/>
                    <a:ext cx="44611" cy="37045"/>
                  </a:xfrm>
                  <a:custGeom>
                    <a:avLst/>
                    <a:gdLst/>
                    <a:ahLst/>
                    <a:cxnLst>
                      <a:cxn ang="0">
                        <a:pos x="wd2" y="hd2"/>
                      </a:cxn>
                      <a:cxn ang="5400000">
                        <a:pos x="wd2" y="hd2"/>
                      </a:cxn>
                      <a:cxn ang="10800000">
                        <a:pos x="wd2" y="hd2"/>
                      </a:cxn>
                      <a:cxn ang="16200000">
                        <a:pos x="wd2" y="hd2"/>
                      </a:cxn>
                    </a:cxnLst>
                    <a:rect l="0" t="0" r="r" b="b"/>
                    <a:pathLst>
                      <a:path w="21600" h="21600" extrusionOk="0">
                        <a:moveTo>
                          <a:pt x="3664" y="0"/>
                        </a:moveTo>
                        <a:cubicBezTo>
                          <a:pt x="2137" y="7077"/>
                          <a:pt x="916" y="14339"/>
                          <a:pt x="0" y="21600"/>
                        </a:cubicBezTo>
                        <a:lnTo>
                          <a:pt x="21600" y="21600"/>
                        </a:lnTo>
                        <a:lnTo>
                          <a:pt x="3664"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08" name="Freeform: Shape 86"/>
                  <p:cNvSpPr/>
                  <p:nvPr/>
                </p:nvSpPr>
                <p:spPr>
                  <a:xfrm>
                    <a:off x="182908" y="348436"/>
                    <a:ext cx="117751" cy="101673"/>
                  </a:xfrm>
                  <a:custGeom>
                    <a:avLst/>
                    <a:gdLst/>
                    <a:ahLst/>
                    <a:cxnLst>
                      <a:cxn ang="0">
                        <a:pos x="wd2" y="hd2"/>
                      </a:cxn>
                      <a:cxn ang="5400000">
                        <a:pos x="wd2" y="hd2"/>
                      </a:cxn>
                      <a:cxn ang="10800000">
                        <a:pos x="wd2" y="hd2"/>
                      </a:cxn>
                      <a:cxn ang="16200000">
                        <a:pos x="wd2" y="hd2"/>
                      </a:cxn>
                    </a:cxnLst>
                    <a:rect l="0" t="0" r="r" b="b"/>
                    <a:pathLst>
                      <a:path w="21600" h="21600" extrusionOk="0">
                        <a:moveTo>
                          <a:pt x="2920" y="0"/>
                        </a:moveTo>
                        <a:cubicBezTo>
                          <a:pt x="1793" y="2579"/>
                          <a:pt x="839" y="5224"/>
                          <a:pt x="0" y="7937"/>
                        </a:cubicBezTo>
                        <a:lnTo>
                          <a:pt x="11798" y="21600"/>
                        </a:lnTo>
                        <a:lnTo>
                          <a:pt x="21600" y="21600"/>
                        </a:lnTo>
                        <a:lnTo>
                          <a:pt x="2920"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09" name="Freeform: Shape 87"/>
                  <p:cNvSpPr/>
                  <p:nvPr/>
                </p:nvSpPr>
                <p:spPr>
                  <a:xfrm>
                    <a:off x="211596" y="293739"/>
                    <a:ext cx="134617" cy="149750"/>
                  </a:xfrm>
                  <a:custGeom>
                    <a:avLst/>
                    <a:gdLst/>
                    <a:ahLst/>
                    <a:cxnLst>
                      <a:cxn ang="0">
                        <a:pos x="wd2" y="hd2"/>
                      </a:cxn>
                      <a:cxn ang="5400000">
                        <a:pos x="wd2" y="hd2"/>
                      </a:cxn>
                      <a:cxn ang="10800000">
                        <a:pos x="wd2" y="hd2"/>
                      </a:cxn>
                      <a:cxn ang="16200000">
                        <a:pos x="wd2" y="hd2"/>
                      </a:cxn>
                    </a:cxnLst>
                    <a:rect l="0" t="0" r="r" b="b"/>
                    <a:pathLst>
                      <a:path w="21600" h="21600" extrusionOk="0">
                        <a:moveTo>
                          <a:pt x="3465" y="0"/>
                        </a:moveTo>
                        <a:cubicBezTo>
                          <a:pt x="2200" y="1478"/>
                          <a:pt x="1062" y="3001"/>
                          <a:pt x="0" y="4593"/>
                        </a:cubicBezTo>
                        <a:lnTo>
                          <a:pt x="18919" y="21600"/>
                        </a:lnTo>
                        <a:cubicBezTo>
                          <a:pt x="19577" y="19736"/>
                          <a:pt x="20487" y="17962"/>
                          <a:pt x="21600" y="16302"/>
                        </a:cubicBezTo>
                        <a:lnTo>
                          <a:pt x="3465"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10" name="Freeform: Shape 88"/>
                  <p:cNvSpPr/>
                  <p:nvPr/>
                </p:nvSpPr>
                <p:spPr>
                  <a:xfrm>
                    <a:off x="622376" y="591869"/>
                    <a:ext cx="174969" cy="33313"/>
                  </a:xfrm>
                  <a:prstGeom prst="rect">
                    <a:avLst/>
                  </a:pr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11" name="Freeform: Shape 89"/>
                  <p:cNvSpPr/>
                  <p:nvPr/>
                </p:nvSpPr>
                <p:spPr>
                  <a:xfrm>
                    <a:off x="578240" y="554141"/>
                    <a:ext cx="261666" cy="291615"/>
                  </a:xfrm>
                  <a:custGeom>
                    <a:avLst/>
                    <a:gdLst/>
                    <a:ahLst/>
                    <a:cxnLst>
                      <a:cxn ang="0">
                        <a:pos x="wd2" y="hd2"/>
                      </a:cxn>
                      <a:cxn ang="5400000">
                        <a:pos x="wd2" y="hd2"/>
                      </a:cxn>
                      <a:cxn ang="10800000">
                        <a:pos x="wd2" y="hd2"/>
                      </a:cxn>
                      <a:cxn ang="16200000">
                        <a:pos x="wd2" y="hd2"/>
                      </a:cxn>
                    </a:cxnLst>
                    <a:rect l="0" t="0" r="r" b="b"/>
                    <a:pathLst>
                      <a:path w="21600" h="21600" extrusionOk="0">
                        <a:moveTo>
                          <a:pt x="18737" y="0"/>
                        </a:moveTo>
                        <a:lnTo>
                          <a:pt x="2863" y="0"/>
                        </a:lnTo>
                        <a:cubicBezTo>
                          <a:pt x="1275" y="0"/>
                          <a:pt x="0" y="1144"/>
                          <a:pt x="0" y="2569"/>
                        </a:cubicBezTo>
                        <a:lnTo>
                          <a:pt x="0" y="19031"/>
                        </a:lnTo>
                        <a:cubicBezTo>
                          <a:pt x="0" y="20456"/>
                          <a:pt x="1275" y="21600"/>
                          <a:pt x="2863" y="21600"/>
                        </a:cubicBezTo>
                        <a:lnTo>
                          <a:pt x="18737" y="21600"/>
                        </a:lnTo>
                        <a:cubicBezTo>
                          <a:pt x="20325" y="21600"/>
                          <a:pt x="21600" y="20456"/>
                          <a:pt x="21600" y="19031"/>
                        </a:cubicBezTo>
                        <a:lnTo>
                          <a:pt x="21600" y="2569"/>
                        </a:lnTo>
                        <a:cubicBezTo>
                          <a:pt x="21600" y="1144"/>
                          <a:pt x="20325" y="0"/>
                          <a:pt x="18737" y="0"/>
                        </a:cubicBezTo>
                        <a:close/>
                        <a:moveTo>
                          <a:pt x="5595" y="19849"/>
                        </a:moveTo>
                        <a:lnTo>
                          <a:pt x="2537" y="19849"/>
                        </a:lnTo>
                        <a:cubicBezTo>
                          <a:pt x="1965" y="19849"/>
                          <a:pt x="1496" y="19428"/>
                          <a:pt x="1496" y="18915"/>
                        </a:cubicBezTo>
                        <a:cubicBezTo>
                          <a:pt x="1496" y="18401"/>
                          <a:pt x="1965" y="17981"/>
                          <a:pt x="2537" y="17981"/>
                        </a:cubicBezTo>
                        <a:lnTo>
                          <a:pt x="5595" y="17981"/>
                        </a:lnTo>
                        <a:cubicBezTo>
                          <a:pt x="6168" y="17981"/>
                          <a:pt x="6636" y="18401"/>
                          <a:pt x="6636" y="18915"/>
                        </a:cubicBezTo>
                        <a:cubicBezTo>
                          <a:pt x="6636" y="19428"/>
                          <a:pt x="6181" y="19849"/>
                          <a:pt x="5595" y="19849"/>
                        </a:cubicBezTo>
                        <a:close/>
                        <a:moveTo>
                          <a:pt x="5595" y="15178"/>
                        </a:moveTo>
                        <a:lnTo>
                          <a:pt x="2537" y="15178"/>
                        </a:lnTo>
                        <a:cubicBezTo>
                          <a:pt x="1965" y="15178"/>
                          <a:pt x="1496" y="14758"/>
                          <a:pt x="1496" y="14244"/>
                        </a:cubicBezTo>
                        <a:cubicBezTo>
                          <a:pt x="1496" y="13731"/>
                          <a:pt x="1965" y="13310"/>
                          <a:pt x="2537" y="13310"/>
                        </a:cubicBezTo>
                        <a:lnTo>
                          <a:pt x="5595" y="13310"/>
                        </a:lnTo>
                        <a:cubicBezTo>
                          <a:pt x="6168" y="13310"/>
                          <a:pt x="6636" y="13731"/>
                          <a:pt x="6636" y="14244"/>
                        </a:cubicBezTo>
                        <a:cubicBezTo>
                          <a:pt x="6636" y="14758"/>
                          <a:pt x="6181" y="15178"/>
                          <a:pt x="5595" y="15178"/>
                        </a:cubicBezTo>
                        <a:close/>
                        <a:moveTo>
                          <a:pt x="5595" y="10391"/>
                        </a:moveTo>
                        <a:lnTo>
                          <a:pt x="2537" y="10391"/>
                        </a:lnTo>
                        <a:cubicBezTo>
                          <a:pt x="1965" y="10391"/>
                          <a:pt x="1496" y="9971"/>
                          <a:pt x="1496" y="9457"/>
                        </a:cubicBezTo>
                        <a:cubicBezTo>
                          <a:pt x="1496" y="8944"/>
                          <a:pt x="1965" y="8523"/>
                          <a:pt x="2537" y="8523"/>
                        </a:cubicBezTo>
                        <a:lnTo>
                          <a:pt x="5595" y="8523"/>
                        </a:lnTo>
                        <a:cubicBezTo>
                          <a:pt x="6168" y="8523"/>
                          <a:pt x="6636" y="8944"/>
                          <a:pt x="6636" y="9457"/>
                        </a:cubicBezTo>
                        <a:cubicBezTo>
                          <a:pt x="6636" y="9971"/>
                          <a:pt x="6181" y="10391"/>
                          <a:pt x="5595" y="10391"/>
                        </a:cubicBezTo>
                        <a:close/>
                        <a:moveTo>
                          <a:pt x="12309" y="19849"/>
                        </a:moveTo>
                        <a:lnTo>
                          <a:pt x="9252" y="19849"/>
                        </a:lnTo>
                        <a:cubicBezTo>
                          <a:pt x="8679" y="19849"/>
                          <a:pt x="8211" y="19428"/>
                          <a:pt x="8211" y="18915"/>
                        </a:cubicBezTo>
                        <a:cubicBezTo>
                          <a:pt x="8211" y="18401"/>
                          <a:pt x="8679" y="17981"/>
                          <a:pt x="9252" y="17981"/>
                        </a:cubicBezTo>
                        <a:lnTo>
                          <a:pt x="12309" y="17981"/>
                        </a:lnTo>
                        <a:cubicBezTo>
                          <a:pt x="12882" y="17981"/>
                          <a:pt x="13350" y="18401"/>
                          <a:pt x="13350" y="18915"/>
                        </a:cubicBezTo>
                        <a:cubicBezTo>
                          <a:pt x="13350" y="19428"/>
                          <a:pt x="12882" y="19849"/>
                          <a:pt x="12309" y="19849"/>
                        </a:cubicBezTo>
                        <a:close/>
                        <a:moveTo>
                          <a:pt x="12309" y="15178"/>
                        </a:moveTo>
                        <a:lnTo>
                          <a:pt x="9252" y="15178"/>
                        </a:lnTo>
                        <a:cubicBezTo>
                          <a:pt x="8679" y="15178"/>
                          <a:pt x="8211" y="14758"/>
                          <a:pt x="8211" y="14244"/>
                        </a:cubicBezTo>
                        <a:cubicBezTo>
                          <a:pt x="8211" y="13731"/>
                          <a:pt x="8679" y="13310"/>
                          <a:pt x="9252" y="13310"/>
                        </a:cubicBezTo>
                        <a:lnTo>
                          <a:pt x="12309" y="13310"/>
                        </a:lnTo>
                        <a:cubicBezTo>
                          <a:pt x="12882" y="13310"/>
                          <a:pt x="13350" y="13731"/>
                          <a:pt x="13350" y="14244"/>
                        </a:cubicBezTo>
                        <a:cubicBezTo>
                          <a:pt x="13350" y="14758"/>
                          <a:pt x="12882" y="15178"/>
                          <a:pt x="12309" y="15178"/>
                        </a:cubicBezTo>
                        <a:close/>
                        <a:moveTo>
                          <a:pt x="12309" y="10391"/>
                        </a:moveTo>
                        <a:lnTo>
                          <a:pt x="9252" y="10391"/>
                        </a:lnTo>
                        <a:cubicBezTo>
                          <a:pt x="8679" y="10391"/>
                          <a:pt x="8211" y="9971"/>
                          <a:pt x="8211" y="9457"/>
                        </a:cubicBezTo>
                        <a:cubicBezTo>
                          <a:pt x="8211" y="8944"/>
                          <a:pt x="8679" y="8523"/>
                          <a:pt x="9252" y="8523"/>
                        </a:cubicBezTo>
                        <a:lnTo>
                          <a:pt x="12309" y="8523"/>
                        </a:lnTo>
                        <a:cubicBezTo>
                          <a:pt x="12882" y="8523"/>
                          <a:pt x="13350" y="8944"/>
                          <a:pt x="13350" y="9457"/>
                        </a:cubicBezTo>
                        <a:cubicBezTo>
                          <a:pt x="13350" y="9971"/>
                          <a:pt x="12882" y="10391"/>
                          <a:pt x="12309" y="10391"/>
                        </a:cubicBezTo>
                        <a:close/>
                        <a:moveTo>
                          <a:pt x="19037" y="19849"/>
                        </a:moveTo>
                        <a:lnTo>
                          <a:pt x="15979" y="19849"/>
                        </a:lnTo>
                        <a:cubicBezTo>
                          <a:pt x="15406" y="19849"/>
                          <a:pt x="14938" y="19428"/>
                          <a:pt x="14938" y="18915"/>
                        </a:cubicBezTo>
                        <a:cubicBezTo>
                          <a:pt x="14938" y="18401"/>
                          <a:pt x="15406" y="17981"/>
                          <a:pt x="15979" y="17981"/>
                        </a:cubicBezTo>
                        <a:lnTo>
                          <a:pt x="19037" y="17981"/>
                        </a:lnTo>
                        <a:cubicBezTo>
                          <a:pt x="19609" y="17981"/>
                          <a:pt x="20078" y="18401"/>
                          <a:pt x="20078" y="18915"/>
                        </a:cubicBezTo>
                        <a:cubicBezTo>
                          <a:pt x="20078" y="19428"/>
                          <a:pt x="19609" y="19849"/>
                          <a:pt x="19037" y="19849"/>
                        </a:cubicBezTo>
                        <a:close/>
                        <a:moveTo>
                          <a:pt x="19037" y="15178"/>
                        </a:moveTo>
                        <a:lnTo>
                          <a:pt x="15979" y="15178"/>
                        </a:lnTo>
                        <a:cubicBezTo>
                          <a:pt x="15406" y="15178"/>
                          <a:pt x="14938" y="14758"/>
                          <a:pt x="14938" y="14244"/>
                        </a:cubicBezTo>
                        <a:cubicBezTo>
                          <a:pt x="14938" y="13731"/>
                          <a:pt x="15406" y="13310"/>
                          <a:pt x="15979" y="13310"/>
                        </a:cubicBezTo>
                        <a:lnTo>
                          <a:pt x="19037" y="13310"/>
                        </a:lnTo>
                        <a:cubicBezTo>
                          <a:pt x="19609" y="13310"/>
                          <a:pt x="20078" y="13731"/>
                          <a:pt x="20078" y="14244"/>
                        </a:cubicBezTo>
                        <a:cubicBezTo>
                          <a:pt x="20078" y="14758"/>
                          <a:pt x="19609" y="15178"/>
                          <a:pt x="19037" y="15178"/>
                        </a:cubicBezTo>
                        <a:close/>
                        <a:moveTo>
                          <a:pt x="19037" y="10391"/>
                        </a:moveTo>
                        <a:lnTo>
                          <a:pt x="15979" y="10391"/>
                        </a:lnTo>
                        <a:cubicBezTo>
                          <a:pt x="15406" y="10391"/>
                          <a:pt x="14938" y="9971"/>
                          <a:pt x="14938" y="9457"/>
                        </a:cubicBezTo>
                        <a:cubicBezTo>
                          <a:pt x="14938" y="8944"/>
                          <a:pt x="15406" y="8523"/>
                          <a:pt x="15979" y="8523"/>
                        </a:cubicBezTo>
                        <a:lnTo>
                          <a:pt x="19037" y="8523"/>
                        </a:lnTo>
                        <a:cubicBezTo>
                          <a:pt x="19609" y="8523"/>
                          <a:pt x="20078" y="8944"/>
                          <a:pt x="20078" y="9457"/>
                        </a:cubicBezTo>
                        <a:cubicBezTo>
                          <a:pt x="20078" y="9971"/>
                          <a:pt x="19609" y="10391"/>
                          <a:pt x="19037" y="10391"/>
                        </a:cubicBezTo>
                        <a:close/>
                        <a:moveTo>
                          <a:pt x="20169" y="5838"/>
                        </a:moveTo>
                        <a:cubicBezTo>
                          <a:pt x="20169" y="6352"/>
                          <a:pt x="19700" y="6772"/>
                          <a:pt x="19128" y="6772"/>
                        </a:cubicBezTo>
                        <a:lnTo>
                          <a:pt x="2602" y="6772"/>
                        </a:lnTo>
                        <a:cubicBezTo>
                          <a:pt x="2030" y="6772"/>
                          <a:pt x="1561" y="6352"/>
                          <a:pt x="1561" y="5838"/>
                        </a:cubicBezTo>
                        <a:lnTo>
                          <a:pt x="1561" y="2218"/>
                        </a:lnTo>
                        <a:cubicBezTo>
                          <a:pt x="1561" y="1705"/>
                          <a:pt x="2030" y="1284"/>
                          <a:pt x="2602" y="1284"/>
                        </a:cubicBezTo>
                        <a:lnTo>
                          <a:pt x="19128" y="1284"/>
                        </a:lnTo>
                        <a:cubicBezTo>
                          <a:pt x="19700" y="1284"/>
                          <a:pt x="20169" y="1705"/>
                          <a:pt x="20169" y="2218"/>
                        </a:cubicBezTo>
                        <a:lnTo>
                          <a:pt x="20169" y="5838"/>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grpSp>
          </p:grpSp>
          <p:grpSp>
            <p:nvGrpSpPr>
              <p:cNvPr id="177" name="Group"/>
              <p:cNvGrpSpPr/>
              <p:nvPr/>
            </p:nvGrpSpPr>
            <p:grpSpPr>
              <a:xfrm>
                <a:off x="2088173" y="1198518"/>
                <a:ext cx="3694192" cy="1030435"/>
                <a:chOff x="-1" y="0"/>
                <a:chExt cx="3694191" cy="1030434"/>
              </a:xfrm>
            </p:grpSpPr>
            <p:grpSp>
              <p:nvGrpSpPr>
                <p:cNvPr id="180" name="Rectangle: Rounded Corners 29"/>
                <p:cNvGrpSpPr/>
                <p:nvPr/>
              </p:nvGrpSpPr>
              <p:grpSpPr>
                <a:xfrm>
                  <a:off x="1108844" y="0"/>
                  <a:ext cx="2585346" cy="1030434"/>
                  <a:chOff x="-1" y="0"/>
                  <a:chExt cx="2585345" cy="1030433"/>
                </a:xfrm>
              </p:grpSpPr>
              <p:sp>
                <p:nvSpPr>
                  <p:cNvPr id="195" name="Rounded Rectangle"/>
                  <p:cNvSpPr/>
                  <p:nvPr/>
                </p:nvSpPr>
                <p:spPr>
                  <a:xfrm>
                    <a:off x="-1" y="0"/>
                    <a:ext cx="1697579" cy="1030433"/>
                  </a:xfrm>
                  <a:prstGeom prst="roundRect">
                    <a:avLst>
                      <a:gd name="adj" fmla="val 17206"/>
                    </a:avLst>
                  </a:prstGeom>
                  <a:solidFill>
                    <a:srgbClr val="22C00F"/>
                  </a:solidFill>
                  <a:ln/>
                </p:spPr>
                <p:style>
                  <a:lnRef idx="1">
                    <a:schemeClr val="accent5"/>
                  </a:lnRef>
                  <a:fillRef idx="3">
                    <a:schemeClr val="accent5"/>
                  </a:fillRef>
                  <a:effectRef idx="2">
                    <a:schemeClr val="accent5"/>
                  </a:effectRef>
                  <a:fontRef idx="minor">
                    <a:schemeClr val="lt1"/>
                  </a:fontRef>
                </p:style>
                <p:txBody>
                  <a:bodyPr wrap="square" lIns="38100" tIns="38100" rIns="38100" bIns="38100" numCol="1" anchor="ctr">
                    <a:noAutofit/>
                  </a:bodyPr>
                  <a:lstStyle/>
                  <a:p>
                    <a:pPr algn="l">
                      <a:spcBef>
                        <a:spcPts val="1000"/>
                      </a:spcBef>
                      <a:defRPr sz="2700">
                        <a:solidFill>
                          <a:srgbClr val="000000"/>
                        </a:solidFill>
                        <a:effectLst/>
                      </a:defRPr>
                    </a:pPr>
                    <a:r>
                      <a:rPr lang="en-GB" sz="2000" dirty="0">
                        <a:solidFill>
                          <a:srgbClr val="000000"/>
                        </a:solidFill>
                      </a:rPr>
                      <a:t>37.432</a:t>
                    </a:r>
                    <a:r>
                      <a:rPr lang="en-GB" sz="2000" dirty="0"/>
                      <a:t> (₦’BN)</a:t>
                    </a:r>
                    <a:endParaRPr sz="2000" dirty="0"/>
                  </a:p>
                </p:txBody>
              </p:sp>
              <p:sp>
                <p:nvSpPr>
                  <p:cNvPr id="196" name="Text"/>
                  <p:cNvSpPr/>
                  <p:nvPr/>
                </p:nvSpPr>
                <p:spPr>
                  <a:xfrm>
                    <a:off x="51927" y="515215"/>
                    <a:ext cx="2533417" cy="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45718" tIns="45718" rIns="45718" bIns="45718" numCol="1" anchor="ctr">
                    <a:spAutoFit/>
                  </a:bodyPr>
                  <a:lstStyle/>
                  <a:p>
                    <a:pPr algn="l">
                      <a:spcBef>
                        <a:spcPts val="1000"/>
                      </a:spcBef>
                      <a:defRPr sz="2700">
                        <a:solidFill>
                          <a:srgbClr val="000000"/>
                        </a:solidFill>
                        <a:effectLst/>
                      </a:defRPr>
                    </a:pPr>
                    <a:endParaRPr dirty="0"/>
                  </a:p>
                </p:txBody>
              </p:sp>
            </p:grpSp>
            <p:grpSp>
              <p:nvGrpSpPr>
                <p:cNvPr id="181" name="Group"/>
                <p:cNvGrpSpPr/>
                <p:nvPr/>
              </p:nvGrpSpPr>
              <p:grpSpPr>
                <a:xfrm>
                  <a:off x="-1" y="10255"/>
                  <a:ext cx="1004617" cy="1009925"/>
                  <a:chOff x="0" y="0"/>
                  <a:chExt cx="1004615" cy="1009924"/>
                </a:xfrm>
              </p:grpSpPr>
              <p:sp>
                <p:nvSpPr>
                  <p:cNvPr id="182" name="Rectangle: Rounded Corners 28"/>
                  <p:cNvSpPr/>
                  <p:nvPr/>
                </p:nvSpPr>
                <p:spPr>
                  <a:xfrm>
                    <a:off x="0" y="0"/>
                    <a:ext cx="1004615" cy="1009924"/>
                  </a:xfrm>
                  <a:prstGeom prst="roundRect">
                    <a:avLst>
                      <a:gd name="adj" fmla="val 6667"/>
                    </a:avLst>
                  </a:prstGeom>
                  <a:solidFill>
                    <a:srgbClr val="8A6705"/>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defTabSz="914400">
                      <a:defRPr sz="1800" b="0" cap="none">
                        <a:solidFill>
                          <a:srgbClr val="FFFFFF"/>
                        </a:solidFill>
                        <a:effectLst/>
                        <a:latin typeface="Calibri"/>
                        <a:ea typeface="Calibri"/>
                        <a:cs typeface="Calibri"/>
                        <a:sym typeface="Calibri"/>
                      </a:defRPr>
                    </a:pPr>
                    <a:endParaRPr dirty="0"/>
                  </a:p>
                </p:txBody>
              </p:sp>
              <p:sp>
                <p:nvSpPr>
                  <p:cNvPr id="183" name="Freeform: Shape 78"/>
                  <p:cNvSpPr/>
                  <p:nvPr/>
                </p:nvSpPr>
                <p:spPr>
                  <a:xfrm>
                    <a:off x="166672" y="544685"/>
                    <a:ext cx="178122" cy="156842"/>
                  </a:xfrm>
                  <a:custGeom>
                    <a:avLst/>
                    <a:gdLst/>
                    <a:ahLst/>
                    <a:cxnLst>
                      <a:cxn ang="0">
                        <a:pos x="wd2" y="hd2"/>
                      </a:cxn>
                      <a:cxn ang="5400000">
                        <a:pos x="wd2" y="hd2"/>
                      </a:cxn>
                      <a:cxn ang="10800000">
                        <a:pos x="wd2" y="hd2"/>
                      </a:cxn>
                      <a:cxn ang="16200000">
                        <a:pos x="wd2" y="hd2"/>
                      </a:cxn>
                    </a:cxnLst>
                    <a:rect l="0" t="0" r="r" b="b"/>
                    <a:pathLst>
                      <a:path w="21600" h="21600" extrusionOk="0">
                        <a:moveTo>
                          <a:pt x="19421" y="0"/>
                        </a:moveTo>
                        <a:lnTo>
                          <a:pt x="0" y="0"/>
                        </a:lnTo>
                        <a:cubicBezTo>
                          <a:pt x="956" y="7858"/>
                          <a:pt x="3651" y="15283"/>
                          <a:pt x="7856" y="21600"/>
                        </a:cubicBezTo>
                        <a:lnTo>
                          <a:pt x="21600" y="5992"/>
                        </a:lnTo>
                        <a:cubicBezTo>
                          <a:pt x="20644" y="4125"/>
                          <a:pt x="19899" y="2106"/>
                          <a:pt x="19421"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84" name="Freeform: Shape 79"/>
                  <p:cNvSpPr/>
                  <p:nvPr/>
                </p:nvSpPr>
                <p:spPr>
                  <a:xfrm>
                    <a:off x="297661" y="654393"/>
                    <a:ext cx="157631" cy="178281"/>
                  </a:xfrm>
                  <a:custGeom>
                    <a:avLst/>
                    <a:gdLst/>
                    <a:ahLst/>
                    <a:cxnLst>
                      <a:cxn ang="0">
                        <a:pos x="wd2" y="hd2"/>
                      </a:cxn>
                      <a:cxn ang="5400000">
                        <a:pos x="wd2" y="hd2"/>
                      </a:cxn>
                      <a:cxn ang="10800000">
                        <a:pos x="wd2" y="hd2"/>
                      </a:cxn>
                      <a:cxn ang="16200000">
                        <a:pos x="wd2" y="hd2"/>
                      </a:cxn>
                    </a:cxnLst>
                    <a:rect l="0" t="0" r="r" b="b"/>
                    <a:pathLst>
                      <a:path w="21600" h="21600" extrusionOk="0">
                        <a:moveTo>
                          <a:pt x="15509" y="0"/>
                        </a:moveTo>
                        <a:lnTo>
                          <a:pt x="0" y="13732"/>
                        </a:lnTo>
                        <a:cubicBezTo>
                          <a:pt x="6307" y="17952"/>
                          <a:pt x="13738" y="20664"/>
                          <a:pt x="21600" y="21600"/>
                        </a:cubicBezTo>
                        <a:lnTo>
                          <a:pt x="21600" y="2196"/>
                        </a:lnTo>
                        <a:cubicBezTo>
                          <a:pt x="19462" y="1700"/>
                          <a:pt x="17431" y="974"/>
                          <a:pt x="15509"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85" name="Freeform: Shape 80"/>
                  <p:cNvSpPr/>
                  <p:nvPr/>
                </p:nvSpPr>
                <p:spPr>
                  <a:xfrm>
                    <a:off x="548133" y="164956"/>
                    <a:ext cx="286887" cy="287044"/>
                  </a:xfrm>
                  <a:custGeom>
                    <a:avLst/>
                    <a:gdLst/>
                    <a:ahLst/>
                    <a:cxnLst>
                      <a:cxn ang="0">
                        <a:pos x="wd2" y="hd2"/>
                      </a:cxn>
                      <a:cxn ang="5400000">
                        <a:pos x="wd2" y="hd2"/>
                      </a:cxn>
                      <a:cxn ang="10800000">
                        <a:pos x="wd2" y="hd2"/>
                      </a:cxn>
                      <a:cxn ang="16200000">
                        <a:pos x="wd2" y="hd2"/>
                      </a:cxn>
                    </a:cxnLst>
                    <a:rect l="0" t="0" r="r" b="b"/>
                    <a:pathLst>
                      <a:path w="21600" h="21600" extrusionOk="0">
                        <a:moveTo>
                          <a:pt x="83" y="0"/>
                        </a:moveTo>
                        <a:cubicBezTo>
                          <a:pt x="47" y="4413"/>
                          <a:pt x="12" y="10094"/>
                          <a:pt x="0" y="12075"/>
                        </a:cubicBezTo>
                        <a:cubicBezTo>
                          <a:pt x="4640" y="13332"/>
                          <a:pt x="8260" y="16962"/>
                          <a:pt x="9506" y="21600"/>
                        </a:cubicBezTo>
                        <a:lnTo>
                          <a:pt x="21600" y="21576"/>
                        </a:lnTo>
                        <a:cubicBezTo>
                          <a:pt x="20010" y="10415"/>
                          <a:pt x="11251" y="1625"/>
                          <a:pt x="83"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86" name="Freeform: Shape 81"/>
                  <p:cNvSpPr/>
                  <p:nvPr/>
                </p:nvSpPr>
                <p:spPr>
                  <a:xfrm>
                    <a:off x="350152" y="180718"/>
                    <a:ext cx="104036" cy="119800"/>
                  </a:xfrm>
                  <a:custGeom>
                    <a:avLst/>
                    <a:gdLst/>
                    <a:ahLst/>
                    <a:cxnLst>
                      <a:cxn ang="0">
                        <a:pos x="wd2" y="hd2"/>
                      </a:cxn>
                      <a:cxn ang="5400000">
                        <a:pos x="wd2" y="hd2"/>
                      </a:cxn>
                      <a:cxn ang="10800000">
                        <a:pos x="wd2" y="hd2"/>
                      </a:cxn>
                      <a:cxn ang="16200000">
                        <a:pos x="wd2" y="hd2"/>
                      </a:cxn>
                    </a:cxnLst>
                    <a:rect l="0" t="0" r="r" b="b"/>
                    <a:pathLst>
                      <a:path w="21600" h="21600" extrusionOk="0">
                        <a:moveTo>
                          <a:pt x="7789" y="0"/>
                        </a:moveTo>
                        <a:cubicBezTo>
                          <a:pt x="5138" y="824"/>
                          <a:pt x="2520" y="1791"/>
                          <a:pt x="0" y="2899"/>
                        </a:cubicBezTo>
                        <a:lnTo>
                          <a:pt x="21535" y="21600"/>
                        </a:lnTo>
                        <a:lnTo>
                          <a:pt x="21600" y="11994"/>
                        </a:lnTo>
                        <a:lnTo>
                          <a:pt x="7789"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87" name="Freeform: Shape 82"/>
                  <p:cNvSpPr/>
                  <p:nvPr/>
                </p:nvSpPr>
                <p:spPr>
                  <a:xfrm>
                    <a:off x="295297" y="209408"/>
                    <a:ext cx="149749" cy="134774"/>
                  </a:xfrm>
                  <a:custGeom>
                    <a:avLst/>
                    <a:gdLst/>
                    <a:ahLst/>
                    <a:cxnLst>
                      <a:cxn ang="0">
                        <a:pos x="wd2" y="hd2"/>
                      </a:cxn>
                      <a:cxn ang="5400000">
                        <a:pos x="wd2" y="hd2"/>
                      </a:cxn>
                      <a:cxn ang="10800000">
                        <a:pos x="wd2" y="hd2"/>
                      </a:cxn>
                      <a:cxn ang="16200000">
                        <a:pos x="wd2" y="hd2"/>
                      </a:cxn>
                    </a:cxnLst>
                    <a:rect l="0" t="0" r="r" b="b"/>
                    <a:pathLst>
                      <a:path w="21600" h="21600" extrusionOk="0">
                        <a:moveTo>
                          <a:pt x="4593" y="0"/>
                        </a:moveTo>
                        <a:cubicBezTo>
                          <a:pt x="3001" y="1061"/>
                          <a:pt x="1478" y="2223"/>
                          <a:pt x="0" y="3486"/>
                        </a:cubicBezTo>
                        <a:lnTo>
                          <a:pt x="16302" y="21600"/>
                        </a:lnTo>
                        <a:cubicBezTo>
                          <a:pt x="17985" y="20488"/>
                          <a:pt x="19758" y="19579"/>
                          <a:pt x="21600" y="18897"/>
                        </a:cubicBezTo>
                        <a:lnTo>
                          <a:pt x="4593"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88" name="Freeform: Shape 83"/>
                  <p:cNvSpPr/>
                  <p:nvPr/>
                </p:nvSpPr>
                <p:spPr>
                  <a:xfrm>
                    <a:off x="414937" y="164482"/>
                    <a:ext cx="39567" cy="47291"/>
                  </a:xfrm>
                  <a:custGeom>
                    <a:avLst/>
                    <a:gdLst/>
                    <a:ahLst/>
                    <a:cxnLst>
                      <a:cxn ang="0">
                        <a:pos x="wd2" y="hd2"/>
                      </a:cxn>
                      <a:cxn ang="5400000">
                        <a:pos x="wd2" y="hd2"/>
                      </a:cxn>
                      <a:cxn ang="10800000">
                        <a:pos x="wd2" y="hd2"/>
                      </a:cxn>
                      <a:cxn ang="16200000">
                        <a:pos x="wd2" y="hd2"/>
                      </a:cxn>
                    </a:cxnLst>
                    <a:rect l="0" t="0" r="r" b="b"/>
                    <a:pathLst>
                      <a:path w="21600" h="21600" extrusionOk="0">
                        <a:moveTo>
                          <a:pt x="0" y="3600"/>
                        </a:moveTo>
                        <a:lnTo>
                          <a:pt x="21514" y="21600"/>
                        </a:lnTo>
                        <a:lnTo>
                          <a:pt x="21600" y="0"/>
                        </a:lnTo>
                        <a:cubicBezTo>
                          <a:pt x="14285" y="864"/>
                          <a:pt x="7143" y="2016"/>
                          <a:pt x="0" y="360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89" name="Freeform: Shape 84"/>
                  <p:cNvSpPr/>
                  <p:nvPr/>
                </p:nvSpPr>
                <p:spPr>
                  <a:xfrm>
                    <a:off x="249270" y="247396"/>
                    <a:ext cx="138400" cy="138401"/>
                  </a:xfrm>
                  <a:custGeom>
                    <a:avLst/>
                    <a:gdLst/>
                    <a:ahLst/>
                    <a:cxnLst>
                      <a:cxn ang="0">
                        <a:pos x="wd2" y="hd2"/>
                      </a:cxn>
                      <a:cxn ang="5400000">
                        <a:pos x="wd2" y="hd2"/>
                      </a:cxn>
                      <a:cxn ang="10800000">
                        <a:pos x="wd2" y="hd2"/>
                      </a:cxn>
                      <a:cxn ang="16200000">
                        <a:pos x="wd2" y="hd2"/>
                      </a:cxn>
                    </a:cxnLst>
                    <a:rect l="0" t="0" r="r" b="b"/>
                    <a:pathLst>
                      <a:path w="21600" h="21600" extrusionOk="0">
                        <a:moveTo>
                          <a:pt x="4182" y="0"/>
                        </a:moveTo>
                        <a:cubicBezTo>
                          <a:pt x="3469" y="640"/>
                          <a:pt x="2755" y="1304"/>
                          <a:pt x="2067" y="1993"/>
                        </a:cubicBezTo>
                        <a:cubicBezTo>
                          <a:pt x="1353" y="2706"/>
                          <a:pt x="664" y="3444"/>
                          <a:pt x="0" y="4182"/>
                        </a:cubicBezTo>
                        <a:lnTo>
                          <a:pt x="17418" y="21600"/>
                        </a:lnTo>
                        <a:cubicBezTo>
                          <a:pt x="18672" y="20075"/>
                          <a:pt x="20050" y="18672"/>
                          <a:pt x="21600" y="17418"/>
                        </a:cubicBezTo>
                        <a:lnTo>
                          <a:pt x="4182"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90" name="Freeform: Shape 85"/>
                  <p:cNvSpPr/>
                  <p:nvPr/>
                </p:nvSpPr>
                <p:spPr>
                  <a:xfrm>
                    <a:off x="166830" y="413063"/>
                    <a:ext cx="44611" cy="37045"/>
                  </a:xfrm>
                  <a:custGeom>
                    <a:avLst/>
                    <a:gdLst/>
                    <a:ahLst/>
                    <a:cxnLst>
                      <a:cxn ang="0">
                        <a:pos x="wd2" y="hd2"/>
                      </a:cxn>
                      <a:cxn ang="5400000">
                        <a:pos x="wd2" y="hd2"/>
                      </a:cxn>
                      <a:cxn ang="10800000">
                        <a:pos x="wd2" y="hd2"/>
                      </a:cxn>
                      <a:cxn ang="16200000">
                        <a:pos x="wd2" y="hd2"/>
                      </a:cxn>
                    </a:cxnLst>
                    <a:rect l="0" t="0" r="r" b="b"/>
                    <a:pathLst>
                      <a:path w="21600" h="21600" extrusionOk="0">
                        <a:moveTo>
                          <a:pt x="3664" y="0"/>
                        </a:moveTo>
                        <a:cubicBezTo>
                          <a:pt x="2137" y="7077"/>
                          <a:pt x="916" y="14339"/>
                          <a:pt x="0" y="21600"/>
                        </a:cubicBezTo>
                        <a:lnTo>
                          <a:pt x="21600" y="21600"/>
                        </a:lnTo>
                        <a:lnTo>
                          <a:pt x="3664"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91" name="Freeform: Shape 86"/>
                  <p:cNvSpPr/>
                  <p:nvPr/>
                </p:nvSpPr>
                <p:spPr>
                  <a:xfrm>
                    <a:off x="182908" y="348436"/>
                    <a:ext cx="117751" cy="101673"/>
                  </a:xfrm>
                  <a:custGeom>
                    <a:avLst/>
                    <a:gdLst/>
                    <a:ahLst/>
                    <a:cxnLst>
                      <a:cxn ang="0">
                        <a:pos x="wd2" y="hd2"/>
                      </a:cxn>
                      <a:cxn ang="5400000">
                        <a:pos x="wd2" y="hd2"/>
                      </a:cxn>
                      <a:cxn ang="10800000">
                        <a:pos x="wd2" y="hd2"/>
                      </a:cxn>
                      <a:cxn ang="16200000">
                        <a:pos x="wd2" y="hd2"/>
                      </a:cxn>
                    </a:cxnLst>
                    <a:rect l="0" t="0" r="r" b="b"/>
                    <a:pathLst>
                      <a:path w="21600" h="21600" extrusionOk="0">
                        <a:moveTo>
                          <a:pt x="2920" y="0"/>
                        </a:moveTo>
                        <a:cubicBezTo>
                          <a:pt x="1793" y="2579"/>
                          <a:pt x="839" y="5224"/>
                          <a:pt x="0" y="7937"/>
                        </a:cubicBezTo>
                        <a:lnTo>
                          <a:pt x="11798" y="21600"/>
                        </a:lnTo>
                        <a:lnTo>
                          <a:pt x="21600" y="21600"/>
                        </a:lnTo>
                        <a:lnTo>
                          <a:pt x="2920"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92" name="Freeform: Shape 87"/>
                  <p:cNvSpPr/>
                  <p:nvPr/>
                </p:nvSpPr>
                <p:spPr>
                  <a:xfrm>
                    <a:off x="211596" y="293739"/>
                    <a:ext cx="134617" cy="149750"/>
                  </a:xfrm>
                  <a:custGeom>
                    <a:avLst/>
                    <a:gdLst/>
                    <a:ahLst/>
                    <a:cxnLst>
                      <a:cxn ang="0">
                        <a:pos x="wd2" y="hd2"/>
                      </a:cxn>
                      <a:cxn ang="5400000">
                        <a:pos x="wd2" y="hd2"/>
                      </a:cxn>
                      <a:cxn ang="10800000">
                        <a:pos x="wd2" y="hd2"/>
                      </a:cxn>
                      <a:cxn ang="16200000">
                        <a:pos x="wd2" y="hd2"/>
                      </a:cxn>
                    </a:cxnLst>
                    <a:rect l="0" t="0" r="r" b="b"/>
                    <a:pathLst>
                      <a:path w="21600" h="21600" extrusionOk="0">
                        <a:moveTo>
                          <a:pt x="3465" y="0"/>
                        </a:moveTo>
                        <a:cubicBezTo>
                          <a:pt x="2200" y="1478"/>
                          <a:pt x="1062" y="3001"/>
                          <a:pt x="0" y="4593"/>
                        </a:cubicBezTo>
                        <a:lnTo>
                          <a:pt x="18919" y="21600"/>
                        </a:lnTo>
                        <a:cubicBezTo>
                          <a:pt x="19577" y="19736"/>
                          <a:pt x="20487" y="17962"/>
                          <a:pt x="21600" y="16302"/>
                        </a:cubicBezTo>
                        <a:lnTo>
                          <a:pt x="3465"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93" name="Freeform: Shape 88"/>
                  <p:cNvSpPr/>
                  <p:nvPr/>
                </p:nvSpPr>
                <p:spPr>
                  <a:xfrm>
                    <a:off x="622376" y="591869"/>
                    <a:ext cx="174969" cy="33313"/>
                  </a:xfrm>
                  <a:prstGeom prst="rect">
                    <a:avLst/>
                  </a:pr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194" name="Freeform: Shape 89"/>
                  <p:cNvSpPr/>
                  <p:nvPr/>
                </p:nvSpPr>
                <p:spPr>
                  <a:xfrm>
                    <a:off x="578240" y="554141"/>
                    <a:ext cx="261666" cy="291615"/>
                  </a:xfrm>
                  <a:custGeom>
                    <a:avLst/>
                    <a:gdLst/>
                    <a:ahLst/>
                    <a:cxnLst>
                      <a:cxn ang="0">
                        <a:pos x="wd2" y="hd2"/>
                      </a:cxn>
                      <a:cxn ang="5400000">
                        <a:pos x="wd2" y="hd2"/>
                      </a:cxn>
                      <a:cxn ang="10800000">
                        <a:pos x="wd2" y="hd2"/>
                      </a:cxn>
                      <a:cxn ang="16200000">
                        <a:pos x="wd2" y="hd2"/>
                      </a:cxn>
                    </a:cxnLst>
                    <a:rect l="0" t="0" r="r" b="b"/>
                    <a:pathLst>
                      <a:path w="21600" h="21600" extrusionOk="0">
                        <a:moveTo>
                          <a:pt x="18737" y="0"/>
                        </a:moveTo>
                        <a:lnTo>
                          <a:pt x="2863" y="0"/>
                        </a:lnTo>
                        <a:cubicBezTo>
                          <a:pt x="1275" y="0"/>
                          <a:pt x="0" y="1144"/>
                          <a:pt x="0" y="2569"/>
                        </a:cubicBezTo>
                        <a:lnTo>
                          <a:pt x="0" y="19031"/>
                        </a:lnTo>
                        <a:cubicBezTo>
                          <a:pt x="0" y="20456"/>
                          <a:pt x="1275" y="21600"/>
                          <a:pt x="2863" y="21600"/>
                        </a:cubicBezTo>
                        <a:lnTo>
                          <a:pt x="18737" y="21600"/>
                        </a:lnTo>
                        <a:cubicBezTo>
                          <a:pt x="20325" y="21600"/>
                          <a:pt x="21600" y="20456"/>
                          <a:pt x="21600" y="19031"/>
                        </a:cubicBezTo>
                        <a:lnTo>
                          <a:pt x="21600" y="2569"/>
                        </a:lnTo>
                        <a:cubicBezTo>
                          <a:pt x="21600" y="1144"/>
                          <a:pt x="20325" y="0"/>
                          <a:pt x="18737" y="0"/>
                        </a:cubicBezTo>
                        <a:close/>
                        <a:moveTo>
                          <a:pt x="5595" y="19849"/>
                        </a:moveTo>
                        <a:lnTo>
                          <a:pt x="2537" y="19849"/>
                        </a:lnTo>
                        <a:cubicBezTo>
                          <a:pt x="1965" y="19849"/>
                          <a:pt x="1496" y="19428"/>
                          <a:pt x="1496" y="18915"/>
                        </a:cubicBezTo>
                        <a:cubicBezTo>
                          <a:pt x="1496" y="18401"/>
                          <a:pt x="1965" y="17981"/>
                          <a:pt x="2537" y="17981"/>
                        </a:cubicBezTo>
                        <a:lnTo>
                          <a:pt x="5595" y="17981"/>
                        </a:lnTo>
                        <a:cubicBezTo>
                          <a:pt x="6168" y="17981"/>
                          <a:pt x="6636" y="18401"/>
                          <a:pt x="6636" y="18915"/>
                        </a:cubicBezTo>
                        <a:cubicBezTo>
                          <a:pt x="6636" y="19428"/>
                          <a:pt x="6181" y="19849"/>
                          <a:pt x="5595" y="19849"/>
                        </a:cubicBezTo>
                        <a:close/>
                        <a:moveTo>
                          <a:pt x="5595" y="15178"/>
                        </a:moveTo>
                        <a:lnTo>
                          <a:pt x="2537" y="15178"/>
                        </a:lnTo>
                        <a:cubicBezTo>
                          <a:pt x="1965" y="15178"/>
                          <a:pt x="1496" y="14758"/>
                          <a:pt x="1496" y="14244"/>
                        </a:cubicBezTo>
                        <a:cubicBezTo>
                          <a:pt x="1496" y="13731"/>
                          <a:pt x="1965" y="13310"/>
                          <a:pt x="2537" y="13310"/>
                        </a:cubicBezTo>
                        <a:lnTo>
                          <a:pt x="5595" y="13310"/>
                        </a:lnTo>
                        <a:cubicBezTo>
                          <a:pt x="6168" y="13310"/>
                          <a:pt x="6636" y="13731"/>
                          <a:pt x="6636" y="14244"/>
                        </a:cubicBezTo>
                        <a:cubicBezTo>
                          <a:pt x="6636" y="14758"/>
                          <a:pt x="6181" y="15178"/>
                          <a:pt x="5595" y="15178"/>
                        </a:cubicBezTo>
                        <a:close/>
                        <a:moveTo>
                          <a:pt x="5595" y="10391"/>
                        </a:moveTo>
                        <a:lnTo>
                          <a:pt x="2537" y="10391"/>
                        </a:lnTo>
                        <a:cubicBezTo>
                          <a:pt x="1965" y="10391"/>
                          <a:pt x="1496" y="9971"/>
                          <a:pt x="1496" y="9457"/>
                        </a:cubicBezTo>
                        <a:cubicBezTo>
                          <a:pt x="1496" y="8944"/>
                          <a:pt x="1965" y="8523"/>
                          <a:pt x="2537" y="8523"/>
                        </a:cubicBezTo>
                        <a:lnTo>
                          <a:pt x="5595" y="8523"/>
                        </a:lnTo>
                        <a:cubicBezTo>
                          <a:pt x="6168" y="8523"/>
                          <a:pt x="6636" y="8944"/>
                          <a:pt x="6636" y="9457"/>
                        </a:cubicBezTo>
                        <a:cubicBezTo>
                          <a:pt x="6636" y="9971"/>
                          <a:pt x="6181" y="10391"/>
                          <a:pt x="5595" y="10391"/>
                        </a:cubicBezTo>
                        <a:close/>
                        <a:moveTo>
                          <a:pt x="12309" y="19849"/>
                        </a:moveTo>
                        <a:lnTo>
                          <a:pt x="9252" y="19849"/>
                        </a:lnTo>
                        <a:cubicBezTo>
                          <a:pt x="8679" y="19849"/>
                          <a:pt x="8211" y="19428"/>
                          <a:pt x="8211" y="18915"/>
                        </a:cubicBezTo>
                        <a:cubicBezTo>
                          <a:pt x="8211" y="18401"/>
                          <a:pt x="8679" y="17981"/>
                          <a:pt x="9252" y="17981"/>
                        </a:cubicBezTo>
                        <a:lnTo>
                          <a:pt x="12309" y="17981"/>
                        </a:lnTo>
                        <a:cubicBezTo>
                          <a:pt x="12882" y="17981"/>
                          <a:pt x="13350" y="18401"/>
                          <a:pt x="13350" y="18915"/>
                        </a:cubicBezTo>
                        <a:cubicBezTo>
                          <a:pt x="13350" y="19428"/>
                          <a:pt x="12882" y="19849"/>
                          <a:pt x="12309" y="19849"/>
                        </a:cubicBezTo>
                        <a:close/>
                        <a:moveTo>
                          <a:pt x="12309" y="15178"/>
                        </a:moveTo>
                        <a:lnTo>
                          <a:pt x="9252" y="15178"/>
                        </a:lnTo>
                        <a:cubicBezTo>
                          <a:pt x="8679" y="15178"/>
                          <a:pt x="8211" y="14758"/>
                          <a:pt x="8211" y="14244"/>
                        </a:cubicBezTo>
                        <a:cubicBezTo>
                          <a:pt x="8211" y="13731"/>
                          <a:pt x="8679" y="13310"/>
                          <a:pt x="9252" y="13310"/>
                        </a:cubicBezTo>
                        <a:lnTo>
                          <a:pt x="12309" y="13310"/>
                        </a:lnTo>
                        <a:cubicBezTo>
                          <a:pt x="12882" y="13310"/>
                          <a:pt x="13350" y="13731"/>
                          <a:pt x="13350" y="14244"/>
                        </a:cubicBezTo>
                        <a:cubicBezTo>
                          <a:pt x="13350" y="14758"/>
                          <a:pt x="12882" y="15178"/>
                          <a:pt x="12309" y="15178"/>
                        </a:cubicBezTo>
                        <a:close/>
                        <a:moveTo>
                          <a:pt x="12309" y="10391"/>
                        </a:moveTo>
                        <a:lnTo>
                          <a:pt x="9252" y="10391"/>
                        </a:lnTo>
                        <a:cubicBezTo>
                          <a:pt x="8679" y="10391"/>
                          <a:pt x="8211" y="9971"/>
                          <a:pt x="8211" y="9457"/>
                        </a:cubicBezTo>
                        <a:cubicBezTo>
                          <a:pt x="8211" y="8944"/>
                          <a:pt x="8679" y="8523"/>
                          <a:pt x="9252" y="8523"/>
                        </a:cubicBezTo>
                        <a:lnTo>
                          <a:pt x="12309" y="8523"/>
                        </a:lnTo>
                        <a:cubicBezTo>
                          <a:pt x="12882" y="8523"/>
                          <a:pt x="13350" y="8944"/>
                          <a:pt x="13350" y="9457"/>
                        </a:cubicBezTo>
                        <a:cubicBezTo>
                          <a:pt x="13350" y="9971"/>
                          <a:pt x="12882" y="10391"/>
                          <a:pt x="12309" y="10391"/>
                        </a:cubicBezTo>
                        <a:close/>
                        <a:moveTo>
                          <a:pt x="19037" y="19849"/>
                        </a:moveTo>
                        <a:lnTo>
                          <a:pt x="15979" y="19849"/>
                        </a:lnTo>
                        <a:cubicBezTo>
                          <a:pt x="15406" y="19849"/>
                          <a:pt x="14938" y="19428"/>
                          <a:pt x="14938" y="18915"/>
                        </a:cubicBezTo>
                        <a:cubicBezTo>
                          <a:pt x="14938" y="18401"/>
                          <a:pt x="15406" y="17981"/>
                          <a:pt x="15979" y="17981"/>
                        </a:cubicBezTo>
                        <a:lnTo>
                          <a:pt x="19037" y="17981"/>
                        </a:lnTo>
                        <a:cubicBezTo>
                          <a:pt x="19609" y="17981"/>
                          <a:pt x="20078" y="18401"/>
                          <a:pt x="20078" y="18915"/>
                        </a:cubicBezTo>
                        <a:cubicBezTo>
                          <a:pt x="20078" y="19428"/>
                          <a:pt x="19609" y="19849"/>
                          <a:pt x="19037" y="19849"/>
                        </a:cubicBezTo>
                        <a:close/>
                        <a:moveTo>
                          <a:pt x="19037" y="15178"/>
                        </a:moveTo>
                        <a:lnTo>
                          <a:pt x="15979" y="15178"/>
                        </a:lnTo>
                        <a:cubicBezTo>
                          <a:pt x="15406" y="15178"/>
                          <a:pt x="14938" y="14758"/>
                          <a:pt x="14938" y="14244"/>
                        </a:cubicBezTo>
                        <a:cubicBezTo>
                          <a:pt x="14938" y="13731"/>
                          <a:pt x="15406" y="13310"/>
                          <a:pt x="15979" y="13310"/>
                        </a:cubicBezTo>
                        <a:lnTo>
                          <a:pt x="19037" y="13310"/>
                        </a:lnTo>
                        <a:cubicBezTo>
                          <a:pt x="19609" y="13310"/>
                          <a:pt x="20078" y="13731"/>
                          <a:pt x="20078" y="14244"/>
                        </a:cubicBezTo>
                        <a:cubicBezTo>
                          <a:pt x="20078" y="14758"/>
                          <a:pt x="19609" y="15178"/>
                          <a:pt x="19037" y="15178"/>
                        </a:cubicBezTo>
                        <a:close/>
                        <a:moveTo>
                          <a:pt x="19037" y="10391"/>
                        </a:moveTo>
                        <a:lnTo>
                          <a:pt x="15979" y="10391"/>
                        </a:lnTo>
                        <a:cubicBezTo>
                          <a:pt x="15406" y="10391"/>
                          <a:pt x="14938" y="9971"/>
                          <a:pt x="14938" y="9457"/>
                        </a:cubicBezTo>
                        <a:cubicBezTo>
                          <a:pt x="14938" y="8944"/>
                          <a:pt x="15406" y="8523"/>
                          <a:pt x="15979" y="8523"/>
                        </a:cubicBezTo>
                        <a:lnTo>
                          <a:pt x="19037" y="8523"/>
                        </a:lnTo>
                        <a:cubicBezTo>
                          <a:pt x="19609" y="8523"/>
                          <a:pt x="20078" y="8944"/>
                          <a:pt x="20078" y="9457"/>
                        </a:cubicBezTo>
                        <a:cubicBezTo>
                          <a:pt x="20078" y="9971"/>
                          <a:pt x="19609" y="10391"/>
                          <a:pt x="19037" y="10391"/>
                        </a:cubicBezTo>
                        <a:close/>
                        <a:moveTo>
                          <a:pt x="20169" y="5838"/>
                        </a:moveTo>
                        <a:cubicBezTo>
                          <a:pt x="20169" y="6352"/>
                          <a:pt x="19700" y="6772"/>
                          <a:pt x="19128" y="6772"/>
                        </a:cubicBezTo>
                        <a:lnTo>
                          <a:pt x="2602" y="6772"/>
                        </a:lnTo>
                        <a:cubicBezTo>
                          <a:pt x="2030" y="6772"/>
                          <a:pt x="1561" y="6352"/>
                          <a:pt x="1561" y="5838"/>
                        </a:cubicBezTo>
                        <a:lnTo>
                          <a:pt x="1561" y="2218"/>
                        </a:lnTo>
                        <a:cubicBezTo>
                          <a:pt x="1561" y="1705"/>
                          <a:pt x="2030" y="1284"/>
                          <a:pt x="2602" y="1284"/>
                        </a:cubicBezTo>
                        <a:lnTo>
                          <a:pt x="19128" y="1284"/>
                        </a:lnTo>
                        <a:cubicBezTo>
                          <a:pt x="19700" y="1284"/>
                          <a:pt x="20169" y="1705"/>
                          <a:pt x="20169" y="2218"/>
                        </a:cubicBezTo>
                        <a:lnTo>
                          <a:pt x="20169" y="5838"/>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grpSp>
          </p:grpSp>
          <p:sp>
            <p:nvSpPr>
              <p:cNvPr id="178" name="Provision"/>
              <p:cNvSpPr/>
              <p:nvPr/>
            </p:nvSpPr>
            <p:spPr>
              <a:xfrm>
                <a:off x="-1" y="171046"/>
                <a:ext cx="1825643" cy="684526"/>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25400" cap="flat">
                <a:solidFill>
                  <a:srgbClr val="22BF00"/>
                </a:solidFill>
                <a:prstDash val="solid"/>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21918" tIns="121918" rIns="121918" bIns="121918" numCol="1" anchor="t">
                <a:spAutoFit/>
              </a:bodyPr>
              <a:lstStyle>
                <a:lvl1pPr algn="l" defTabSz="2438400">
                  <a:defRPr sz="2900" b="0">
                    <a:solidFill>
                      <a:srgbClr val="000000"/>
                    </a:solidFill>
                    <a:effectLst>
                      <a:outerShdw blurRad="12700" dist="12700" dir="18900000" rotWithShape="0">
                        <a:srgbClr val="000000">
                          <a:alpha val="24000"/>
                        </a:srgbClr>
                      </a:outerShdw>
                    </a:effectLst>
                  </a:defRPr>
                </a:lvl1pPr>
              </a:lstStyle>
              <a:p>
                <a:r>
                  <a:rPr sz="2000" dirty="0"/>
                  <a:t>Provision</a:t>
                </a:r>
              </a:p>
            </p:txBody>
          </p:sp>
          <p:sp>
            <p:nvSpPr>
              <p:cNvPr id="179" name="Actual"/>
              <p:cNvSpPr/>
              <p:nvPr/>
            </p:nvSpPr>
            <p:spPr>
              <a:xfrm>
                <a:off x="-1" y="1369563"/>
                <a:ext cx="1825643" cy="684526"/>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25400" cap="flat">
                <a:solidFill>
                  <a:schemeClr val="accent3"/>
                </a:solidFill>
                <a:prstDash val="solid"/>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21918" tIns="121918" rIns="121918" bIns="121918" numCol="1" anchor="t">
                <a:spAutoFit/>
              </a:bodyPr>
              <a:lstStyle>
                <a:lvl1pPr algn="l" defTabSz="2438400">
                  <a:defRPr sz="2900" b="0">
                    <a:solidFill>
                      <a:srgbClr val="000000"/>
                    </a:solidFill>
                    <a:effectLst>
                      <a:outerShdw blurRad="12700" dist="12700" dir="18900000" rotWithShape="0">
                        <a:srgbClr val="000000">
                          <a:alpha val="24000"/>
                        </a:srgbClr>
                      </a:outerShdw>
                    </a:effectLst>
                  </a:defRPr>
                </a:lvl1pPr>
              </a:lstStyle>
              <a:p>
                <a:r>
                  <a:rPr sz="2000" dirty="0"/>
                  <a:t>Actual</a:t>
                </a:r>
              </a:p>
            </p:txBody>
          </p:sp>
        </p:grpSp>
        <p:sp>
          <p:nvSpPr>
            <p:cNvPr id="175" name="TextBox 174"/>
            <p:cNvSpPr txBox="1"/>
            <p:nvPr/>
          </p:nvSpPr>
          <p:spPr>
            <a:xfrm>
              <a:off x="3200367" y="6210035"/>
              <a:ext cx="6119549" cy="34772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r>
                <a:rPr lang="en-US" sz="2000" dirty="0">
                  <a:solidFill>
                    <a:schemeClr val="accent1">
                      <a:lumMod val="50000"/>
                    </a:schemeClr>
                  </a:solidFill>
                  <a:effectLst/>
                </a:rPr>
                <a:t>TOTAL PERSONNEL COST</a:t>
              </a:r>
            </a:p>
          </p:txBody>
        </p:sp>
      </p:grpSp>
      <p:grpSp>
        <p:nvGrpSpPr>
          <p:cNvPr id="214" name="Group 213"/>
          <p:cNvGrpSpPr/>
          <p:nvPr/>
        </p:nvGrpSpPr>
        <p:grpSpPr>
          <a:xfrm>
            <a:off x="2862919" y="8040572"/>
            <a:ext cx="6953539" cy="2280075"/>
            <a:chOff x="2675351" y="8554820"/>
            <a:chExt cx="6953539" cy="2000281"/>
          </a:xfrm>
        </p:grpSpPr>
        <p:grpSp>
          <p:nvGrpSpPr>
            <p:cNvPr id="215" name="Group"/>
            <p:cNvGrpSpPr/>
            <p:nvPr/>
          </p:nvGrpSpPr>
          <p:grpSpPr>
            <a:xfrm>
              <a:off x="2675351" y="8987351"/>
              <a:ext cx="6953539" cy="1567750"/>
              <a:chOff x="-1" y="0"/>
              <a:chExt cx="6001041" cy="2228953"/>
            </a:xfrm>
          </p:grpSpPr>
          <p:grpSp>
            <p:nvGrpSpPr>
              <p:cNvPr id="217" name="Group"/>
              <p:cNvGrpSpPr/>
              <p:nvPr/>
            </p:nvGrpSpPr>
            <p:grpSpPr>
              <a:xfrm>
                <a:off x="2088173" y="0"/>
                <a:ext cx="3912867" cy="1030435"/>
                <a:chOff x="-1" y="0"/>
                <a:chExt cx="3912866" cy="1030434"/>
              </a:xfrm>
            </p:grpSpPr>
            <p:grpSp>
              <p:nvGrpSpPr>
                <p:cNvPr id="238" name="Rectangle: Rounded Corners 29"/>
                <p:cNvGrpSpPr/>
                <p:nvPr/>
              </p:nvGrpSpPr>
              <p:grpSpPr>
                <a:xfrm>
                  <a:off x="1108847" y="0"/>
                  <a:ext cx="2804018" cy="1030434"/>
                  <a:chOff x="2" y="0"/>
                  <a:chExt cx="2804017" cy="1030433"/>
                </a:xfrm>
              </p:grpSpPr>
              <p:sp>
                <p:nvSpPr>
                  <p:cNvPr id="253" name="Rounded Rectangle"/>
                  <p:cNvSpPr/>
                  <p:nvPr/>
                </p:nvSpPr>
                <p:spPr>
                  <a:xfrm>
                    <a:off x="2" y="0"/>
                    <a:ext cx="1535701" cy="1030433"/>
                  </a:xfrm>
                  <a:prstGeom prst="roundRect">
                    <a:avLst>
                      <a:gd name="adj" fmla="val 17206"/>
                    </a:avLst>
                  </a:prstGeom>
                  <a:ln/>
                </p:spPr>
                <p:style>
                  <a:lnRef idx="2">
                    <a:schemeClr val="dk1">
                      <a:shade val="50000"/>
                    </a:schemeClr>
                  </a:lnRef>
                  <a:fillRef idx="1">
                    <a:schemeClr val="dk1"/>
                  </a:fillRef>
                  <a:effectRef idx="0">
                    <a:schemeClr val="dk1"/>
                  </a:effectRef>
                  <a:fontRef idx="minor">
                    <a:schemeClr val="lt1"/>
                  </a:fontRef>
                </p:style>
                <p:txBody>
                  <a:bodyPr wrap="square" lIns="38100" tIns="38100" rIns="38100" bIns="38100" numCol="1" anchor="ctr">
                    <a:noAutofit/>
                  </a:bodyPr>
                  <a:lstStyle/>
                  <a:p>
                    <a:pPr algn="l">
                      <a:spcBef>
                        <a:spcPts val="1000"/>
                      </a:spcBef>
                      <a:defRPr sz="2700">
                        <a:solidFill>
                          <a:srgbClr val="000000"/>
                        </a:solidFill>
                        <a:effectLst/>
                      </a:defRPr>
                    </a:pPr>
                    <a:endParaRPr dirty="0"/>
                  </a:p>
                </p:txBody>
              </p:sp>
              <p:sp>
                <p:nvSpPr>
                  <p:cNvPr id="254" name="310,055 (₦’bn)"/>
                  <p:cNvSpPr/>
                  <p:nvPr/>
                </p:nvSpPr>
                <p:spPr>
                  <a:xfrm>
                    <a:off x="51926" y="265694"/>
                    <a:ext cx="2752093" cy="499044"/>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8" tIns="45718" rIns="45718" bIns="45718" numCol="1" anchor="ctr">
                    <a:spAutoFit/>
                  </a:bodyPr>
                  <a:lstStyle>
                    <a:lvl1pPr algn="l">
                      <a:spcBef>
                        <a:spcPts val="1000"/>
                      </a:spcBef>
                      <a:defRPr sz="2700">
                        <a:solidFill>
                          <a:srgbClr val="000000"/>
                        </a:solidFill>
                      </a:defRPr>
                    </a:lvl1pPr>
                  </a:lstStyle>
                  <a:p>
                    <a:pPr>
                      <a:defRPr>
                        <a:effectLst/>
                      </a:defRPr>
                    </a:pPr>
                    <a:r>
                      <a:rPr lang="en-US" sz="2000" dirty="0"/>
                      <a:t>6.868 </a:t>
                    </a:r>
                    <a:r>
                      <a:rPr sz="2000" dirty="0"/>
                      <a:t>(</a:t>
                    </a:r>
                    <a:r>
                      <a:rPr lang="en-GB" sz="2000" dirty="0"/>
                      <a:t>₦</a:t>
                    </a:r>
                    <a:r>
                      <a:rPr sz="2000" dirty="0"/>
                      <a:t>’</a:t>
                    </a:r>
                    <a:r>
                      <a:rPr lang="en-GB" sz="2000" dirty="0"/>
                      <a:t>BN</a:t>
                    </a:r>
                    <a:r>
                      <a:rPr sz="2000" dirty="0"/>
                      <a:t>)</a:t>
                    </a:r>
                  </a:p>
                </p:txBody>
              </p:sp>
            </p:grpSp>
            <p:grpSp>
              <p:nvGrpSpPr>
                <p:cNvPr id="239" name="Group"/>
                <p:cNvGrpSpPr/>
                <p:nvPr/>
              </p:nvGrpSpPr>
              <p:grpSpPr>
                <a:xfrm>
                  <a:off x="-1" y="10254"/>
                  <a:ext cx="1004617" cy="1009925"/>
                  <a:chOff x="0" y="0"/>
                  <a:chExt cx="1004615" cy="1009924"/>
                </a:xfrm>
              </p:grpSpPr>
              <p:sp>
                <p:nvSpPr>
                  <p:cNvPr id="240" name="Rectangle: Rounded Corners 28"/>
                  <p:cNvSpPr/>
                  <p:nvPr/>
                </p:nvSpPr>
                <p:spPr>
                  <a:xfrm>
                    <a:off x="0" y="0"/>
                    <a:ext cx="1004615" cy="1009924"/>
                  </a:xfrm>
                  <a:prstGeom prst="roundRect">
                    <a:avLst>
                      <a:gd name="adj" fmla="val 6667"/>
                    </a:avLst>
                  </a:prstGeom>
                  <a:solidFill>
                    <a:srgbClr val="00B050"/>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defTabSz="914400">
                      <a:defRPr sz="1800" b="0" cap="none">
                        <a:solidFill>
                          <a:srgbClr val="FFFFFF"/>
                        </a:solidFill>
                        <a:effectLst/>
                        <a:latin typeface="Calibri"/>
                        <a:ea typeface="Calibri"/>
                        <a:cs typeface="Calibri"/>
                        <a:sym typeface="Calibri"/>
                      </a:defRPr>
                    </a:pPr>
                    <a:endParaRPr dirty="0"/>
                  </a:p>
                </p:txBody>
              </p:sp>
              <p:sp>
                <p:nvSpPr>
                  <p:cNvPr id="241" name="Freeform: Shape 78"/>
                  <p:cNvSpPr/>
                  <p:nvPr/>
                </p:nvSpPr>
                <p:spPr>
                  <a:xfrm>
                    <a:off x="166672" y="544685"/>
                    <a:ext cx="178122" cy="156842"/>
                  </a:xfrm>
                  <a:custGeom>
                    <a:avLst/>
                    <a:gdLst/>
                    <a:ahLst/>
                    <a:cxnLst>
                      <a:cxn ang="0">
                        <a:pos x="wd2" y="hd2"/>
                      </a:cxn>
                      <a:cxn ang="5400000">
                        <a:pos x="wd2" y="hd2"/>
                      </a:cxn>
                      <a:cxn ang="10800000">
                        <a:pos x="wd2" y="hd2"/>
                      </a:cxn>
                      <a:cxn ang="16200000">
                        <a:pos x="wd2" y="hd2"/>
                      </a:cxn>
                    </a:cxnLst>
                    <a:rect l="0" t="0" r="r" b="b"/>
                    <a:pathLst>
                      <a:path w="21600" h="21600" extrusionOk="0">
                        <a:moveTo>
                          <a:pt x="19421" y="0"/>
                        </a:moveTo>
                        <a:lnTo>
                          <a:pt x="0" y="0"/>
                        </a:lnTo>
                        <a:cubicBezTo>
                          <a:pt x="956" y="7858"/>
                          <a:pt x="3651" y="15283"/>
                          <a:pt x="7856" y="21600"/>
                        </a:cubicBezTo>
                        <a:lnTo>
                          <a:pt x="21600" y="5992"/>
                        </a:lnTo>
                        <a:cubicBezTo>
                          <a:pt x="20644" y="4125"/>
                          <a:pt x="19899" y="2106"/>
                          <a:pt x="19421"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42" name="Freeform: Shape 79"/>
                  <p:cNvSpPr/>
                  <p:nvPr/>
                </p:nvSpPr>
                <p:spPr>
                  <a:xfrm>
                    <a:off x="297661" y="654393"/>
                    <a:ext cx="157631" cy="178281"/>
                  </a:xfrm>
                  <a:custGeom>
                    <a:avLst/>
                    <a:gdLst/>
                    <a:ahLst/>
                    <a:cxnLst>
                      <a:cxn ang="0">
                        <a:pos x="wd2" y="hd2"/>
                      </a:cxn>
                      <a:cxn ang="5400000">
                        <a:pos x="wd2" y="hd2"/>
                      </a:cxn>
                      <a:cxn ang="10800000">
                        <a:pos x="wd2" y="hd2"/>
                      </a:cxn>
                      <a:cxn ang="16200000">
                        <a:pos x="wd2" y="hd2"/>
                      </a:cxn>
                    </a:cxnLst>
                    <a:rect l="0" t="0" r="r" b="b"/>
                    <a:pathLst>
                      <a:path w="21600" h="21600" extrusionOk="0">
                        <a:moveTo>
                          <a:pt x="15509" y="0"/>
                        </a:moveTo>
                        <a:lnTo>
                          <a:pt x="0" y="13732"/>
                        </a:lnTo>
                        <a:cubicBezTo>
                          <a:pt x="6307" y="17952"/>
                          <a:pt x="13738" y="20664"/>
                          <a:pt x="21600" y="21600"/>
                        </a:cubicBezTo>
                        <a:lnTo>
                          <a:pt x="21600" y="2196"/>
                        </a:lnTo>
                        <a:cubicBezTo>
                          <a:pt x="19462" y="1700"/>
                          <a:pt x="17431" y="974"/>
                          <a:pt x="15509"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43" name="Freeform: Shape 80"/>
                  <p:cNvSpPr/>
                  <p:nvPr/>
                </p:nvSpPr>
                <p:spPr>
                  <a:xfrm>
                    <a:off x="548133" y="164956"/>
                    <a:ext cx="286887" cy="287044"/>
                  </a:xfrm>
                  <a:custGeom>
                    <a:avLst/>
                    <a:gdLst/>
                    <a:ahLst/>
                    <a:cxnLst>
                      <a:cxn ang="0">
                        <a:pos x="wd2" y="hd2"/>
                      </a:cxn>
                      <a:cxn ang="5400000">
                        <a:pos x="wd2" y="hd2"/>
                      </a:cxn>
                      <a:cxn ang="10800000">
                        <a:pos x="wd2" y="hd2"/>
                      </a:cxn>
                      <a:cxn ang="16200000">
                        <a:pos x="wd2" y="hd2"/>
                      </a:cxn>
                    </a:cxnLst>
                    <a:rect l="0" t="0" r="r" b="b"/>
                    <a:pathLst>
                      <a:path w="21600" h="21600" extrusionOk="0">
                        <a:moveTo>
                          <a:pt x="83" y="0"/>
                        </a:moveTo>
                        <a:cubicBezTo>
                          <a:pt x="47" y="4413"/>
                          <a:pt x="12" y="10094"/>
                          <a:pt x="0" y="12075"/>
                        </a:cubicBezTo>
                        <a:cubicBezTo>
                          <a:pt x="4640" y="13332"/>
                          <a:pt x="8260" y="16962"/>
                          <a:pt x="9506" y="21600"/>
                        </a:cubicBezTo>
                        <a:lnTo>
                          <a:pt x="21600" y="21576"/>
                        </a:lnTo>
                        <a:cubicBezTo>
                          <a:pt x="20010" y="10415"/>
                          <a:pt x="11251" y="1625"/>
                          <a:pt x="83"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44" name="Freeform: Shape 81"/>
                  <p:cNvSpPr/>
                  <p:nvPr/>
                </p:nvSpPr>
                <p:spPr>
                  <a:xfrm>
                    <a:off x="350152" y="180718"/>
                    <a:ext cx="104036" cy="119800"/>
                  </a:xfrm>
                  <a:custGeom>
                    <a:avLst/>
                    <a:gdLst/>
                    <a:ahLst/>
                    <a:cxnLst>
                      <a:cxn ang="0">
                        <a:pos x="wd2" y="hd2"/>
                      </a:cxn>
                      <a:cxn ang="5400000">
                        <a:pos x="wd2" y="hd2"/>
                      </a:cxn>
                      <a:cxn ang="10800000">
                        <a:pos x="wd2" y="hd2"/>
                      </a:cxn>
                      <a:cxn ang="16200000">
                        <a:pos x="wd2" y="hd2"/>
                      </a:cxn>
                    </a:cxnLst>
                    <a:rect l="0" t="0" r="r" b="b"/>
                    <a:pathLst>
                      <a:path w="21600" h="21600" extrusionOk="0">
                        <a:moveTo>
                          <a:pt x="7789" y="0"/>
                        </a:moveTo>
                        <a:cubicBezTo>
                          <a:pt x="5138" y="824"/>
                          <a:pt x="2520" y="1791"/>
                          <a:pt x="0" y="2899"/>
                        </a:cubicBezTo>
                        <a:lnTo>
                          <a:pt x="21535" y="21600"/>
                        </a:lnTo>
                        <a:lnTo>
                          <a:pt x="21600" y="11994"/>
                        </a:lnTo>
                        <a:lnTo>
                          <a:pt x="7789"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45" name="Freeform: Shape 82"/>
                  <p:cNvSpPr/>
                  <p:nvPr/>
                </p:nvSpPr>
                <p:spPr>
                  <a:xfrm>
                    <a:off x="295297" y="209408"/>
                    <a:ext cx="149749" cy="134774"/>
                  </a:xfrm>
                  <a:custGeom>
                    <a:avLst/>
                    <a:gdLst/>
                    <a:ahLst/>
                    <a:cxnLst>
                      <a:cxn ang="0">
                        <a:pos x="wd2" y="hd2"/>
                      </a:cxn>
                      <a:cxn ang="5400000">
                        <a:pos x="wd2" y="hd2"/>
                      </a:cxn>
                      <a:cxn ang="10800000">
                        <a:pos x="wd2" y="hd2"/>
                      </a:cxn>
                      <a:cxn ang="16200000">
                        <a:pos x="wd2" y="hd2"/>
                      </a:cxn>
                    </a:cxnLst>
                    <a:rect l="0" t="0" r="r" b="b"/>
                    <a:pathLst>
                      <a:path w="21600" h="21600" extrusionOk="0">
                        <a:moveTo>
                          <a:pt x="4593" y="0"/>
                        </a:moveTo>
                        <a:cubicBezTo>
                          <a:pt x="3001" y="1061"/>
                          <a:pt x="1478" y="2223"/>
                          <a:pt x="0" y="3486"/>
                        </a:cubicBezTo>
                        <a:lnTo>
                          <a:pt x="16302" y="21600"/>
                        </a:lnTo>
                        <a:cubicBezTo>
                          <a:pt x="17985" y="20488"/>
                          <a:pt x="19758" y="19579"/>
                          <a:pt x="21600" y="18897"/>
                        </a:cubicBezTo>
                        <a:lnTo>
                          <a:pt x="4593"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46" name="Freeform: Shape 83"/>
                  <p:cNvSpPr/>
                  <p:nvPr/>
                </p:nvSpPr>
                <p:spPr>
                  <a:xfrm>
                    <a:off x="414937" y="164482"/>
                    <a:ext cx="39567" cy="47291"/>
                  </a:xfrm>
                  <a:custGeom>
                    <a:avLst/>
                    <a:gdLst/>
                    <a:ahLst/>
                    <a:cxnLst>
                      <a:cxn ang="0">
                        <a:pos x="wd2" y="hd2"/>
                      </a:cxn>
                      <a:cxn ang="5400000">
                        <a:pos x="wd2" y="hd2"/>
                      </a:cxn>
                      <a:cxn ang="10800000">
                        <a:pos x="wd2" y="hd2"/>
                      </a:cxn>
                      <a:cxn ang="16200000">
                        <a:pos x="wd2" y="hd2"/>
                      </a:cxn>
                    </a:cxnLst>
                    <a:rect l="0" t="0" r="r" b="b"/>
                    <a:pathLst>
                      <a:path w="21600" h="21600" extrusionOk="0">
                        <a:moveTo>
                          <a:pt x="0" y="3600"/>
                        </a:moveTo>
                        <a:lnTo>
                          <a:pt x="21514" y="21600"/>
                        </a:lnTo>
                        <a:lnTo>
                          <a:pt x="21600" y="0"/>
                        </a:lnTo>
                        <a:cubicBezTo>
                          <a:pt x="14285" y="864"/>
                          <a:pt x="7143" y="2016"/>
                          <a:pt x="0" y="360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47" name="Freeform: Shape 84"/>
                  <p:cNvSpPr/>
                  <p:nvPr/>
                </p:nvSpPr>
                <p:spPr>
                  <a:xfrm>
                    <a:off x="249270" y="247396"/>
                    <a:ext cx="138400" cy="138401"/>
                  </a:xfrm>
                  <a:custGeom>
                    <a:avLst/>
                    <a:gdLst/>
                    <a:ahLst/>
                    <a:cxnLst>
                      <a:cxn ang="0">
                        <a:pos x="wd2" y="hd2"/>
                      </a:cxn>
                      <a:cxn ang="5400000">
                        <a:pos x="wd2" y="hd2"/>
                      </a:cxn>
                      <a:cxn ang="10800000">
                        <a:pos x="wd2" y="hd2"/>
                      </a:cxn>
                      <a:cxn ang="16200000">
                        <a:pos x="wd2" y="hd2"/>
                      </a:cxn>
                    </a:cxnLst>
                    <a:rect l="0" t="0" r="r" b="b"/>
                    <a:pathLst>
                      <a:path w="21600" h="21600" extrusionOk="0">
                        <a:moveTo>
                          <a:pt x="4182" y="0"/>
                        </a:moveTo>
                        <a:cubicBezTo>
                          <a:pt x="3469" y="640"/>
                          <a:pt x="2755" y="1304"/>
                          <a:pt x="2067" y="1993"/>
                        </a:cubicBezTo>
                        <a:cubicBezTo>
                          <a:pt x="1353" y="2706"/>
                          <a:pt x="664" y="3444"/>
                          <a:pt x="0" y="4182"/>
                        </a:cubicBezTo>
                        <a:lnTo>
                          <a:pt x="17418" y="21600"/>
                        </a:lnTo>
                        <a:cubicBezTo>
                          <a:pt x="18672" y="20075"/>
                          <a:pt x="20050" y="18672"/>
                          <a:pt x="21600" y="17418"/>
                        </a:cubicBezTo>
                        <a:lnTo>
                          <a:pt x="4182"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48" name="Freeform: Shape 85"/>
                  <p:cNvSpPr/>
                  <p:nvPr/>
                </p:nvSpPr>
                <p:spPr>
                  <a:xfrm>
                    <a:off x="166830" y="413063"/>
                    <a:ext cx="44611" cy="37045"/>
                  </a:xfrm>
                  <a:custGeom>
                    <a:avLst/>
                    <a:gdLst/>
                    <a:ahLst/>
                    <a:cxnLst>
                      <a:cxn ang="0">
                        <a:pos x="wd2" y="hd2"/>
                      </a:cxn>
                      <a:cxn ang="5400000">
                        <a:pos x="wd2" y="hd2"/>
                      </a:cxn>
                      <a:cxn ang="10800000">
                        <a:pos x="wd2" y="hd2"/>
                      </a:cxn>
                      <a:cxn ang="16200000">
                        <a:pos x="wd2" y="hd2"/>
                      </a:cxn>
                    </a:cxnLst>
                    <a:rect l="0" t="0" r="r" b="b"/>
                    <a:pathLst>
                      <a:path w="21600" h="21600" extrusionOk="0">
                        <a:moveTo>
                          <a:pt x="3664" y="0"/>
                        </a:moveTo>
                        <a:cubicBezTo>
                          <a:pt x="2137" y="7077"/>
                          <a:pt x="916" y="14339"/>
                          <a:pt x="0" y="21600"/>
                        </a:cubicBezTo>
                        <a:lnTo>
                          <a:pt x="21600" y="21600"/>
                        </a:lnTo>
                        <a:lnTo>
                          <a:pt x="3664"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49" name="Freeform: Shape 86"/>
                  <p:cNvSpPr/>
                  <p:nvPr/>
                </p:nvSpPr>
                <p:spPr>
                  <a:xfrm>
                    <a:off x="182908" y="348436"/>
                    <a:ext cx="117751" cy="101673"/>
                  </a:xfrm>
                  <a:custGeom>
                    <a:avLst/>
                    <a:gdLst/>
                    <a:ahLst/>
                    <a:cxnLst>
                      <a:cxn ang="0">
                        <a:pos x="wd2" y="hd2"/>
                      </a:cxn>
                      <a:cxn ang="5400000">
                        <a:pos x="wd2" y="hd2"/>
                      </a:cxn>
                      <a:cxn ang="10800000">
                        <a:pos x="wd2" y="hd2"/>
                      </a:cxn>
                      <a:cxn ang="16200000">
                        <a:pos x="wd2" y="hd2"/>
                      </a:cxn>
                    </a:cxnLst>
                    <a:rect l="0" t="0" r="r" b="b"/>
                    <a:pathLst>
                      <a:path w="21600" h="21600" extrusionOk="0">
                        <a:moveTo>
                          <a:pt x="2920" y="0"/>
                        </a:moveTo>
                        <a:cubicBezTo>
                          <a:pt x="1793" y="2579"/>
                          <a:pt x="839" y="5224"/>
                          <a:pt x="0" y="7937"/>
                        </a:cubicBezTo>
                        <a:lnTo>
                          <a:pt x="11798" y="21600"/>
                        </a:lnTo>
                        <a:lnTo>
                          <a:pt x="21600" y="21600"/>
                        </a:lnTo>
                        <a:lnTo>
                          <a:pt x="2920"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50" name="Freeform: Shape 87"/>
                  <p:cNvSpPr/>
                  <p:nvPr/>
                </p:nvSpPr>
                <p:spPr>
                  <a:xfrm>
                    <a:off x="211596" y="293739"/>
                    <a:ext cx="134617" cy="149750"/>
                  </a:xfrm>
                  <a:custGeom>
                    <a:avLst/>
                    <a:gdLst/>
                    <a:ahLst/>
                    <a:cxnLst>
                      <a:cxn ang="0">
                        <a:pos x="wd2" y="hd2"/>
                      </a:cxn>
                      <a:cxn ang="5400000">
                        <a:pos x="wd2" y="hd2"/>
                      </a:cxn>
                      <a:cxn ang="10800000">
                        <a:pos x="wd2" y="hd2"/>
                      </a:cxn>
                      <a:cxn ang="16200000">
                        <a:pos x="wd2" y="hd2"/>
                      </a:cxn>
                    </a:cxnLst>
                    <a:rect l="0" t="0" r="r" b="b"/>
                    <a:pathLst>
                      <a:path w="21600" h="21600" extrusionOk="0">
                        <a:moveTo>
                          <a:pt x="3465" y="0"/>
                        </a:moveTo>
                        <a:cubicBezTo>
                          <a:pt x="2200" y="1478"/>
                          <a:pt x="1062" y="3001"/>
                          <a:pt x="0" y="4593"/>
                        </a:cubicBezTo>
                        <a:lnTo>
                          <a:pt x="18919" y="21600"/>
                        </a:lnTo>
                        <a:cubicBezTo>
                          <a:pt x="19577" y="19736"/>
                          <a:pt x="20487" y="17962"/>
                          <a:pt x="21600" y="16302"/>
                        </a:cubicBezTo>
                        <a:lnTo>
                          <a:pt x="3465"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51" name="Freeform: Shape 88"/>
                  <p:cNvSpPr/>
                  <p:nvPr/>
                </p:nvSpPr>
                <p:spPr>
                  <a:xfrm>
                    <a:off x="622376" y="591869"/>
                    <a:ext cx="174969" cy="33313"/>
                  </a:xfrm>
                  <a:prstGeom prst="rect">
                    <a:avLst/>
                  </a:pr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52" name="Freeform: Shape 89"/>
                  <p:cNvSpPr/>
                  <p:nvPr/>
                </p:nvSpPr>
                <p:spPr>
                  <a:xfrm>
                    <a:off x="578241" y="554141"/>
                    <a:ext cx="231039" cy="339667"/>
                  </a:xfrm>
                  <a:custGeom>
                    <a:avLst/>
                    <a:gdLst/>
                    <a:ahLst/>
                    <a:cxnLst>
                      <a:cxn ang="0">
                        <a:pos x="wd2" y="hd2"/>
                      </a:cxn>
                      <a:cxn ang="5400000">
                        <a:pos x="wd2" y="hd2"/>
                      </a:cxn>
                      <a:cxn ang="10800000">
                        <a:pos x="wd2" y="hd2"/>
                      </a:cxn>
                      <a:cxn ang="16200000">
                        <a:pos x="wd2" y="hd2"/>
                      </a:cxn>
                    </a:cxnLst>
                    <a:rect l="0" t="0" r="r" b="b"/>
                    <a:pathLst>
                      <a:path w="21600" h="21600" extrusionOk="0">
                        <a:moveTo>
                          <a:pt x="18737" y="0"/>
                        </a:moveTo>
                        <a:lnTo>
                          <a:pt x="2863" y="0"/>
                        </a:lnTo>
                        <a:cubicBezTo>
                          <a:pt x="1275" y="0"/>
                          <a:pt x="0" y="1144"/>
                          <a:pt x="0" y="2569"/>
                        </a:cubicBezTo>
                        <a:lnTo>
                          <a:pt x="0" y="19031"/>
                        </a:lnTo>
                        <a:cubicBezTo>
                          <a:pt x="0" y="20456"/>
                          <a:pt x="1275" y="21600"/>
                          <a:pt x="2863" y="21600"/>
                        </a:cubicBezTo>
                        <a:lnTo>
                          <a:pt x="18737" y="21600"/>
                        </a:lnTo>
                        <a:cubicBezTo>
                          <a:pt x="20325" y="21600"/>
                          <a:pt x="21600" y="20456"/>
                          <a:pt x="21600" y="19031"/>
                        </a:cubicBezTo>
                        <a:lnTo>
                          <a:pt x="21600" y="2569"/>
                        </a:lnTo>
                        <a:cubicBezTo>
                          <a:pt x="21600" y="1144"/>
                          <a:pt x="20325" y="0"/>
                          <a:pt x="18737" y="0"/>
                        </a:cubicBezTo>
                        <a:close/>
                        <a:moveTo>
                          <a:pt x="5595" y="19849"/>
                        </a:moveTo>
                        <a:lnTo>
                          <a:pt x="2537" y="19849"/>
                        </a:lnTo>
                        <a:cubicBezTo>
                          <a:pt x="1965" y="19849"/>
                          <a:pt x="1496" y="19428"/>
                          <a:pt x="1496" y="18915"/>
                        </a:cubicBezTo>
                        <a:cubicBezTo>
                          <a:pt x="1496" y="18401"/>
                          <a:pt x="1965" y="17981"/>
                          <a:pt x="2537" y="17981"/>
                        </a:cubicBezTo>
                        <a:lnTo>
                          <a:pt x="5595" y="17981"/>
                        </a:lnTo>
                        <a:cubicBezTo>
                          <a:pt x="6168" y="17981"/>
                          <a:pt x="6636" y="18401"/>
                          <a:pt x="6636" y="18915"/>
                        </a:cubicBezTo>
                        <a:cubicBezTo>
                          <a:pt x="6636" y="19428"/>
                          <a:pt x="6181" y="19849"/>
                          <a:pt x="5595" y="19849"/>
                        </a:cubicBezTo>
                        <a:close/>
                        <a:moveTo>
                          <a:pt x="5595" y="15178"/>
                        </a:moveTo>
                        <a:lnTo>
                          <a:pt x="2537" y="15178"/>
                        </a:lnTo>
                        <a:cubicBezTo>
                          <a:pt x="1965" y="15178"/>
                          <a:pt x="1496" y="14758"/>
                          <a:pt x="1496" y="14244"/>
                        </a:cubicBezTo>
                        <a:cubicBezTo>
                          <a:pt x="1496" y="13731"/>
                          <a:pt x="1965" y="13310"/>
                          <a:pt x="2537" y="13310"/>
                        </a:cubicBezTo>
                        <a:lnTo>
                          <a:pt x="5595" y="13310"/>
                        </a:lnTo>
                        <a:cubicBezTo>
                          <a:pt x="6168" y="13310"/>
                          <a:pt x="6636" y="13731"/>
                          <a:pt x="6636" y="14244"/>
                        </a:cubicBezTo>
                        <a:cubicBezTo>
                          <a:pt x="6636" y="14758"/>
                          <a:pt x="6181" y="15178"/>
                          <a:pt x="5595" y="15178"/>
                        </a:cubicBezTo>
                        <a:close/>
                        <a:moveTo>
                          <a:pt x="5595" y="10391"/>
                        </a:moveTo>
                        <a:lnTo>
                          <a:pt x="2537" y="10391"/>
                        </a:lnTo>
                        <a:cubicBezTo>
                          <a:pt x="1965" y="10391"/>
                          <a:pt x="1496" y="9971"/>
                          <a:pt x="1496" y="9457"/>
                        </a:cubicBezTo>
                        <a:cubicBezTo>
                          <a:pt x="1496" y="8944"/>
                          <a:pt x="1965" y="8523"/>
                          <a:pt x="2537" y="8523"/>
                        </a:cubicBezTo>
                        <a:lnTo>
                          <a:pt x="5595" y="8523"/>
                        </a:lnTo>
                        <a:cubicBezTo>
                          <a:pt x="6168" y="8523"/>
                          <a:pt x="6636" y="8944"/>
                          <a:pt x="6636" y="9457"/>
                        </a:cubicBezTo>
                        <a:cubicBezTo>
                          <a:pt x="6636" y="9971"/>
                          <a:pt x="6181" y="10391"/>
                          <a:pt x="5595" y="10391"/>
                        </a:cubicBezTo>
                        <a:close/>
                        <a:moveTo>
                          <a:pt x="12309" y="19849"/>
                        </a:moveTo>
                        <a:lnTo>
                          <a:pt x="9252" y="19849"/>
                        </a:lnTo>
                        <a:cubicBezTo>
                          <a:pt x="8679" y="19849"/>
                          <a:pt x="8211" y="19428"/>
                          <a:pt x="8211" y="18915"/>
                        </a:cubicBezTo>
                        <a:cubicBezTo>
                          <a:pt x="8211" y="18401"/>
                          <a:pt x="8679" y="17981"/>
                          <a:pt x="9252" y="17981"/>
                        </a:cubicBezTo>
                        <a:lnTo>
                          <a:pt x="12309" y="17981"/>
                        </a:lnTo>
                        <a:cubicBezTo>
                          <a:pt x="12882" y="17981"/>
                          <a:pt x="13350" y="18401"/>
                          <a:pt x="13350" y="18915"/>
                        </a:cubicBezTo>
                        <a:cubicBezTo>
                          <a:pt x="13350" y="19428"/>
                          <a:pt x="12882" y="19849"/>
                          <a:pt x="12309" y="19849"/>
                        </a:cubicBezTo>
                        <a:close/>
                        <a:moveTo>
                          <a:pt x="12309" y="15178"/>
                        </a:moveTo>
                        <a:lnTo>
                          <a:pt x="9252" y="15178"/>
                        </a:lnTo>
                        <a:cubicBezTo>
                          <a:pt x="8679" y="15178"/>
                          <a:pt x="8211" y="14758"/>
                          <a:pt x="8211" y="14244"/>
                        </a:cubicBezTo>
                        <a:cubicBezTo>
                          <a:pt x="8211" y="13731"/>
                          <a:pt x="8679" y="13310"/>
                          <a:pt x="9252" y="13310"/>
                        </a:cubicBezTo>
                        <a:lnTo>
                          <a:pt x="12309" y="13310"/>
                        </a:lnTo>
                        <a:cubicBezTo>
                          <a:pt x="12882" y="13310"/>
                          <a:pt x="13350" y="13731"/>
                          <a:pt x="13350" y="14244"/>
                        </a:cubicBezTo>
                        <a:cubicBezTo>
                          <a:pt x="13350" y="14758"/>
                          <a:pt x="12882" y="15178"/>
                          <a:pt x="12309" y="15178"/>
                        </a:cubicBezTo>
                        <a:close/>
                        <a:moveTo>
                          <a:pt x="12309" y="10391"/>
                        </a:moveTo>
                        <a:lnTo>
                          <a:pt x="9252" y="10391"/>
                        </a:lnTo>
                        <a:cubicBezTo>
                          <a:pt x="8679" y="10391"/>
                          <a:pt x="8211" y="9971"/>
                          <a:pt x="8211" y="9457"/>
                        </a:cubicBezTo>
                        <a:cubicBezTo>
                          <a:pt x="8211" y="8944"/>
                          <a:pt x="8679" y="8523"/>
                          <a:pt x="9252" y="8523"/>
                        </a:cubicBezTo>
                        <a:lnTo>
                          <a:pt x="12309" y="8523"/>
                        </a:lnTo>
                        <a:cubicBezTo>
                          <a:pt x="12882" y="8523"/>
                          <a:pt x="13350" y="8944"/>
                          <a:pt x="13350" y="9457"/>
                        </a:cubicBezTo>
                        <a:cubicBezTo>
                          <a:pt x="13350" y="9971"/>
                          <a:pt x="12882" y="10391"/>
                          <a:pt x="12309" y="10391"/>
                        </a:cubicBezTo>
                        <a:close/>
                        <a:moveTo>
                          <a:pt x="19037" y="19849"/>
                        </a:moveTo>
                        <a:lnTo>
                          <a:pt x="15979" y="19849"/>
                        </a:lnTo>
                        <a:cubicBezTo>
                          <a:pt x="15406" y="19849"/>
                          <a:pt x="14938" y="19428"/>
                          <a:pt x="14938" y="18915"/>
                        </a:cubicBezTo>
                        <a:cubicBezTo>
                          <a:pt x="14938" y="18401"/>
                          <a:pt x="15406" y="17981"/>
                          <a:pt x="15979" y="17981"/>
                        </a:cubicBezTo>
                        <a:lnTo>
                          <a:pt x="19037" y="17981"/>
                        </a:lnTo>
                        <a:cubicBezTo>
                          <a:pt x="19609" y="17981"/>
                          <a:pt x="20078" y="18401"/>
                          <a:pt x="20078" y="18915"/>
                        </a:cubicBezTo>
                        <a:cubicBezTo>
                          <a:pt x="20078" y="19428"/>
                          <a:pt x="19609" y="19849"/>
                          <a:pt x="19037" y="19849"/>
                        </a:cubicBezTo>
                        <a:close/>
                        <a:moveTo>
                          <a:pt x="19037" y="15178"/>
                        </a:moveTo>
                        <a:lnTo>
                          <a:pt x="15979" y="15178"/>
                        </a:lnTo>
                        <a:cubicBezTo>
                          <a:pt x="15406" y="15178"/>
                          <a:pt x="14938" y="14758"/>
                          <a:pt x="14938" y="14244"/>
                        </a:cubicBezTo>
                        <a:cubicBezTo>
                          <a:pt x="14938" y="13731"/>
                          <a:pt x="15406" y="13310"/>
                          <a:pt x="15979" y="13310"/>
                        </a:cubicBezTo>
                        <a:lnTo>
                          <a:pt x="19037" y="13310"/>
                        </a:lnTo>
                        <a:cubicBezTo>
                          <a:pt x="19609" y="13310"/>
                          <a:pt x="20078" y="13731"/>
                          <a:pt x="20078" y="14244"/>
                        </a:cubicBezTo>
                        <a:cubicBezTo>
                          <a:pt x="20078" y="14758"/>
                          <a:pt x="19609" y="15178"/>
                          <a:pt x="19037" y="15178"/>
                        </a:cubicBezTo>
                        <a:close/>
                        <a:moveTo>
                          <a:pt x="19037" y="10391"/>
                        </a:moveTo>
                        <a:lnTo>
                          <a:pt x="15979" y="10391"/>
                        </a:lnTo>
                        <a:cubicBezTo>
                          <a:pt x="15406" y="10391"/>
                          <a:pt x="14938" y="9971"/>
                          <a:pt x="14938" y="9457"/>
                        </a:cubicBezTo>
                        <a:cubicBezTo>
                          <a:pt x="14938" y="8944"/>
                          <a:pt x="15406" y="8523"/>
                          <a:pt x="15979" y="8523"/>
                        </a:cubicBezTo>
                        <a:lnTo>
                          <a:pt x="19037" y="8523"/>
                        </a:lnTo>
                        <a:cubicBezTo>
                          <a:pt x="19609" y="8523"/>
                          <a:pt x="20078" y="8944"/>
                          <a:pt x="20078" y="9457"/>
                        </a:cubicBezTo>
                        <a:cubicBezTo>
                          <a:pt x="20078" y="9971"/>
                          <a:pt x="19609" y="10391"/>
                          <a:pt x="19037" y="10391"/>
                        </a:cubicBezTo>
                        <a:close/>
                        <a:moveTo>
                          <a:pt x="20169" y="5838"/>
                        </a:moveTo>
                        <a:cubicBezTo>
                          <a:pt x="20169" y="6352"/>
                          <a:pt x="19700" y="6772"/>
                          <a:pt x="19128" y="6772"/>
                        </a:cubicBezTo>
                        <a:lnTo>
                          <a:pt x="2602" y="6772"/>
                        </a:lnTo>
                        <a:cubicBezTo>
                          <a:pt x="2030" y="6772"/>
                          <a:pt x="1561" y="6352"/>
                          <a:pt x="1561" y="5838"/>
                        </a:cubicBezTo>
                        <a:lnTo>
                          <a:pt x="1561" y="2218"/>
                        </a:lnTo>
                        <a:cubicBezTo>
                          <a:pt x="1561" y="1705"/>
                          <a:pt x="2030" y="1284"/>
                          <a:pt x="2602" y="1284"/>
                        </a:cubicBezTo>
                        <a:lnTo>
                          <a:pt x="19128" y="1284"/>
                        </a:lnTo>
                        <a:cubicBezTo>
                          <a:pt x="19700" y="1284"/>
                          <a:pt x="20169" y="1705"/>
                          <a:pt x="20169" y="2218"/>
                        </a:cubicBezTo>
                        <a:lnTo>
                          <a:pt x="20169" y="5838"/>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grpSp>
          </p:grpSp>
          <p:grpSp>
            <p:nvGrpSpPr>
              <p:cNvPr id="218" name="Group"/>
              <p:cNvGrpSpPr/>
              <p:nvPr/>
            </p:nvGrpSpPr>
            <p:grpSpPr>
              <a:xfrm>
                <a:off x="2088173" y="1198518"/>
                <a:ext cx="3694192" cy="1030435"/>
                <a:chOff x="-1" y="0"/>
                <a:chExt cx="3694191" cy="1030434"/>
              </a:xfrm>
            </p:grpSpPr>
            <p:grpSp>
              <p:nvGrpSpPr>
                <p:cNvPr id="221" name="Rectangle: Rounded Corners 29"/>
                <p:cNvGrpSpPr/>
                <p:nvPr/>
              </p:nvGrpSpPr>
              <p:grpSpPr>
                <a:xfrm>
                  <a:off x="1108844" y="0"/>
                  <a:ext cx="2585346" cy="1030434"/>
                  <a:chOff x="-1" y="0"/>
                  <a:chExt cx="2585345" cy="1030433"/>
                </a:xfrm>
              </p:grpSpPr>
              <p:sp>
                <p:nvSpPr>
                  <p:cNvPr id="236" name="Rounded Rectangle"/>
                  <p:cNvSpPr/>
                  <p:nvPr/>
                </p:nvSpPr>
                <p:spPr>
                  <a:xfrm>
                    <a:off x="-1" y="0"/>
                    <a:ext cx="1535704" cy="1030433"/>
                  </a:xfrm>
                  <a:prstGeom prst="roundRect">
                    <a:avLst>
                      <a:gd name="adj" fmla="val 17206"/>
                    </a:avLst>
                  </a:prstGeom>
                  <a:solidFill>
                    <a:srgbClr val="FF0000"/>
                  </a:solidFill>
                  <a:ln w="12700" cap="flat">
                    <a:noFill/>
                    <a:miter lim="400000"/>
                  </a:ln>
                  <a:effectLst>
                    <a:outerShdw blurRad="50800" dist="139700" dir="10800000" rotWithShape="0">
                      <a:srgbClr val="000000">
                        <a:alpha val="32000"/>
                      </a:srgbClr>
                    </a:outerShdw>
                  </a:effectLst>
                </p:spPr>
                <p:txBody>
                  <a:bodyPr wrap="square" lIns="38100" tIns="38100" rIns="38100" bIns="38100" numCol="1" anchor="ctr">
                    <a:noAutofit/>
                  </a:bodyPr>
                  <a:lstStyle/>
                  <a:p>
                    <a:pPr algn="l">
                      <a:spcBef>
                        <a:spcPts val="1000"/>
                      </a:spcBef>
                      <a:defRPr sz="2700">
                        <a:solidFill>
                          <a:srgbClr val="000000"/>
                        </a:solidFill>
                        <a:effectLst/>
                      </a:defRPr>
                    </a:pPr>
                    <a:r>
                      <a:rPr lang="en-GB" sz="2000" dirty="0">
                        <a:solidFill>
                          <a:srgbClr val="000000"/>
                        </a:solidFill>
                      </a:rPr>
                      <a:t>2.091</a:t>
                    </a:r>
                    <a:r>
                      <a:rPr lang="en-GB" sz="2000" dirty="0"/>
                      <a:t> (₦’BN)</a:t>
                    </a:r>
                    <a:endParaRPr sz="2000" dirty="0"/>
                  </a:p>
                </p:txBody>
              </p:sp>
              <p:sp>
                <p:nvSpPr>
                  <p:cNvPr id="237" name="Text"/>
                  <p:cNvSpPr/>
                  <p:nvPr/>
                </p:nvSpPr>
                <p:spPr>
                  <a:xfrm>
                    <a:off x="51927" y="515215"/>
                    <a:ext cx="2533417" cy="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45718" tIns="45718" rIns="45718" bIns="45718" numCol="1" anchor="ctr">
                    <a:spAutoFit/>
                  </a:bodyPr>
                  <a:lstStyle/>
                  <a:p>
                    <a:pPr algn="l">
                      <a:spcBef>
                        <a:spcPts val="1000"/>
                      </a:spcBef>
                      <a:defRPr sz="2700">
                        <a:solidFill>
                          <a:srgbClr val="000000"/>
                        </a:solidFill>
                        <a:effectLst/>
                      </a:defRPr>
                    </a:pPr>
                    <a:endParaRPr dirty="0"/>
                  </a:p>
                </p:txBody>
              </p:sp>
            </p:grpSp>
            <p:grpSp>
              <p:nvGrpSpPr>
                <p:cNvPr id="222" name="Group"/>
                <p:cNvGrpSpPr/>
                <p:nvPr/>
              </p:nvGrpSpPr>
              <p:grpSpPr>
                <a:xfrm>
                  <a:off x="-1" y="10255"/>
                  <a:ext cx="1004617" cy="1009925"/>
                  <a:chOff x="0" y="0"/>
                  <a:chExt cx="1004615" cy="1009924"/>
                </a:xfrm>
              </p:grpSpPr>
              <p:sp>
                <p:nvSpPr>
                  <p:cNvPr id="223" name="Rectangle: Rounded Corners 28"/>
                  <p:cNvSpPr/>
                  <p:nvPr/>
                </p:nvSpPr>
                <p:spPr>
                  <a:xfrm>
                    <a:off x="0" y="0"/>
                    <a:ext cx="1004615" cy="1009924"/>
                  </a:xfrm>
                  <a:prstGeom prst="roundRect">
                    <a:avLst>
                      <a:gd name="adj" fmla="val 6667"/>
                    </a:avLst>
                  </a:prstGeom>
                  <a:solidFill>
                    <a:srgbClr val="8A6705"/>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defTabSz="914400">
                      <a:defRPr sz="1800" b="0" cap="none">
                        <a:solidFill>
                          <a:srgbClr val="FFFFFF"/>
                        </a:solidFill>
                        <a:effectLst/>
                        <a:latin typeface="Calibri"/>
                        <a:ea typeface="Calibri"/>
                        <a:cs typeface="Calibri"/>
                        <a:sym typeface="Calibri"/>
                      </a:defRPr>
                    </a:pPr>
                    <a:endParaRPr sz="2000" dirty="0"/>
                  </a:p>
                </p:txBody>
              </p:sp>
              <p:sp>
                <p:nvSpPr>
                  <p:cNvPr id="224" name="Freeform: Shape 78"/>
                  <p:cNvSpPr/>
                  <p:nvPr/>
                </p:nvSpPr>
                <p:spPr>
                  <a:xfrm>
                    <a:off x="166672" y="544685"/>
                    <a:ext cx="178122" cy="156842"/>
                  </a:xfrm>
                  <a:custGeom>
                    <a:avLst/>
                    <a:gdLst/>
                    <a:ahLst/>
                    <a:cxnLst>
                      <a:cxn ang="0">
                        <a:pos x="wd2" y="hd2"/>
                      </a:cxn>
                      <a:cxn ang="5400000">
                        <a:pos x="wd2" y="hd2"/>
                      </a:cxn>
                      <a:cxn ang="10800000">
                        <a:pos x="wd2" y="hd2"/>
                      </a:cxn>
                      <a:cxn ang="16200000">
                        <a:pos x="wd2" y="hd2"/>
                      </a:cxn>
                    </a:cxnLst>
                    <a:rect l="0" t="0" r="r" b="b"/>
                    <a:pathLst>
                      <a:path w="21600" h="21600" extrusionOk="0">
                        <a:moveTo>
                          <a:pt x="19421" y="0"/>
                        </a:moveTo>
                        <a:lnTo>
                          <a:pt x="0" y="0"/>
                        </a:lnTo>
                        <a:cubicBezTo>
                          <a:pt x="956" y="7858"/>
                          <a:pt x="3651" y="15283"/>
                          <a:pt x="7856" y="21600"/>
                        </a:cubicBezTo>
                        <a:lnTo>
                          <a:pt x="21600" y="5992"/>
                        </a:lnTo>
                        <a:cubicBezTo>
                          <a:pt x="20644" y="4125"/>
                          <a:pt x="19899" y="2106"/>
                          <a:pt x="19421"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25" name="Freeform: Shape 79"/>
                  <p:cNvSpPr/>
                  <p:nvPr/>
                </p:nvSpPr>
                <p:spPr>
                  <a:xfrm>
                    <a:off x="297661" y="654393"/>
                    <a:ext cx="157631" cy="178281"/>
                  </a:xfrm>
                  <a:custGeom>
                    <a:avLst/>
                    <a:gdLst/>
                    <a:ahLst/>
                    <a:cxnLst>
                      <a:cxn ang="0">
                        <a:pos x="wd2" y="hd2"/>
                      </a:cxn>
                      <a:cxn ang="5400000">
                        <a:pos x="wd2" y="hd2"/>
                      </a:cxn>
                      <a:cxn ang="10800000">
                        <a:pos x="wd2" y="hd2"/>
                      </a:cxn>
                      <a:cxn ang="16200000">
                        <a:pos x="wd2" y="hd2"/>
                      </a:cxn>
                    </a:cxnLst>
                    <a:rect l="0" t="0" r="r" b="b"/>
                    <a:pathLst>
                      <a:path w="21600" h="21600" extrusionOk="0">
                        <a:moveTo>
                          <a:pt x="15509" y="0"/>
                        </a:moveTo>
                        <a:lnTo>
                          <a:pt x="0" y="13732"/>
                        </a:lnTo>
                        <a:cubicBezTo>
                          <a:pt x="6307" y="17952"/>
                          <a:pt x="13738" y="20664"/>
                          <a:pt x="21600" y="21600"/>
                        </a:cubicBezTo>
                        <a:lnTo>
                          <a:pt x="21600" y="2196"/>
                        </a:lnTo>
                        <a:cubicBezTo>
                          <a:pt x="19462" y="1700"/>
                          <a:pt x="17431" y="974"/>
                          <a:pt x="15509"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26" name="Freeform: Shape 80"/>
                  <p:cNvSpPr/>
                  <p:nvPr/>
                </p:nvSpPr>
                <p:spPr>
                  <a:xfrm>
                    <a:off x="548133" y="164956"/>
                    <a:ext cx="286887" cy="287044"/>
                  </a:xfrm>
                  <a:custGeom>
                    <a:avLst/>
                    <a:gdLst/>
                    <a:ahLst/>
                    <a:cxnLst>
                      <a:cxn ang="0">
                        <a:pos x="wd2" y="hd2"/>
                      </a:cxn>
                      <a:cxn ang="5400000">
                        <a:pos x="wd2" y="hd2"/>
                      </a:cxn>
                      <a:cxn ang="10800000">
                        <a:pos x="wd2" y="hd2"/>
                      </a:cxn>
                      <a:cxn ang="16200000">
                        <a:pos x="wd2" y="hd2"/>
                      </a:cxn>
                    </a:cxnLst>
                    <a:rect l="0" t="0" r="r" b="b"/>
                    <a:pathLst>
                      <a:path w="21600" h="21600" extrusionOk="0">
                        <a:moveTo>
                          <a:pt x="83" y="0"/>
                        </a:moveTo>
                        <a:cubicBezTo>
                          <a:pt x="47" y="4413"/>
                          <a:pt x="12" y="10094"/>
                          <a:pt x="0" y="12075"/>
                        </a:cubicBezTo>
                        <a:cubicBezTo>
                          <a:pt x="4640" y="13332"/>
                          <a:pt x="8260" y="16962"/>
                          <a:pt x="9506" y="21600"/>
                        </a:cubicBezTo>
                        <a:lnTo>
                          <a:pt x="21600" y="21576"/>
                        </a:lnTo>
                        <a:cubicBezTo>
                          <a:pt x="20010" y="10415"/>
                          <a:pt x="11251" y="1625"/>
                          <a:pt x="83"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27" name="Freeform: Shape 81"/>
                  <p:cNvSpPr/>
                  <p:nvPr/>
                </p:nvSpPr>
                <p:spPr>
                  <a:xfrm>
                    <a:off x="350152" y="180718"/>
                    <a:ext cx="104036" cy="119800"/>
                  </a:xfrm>
                  <a:custGeom>
                    <a:avLst/>
                    <a:gdLst/>
                    <a:ahLst/>
                    <a:cxnLst>
                      <a:cxn ang="0">
                        <a:pos x="wd2" y="hd2"/>
                      </a:cxn>
                      <a:cxn ang="5400000">
                        <a:pos x="wd2" y="hd2"/>
                      </a:cxn>
                      <a:cxn ang="10800000">
                        <a:pos x="wd2" y="hd2"/>
                      </a:cxn>
                      <a:cxn ang="16200000">
                        <a:pos x="wd2" y="hd2"/>
                      </a:cxn>
                    </a:cxnLst>
                    <a:rect l="0" t="0" r="r" b="b"/>
                    <a:pathLst>
                      <a:path w="21600" h="21600" extrusionOk="0">
                        <a:moveTo>
                          <a:pt x="7789" y="0"/>
                        </a:moveTo>
                        <a:cubicBezTo>
                          <a:pt x="5138" y="824"/>
                          <a:pt x="2520" y="1791"/>
                          <a:pt x="0" y="2899"/>
                        </a:cubicBezTo>
                        <a:lnTo>
                          <a:pt x="21535" y="21600"/>
                        </a:lnTo>
                        <a:lnTo>
                          <a:pt x="21600" y="11994"/>
                        </a:lnTo>
                        <a:lnTo>
                          <a:pt x="7789"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28" name="Freeform: Shape 82"/>
                  <p:cNvSpPr/>
                  <p:nvPr/>
                </p:nvSpPr>
                <p:spPr>
                  <a:xfrm>
                    <a:off x="295297" y="209408"/>
                    <a:ext cx="149749" cy="134774"/>
                  </a:xfrm>
                  <a:custGeom>
                    <a:avLst/>
                    <a:gdLst/>
                    <a:ahLst/>
                    <a:cxnLst>
                      <a:cxn ang="0">
                        <a:pos x="wd2" y="hd2"/>
                      </a:cxn>
                      <a:cxn ang="5400000">
                        <a:pos x="wd2" y="hd2"/>
                      </a:cxn>
                      <a:cxn ang="10800000">
                        <a:pos x="wd2" y="hd2"/>
                      </a:cxn>
                      <a:cxn ang="16200000">
                        <a:pos x="wd2" y="hd2"/>
                      </a:cxn>
                    </a:cxnLst>
                    <a:rect l="0" t="0" r="r" b="b"/>
                    <a:pathLst>
                      <a:path w="21600" h="21600" extrusionOk="0">
                        <a:moveTo>
                          <a:pt x="4593" y="0"/>
                        </a:moveTo>
                        <a:cubicBezTo>
                          <a:pt x="3001" y="1061"/>
                          <a:pt x="1478" y="2223"/>
                          <a:pt x="0" y="3486"/>
                        </a:cubicBezTo>
                        <a:lnTo>
                          <a:pt x="16302" y="21600"/>
                        </a:lnTo>
                        <a:cubicBezTo>
                          <a:pt x="17985" y="20488"/>
                          <a:pt x="19758" y="19579"/>
                          <a:pt x="21600" y="18897"/>
                        </a:cubicBezTo>
                        <a:lnTo>
                          <a:pt x="4593"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29" name="Freeform: Shape 83"/>
                  <p:cNvSpPr/>
                  <p:nvPr/>
                </p:nvSpPr>
                <p:spPr>
                  <a:xfrm>
                    <a:off x="414937" y="164482"/>
                    <a:ext cx="39567" cy="47291"/>
                  </a:xfrm>
                  <a:custGeom>
                    <a:avLst/>
                    <a:gdLst/>
                    <a:ahLst/>
                    <a:cxnLst>
                      <a:cxn ang="0">
                        <a:pos x="wd2" y="hd2"/>
                      </a:cxn>
                      <a:cxn ang="5400000">
                        <a:pos x="wd2" y="hd2"/>
                      </a:cxn>
                      <a:cxn ang="10800000">
                        <a:pos x="wd2" y="hd2"/>
                      </a:cxn>
                      <a:cxn ang="16200000">
                        <a:pos x="wd2" y="hd2"/>
                      </a:cxn>
                    </a:cxnLst>
                    <a:rect l="0" t="0" r="r" b="b"/>
                    <a:pathLst>
                      <a:path w="21600" h="21600" extrusionOk="0">
                        <a:moveTo>
                          <a:pt x="0" y="3600"/>
                        </a:moveTo>
                        <a:lnTo>
                          <a:pt x="21514" y="21600"/>
                        </a:lnTo>
                        <a:lnTo>
                          <a:pt x="21600" y="0"/>
                        </a:lnTo>
                        <a:cubicBezTo>
                          <a:pt x="14285" y="864"/>
                          <a:pt x="7143" y="2016"/>
                          <a:pt x="0" y="360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30" name="Freeform: Shape 84"/>
                  <p:cNvSpPr/>
                  <p:nvPr/>
                </p:nvSpPr>
                <p:spPr>
                  <a:xfrm>
                    <a:off x="249270" y="247396"/>
                    <a:ext cx="138400" cy="138401"/>
                  </a:xfrm>
                  <a:custGeom>
                    <a:avLst/>
                    <a:gdLst/>
                    <a:ahLst/>
                    <a:cxnLst>
                      <a:cxn ang="0">
                        <a:pos x="wd2" y="hd2"/>
                      </a:cxn>
                      <a:cxn ang="5400000">
                        <a:pos x="wd2" y="hd2"/>
                      </a:cxn>
                      <a:cxn ang="10800000">
                        <a:pos x="wd2" y="hd2"/>
                      </a:cxn>
                      <a:cxn ang="16200000">
                        <a:pos x="wd2" y="hd2"/>
                      </a:cxn>
                    </a:cxnLst>
                    <a:rect l="0" t="0" r="r" b="b"/>
                    <a:pathLst>
                      <a:path w="21600" h="21600" extrusionOk="0">
                        <a:moveTo>
                          <a:pt x="4182" y="0"/>
                        </a:moveTo>
                        <a:cubicBezTo>
                          <a:pt x="3469" y="640"/>
                          <a:pt x="2755" y="1304"/>
                          <a:pt x="2067" y="1993"/>
                        </a:cubicBezTo>
                        <a:cubicBezTo>
                          <a:pt x="1353" y="2706"/>
                          <a:pt x="664" y="3444"/>
                          <a:pt x="0" y="4182"/>
                        </a:cubicBezTo>
                        <a:lnTo>
                          <a:pt x="17418" y="21600"/>
                        </a:lnTo>
                        <a:cubicBezTo>
                          <a:pt x="18672" y="20075"/>
                          <a:pt x="20050" y="18672"/>
                          <a:pt x="21600" y="17418"/>
                        </a:cubicBezTo>
                        <a:lnTo>
                          <a:pt x="4182"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31" name="Freeform: Shape 85"/>
                  <p:cNvSpPr/>
                  <p:nvPr/>
                </p:nvSpPr>
                <p:spPr>
                  <a:xfrm>
                    <a:off x="166830" y="413063"/>
                    <a:ext cx="44611" cy="37045"/>
                  </a:xfrm>
                  <a:custGeom>
                    <a:avLst/>
                    <a:gdLst/>
                    <a:ahLst/>
                    <a:cxnLst>
                      <a:cxn ang="0">
                        <a:pos x="wd2" y="hd2"/>
                      </a:cxn>
                      <a:cxn ang="5400000">
                        <a:pos x="wd2" y="hd2"/>
                      </a:cxn>
                      <a:cxn ang="10800000">
                        <a:pos x="wd2" y="hd2"/>
                      </a:cxn>
                      <a:cxn ang="16200000">
                        <a:pos x="wd2" y="hd2"/>
                      </a:cxn>
                    </a:cxnLst>
                    <a:rect l="0" t="0" r="r" b="b"/>
                    <a:pathLst>
                      <a:path w="21600" h="21600" extrusionOk="0">
                        <a:moveTo>
                          <a:pt x="3664" y="0"/>
                        </a:moveTo>
                        <a:cubicBezTo>
                          <a:pt x="2137" y="7077"/>
                          <a:pt x="916" y="14339"/>
                          <a:pt x="0" y="21600"/>
                        </a:cubicBezTo>
                        <a:lnTo>
                          <a:pt x="21600" y="21600"/>
                        </a:lnTo>
                        <a:lnTo>
                          <a:pt x="3664"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32" name="Freeform: Shape 86"/>
                  <p:cNvSpPr/>
                  <p:nvPr/>
                </p:nvSpPr>
                <p:spPr>
                  <a:xfrm>
                    <a:off x="182908" y="348436"/>
                    <a:ext cx="117751" cy="101673"/>
                  </a:xfrm>
                  <a:custGeom>
                    <a:avLst/>
                    <a:gdLst/>
                    <a:ahLst/>
                    <a:cxnLst>
                      <a:cxn ang="0">
                        <a:pos x="wd2" y="hd2"/>
                      </a:cxn>
                      <a:cxn ang="5400000">
                        <a:pos x="wd2" y="hd2"/>
                      </a:cxn>
                      <a:cxn ang="10800000">
                        <a:pos x="wd2" y="hd2"/>
                      </a:cxn>
                      <a:cxn ang="16200000">
                        <a:pos x="wd2" y="hd2"/>
                      </a:cxn>
                    </a:cxnLst>
                    <a:rect l="0" t="0" r="r" b="b"/>
                    <a:pathLst>
                      <a:path w="21600" h="21600" extrusionOk="0">
                        <a:moveTo>
                          <a:pt x="2920" y="0"/>
                        </a:moveTo>
                        <a:cubicBezTo>
                          <a:pt x="1793" y="2579"/>
                          <a:pt x="839" y="5224"/>
                          <a:pt x="0" y="7937"/>
                        </a:cubicBezTo>
                        <a:lnTo>
                          <a:pt x="11798" y="21600"/>
                        </a:lnTo>
                        <a:lnTo>
                          <a:pt x="21600" y="21600"/>
                        </a:lnTo>
                        <a:lnTo>
                          <a:pt x="2920"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33" name="Freeform: Shape 87"/>
                  <p:cNvSpPr/>
                  <p:nvPr/>
                </p:nvSpPr>
                <p:spPr>
                  <a:xfrm>
                    <a:off x="211596" y="293739"/>
                    <a:ext cx="134617" cy="149750"/>
                  </a:xfrm>
                  <a:custGeom>
                    <a:avLst/>
                    <a:gdLst/>
                    <a:ahLst/>
                    <a:cxnLst>
                      <a:cxn ang="0">
                        <a:pos x="wd2" y="hd2"/>
                      </a:cxn>
                      <a:cxn ang="5400000">
                        <a:pos x="wd2" y="hd2"/>
                      </a:cxn>
                      <a:cxn ang="10800000">
                        <a:pos x="wd2" y="hd2"/>
                      </a:cxn>
                      <a:cxn ang="16200000">
                        <a:pos x="wd2" y="hd2"/>
                      </a:cxn>
                    </a:cxnLst>
                    <a:rect l="0" t="0" r="r" b="b"/>
                    <a:pathLst>
                      <a:path w="21600" h="21600" extrusionOk="0">
                        <a:moveTo>
                          <a:pt x="3465" y="0"/>
                        </a:moveTo>
                        <a:cubicBezTo>
                          <a:pt x="2200" y="1478"/>
                          <a:pt x="1062" y="3001"/>
                          <a:pt x="0" y="4593"/>
                        </a:cubicBezTo>
                        <a:lnTo>
                          <a:pt x="18919" y="21600"/>
                        </a:lnTo>
                        <a:cubicBezTo>
                          <a:pt x="19577" y="19736"/>
                          <a:pt x="20487" y="17962"/>
                          <a:pt x="21600" y="16302"/>
                        </a:cubicBezTo>
                        <a:lnTo>
                          <a:pt x="3465"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34" name="Freeform: Shape 88"/>
                  <p:cNvSpPr/>
                  <p:nvPr/>
                </p:nvSpPr>
                <p:spPr>
                  <a:xfrm>
                    <a:off x="622376" y="591869"/>
                    <a:ext cx="174969" cy="33313"/>
                  </a:xfrm>
                  <a:prstGeom prst="rect">
                    <a:avLst/>
                  </a:pr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35" name="Freeform: Shape 89"/>
                  <p:cNvSpPr/>
                  <p:nvPr/>
                </p:nvSpPr>
                <p:spPr>
                  <a:xfrm>
                    <a:off x="578240" y="554141"/>
                    <a:ext cx="261666" cy="291615"/>
                  </a:xfrm>
                  <a:custGeom>
                    <a:avLst/>
                    <a:gdLst/>
                    <a:ahLst/>
                    <a:cxnLst>
                      <a:cxn ang="0">
                        <a:pos x="wd2" y="hd2"/>
                      </a:cxn>
                      <a:cxn ang="5400000">
                        <a:pos x="wd2" y="hd2"/>
                      </a:cxn>
                      <a:cxn ang="10800000">
                        <a:pos x="wd2" y="hd2"/>
                      </a:cxn>
                      <a:cxn ang="16200000">
                        <a:pos x="wd2" y="hd2"/>
                      </a:cxn>
                    </a:cxnLst>
                    <a:rect l="0" t="0" r="r" b="b"/>
                    <a:pathLst>
                      <a:path w="21600" h="21600" extrusionOk="0">
                        <a:moveTo>
                          <a:pt x="18737" y="0"/>
                        </a:moveTo>
                        <a:lnTo>
                          <a:pt x="2863" y="0"/>
                        </a:lnTo>
                        <a:cubicBezTo>
                          <a:pt x="1275" y="0"/>
                          <a:pt x="0" y="1144"/>
                          <a:pt x="0" y="2569"/>
                        </a:cubicBezTo>
                        <a:lnTo>
                          <a:pt x="0" y="19031"/>
                        </a:lnTo>
                        <a:cubicBezTo>
                          <a:pt x="0" y="20456"/>
                          <a:pt x="1275" y="21600"/>
                          <a:pt x="2863" y="21600"/>
                        </a:cubicBezTo>
                        <a:lnTo>
                          <a:pt x="18737" y="21600"/>
                        </a:lnTo>
                        <a:cubicBezTo>
                          <a:pt x="20325" y="21600"/>
                          <a:pt x="21600" y="20456"/>
                          <a:pt x="21600" y="19031"/>
                        </a:cubicBezTo>
                        <a:lnTo>
                          <a:pt x="21600" y="2569"/>
                        </a:lnTo>
                        <a:cubicBezTo>
                          <a:pt x="21600" y="1144"/>
                          <a:pt x="20325" y="0"/>
                          <a:pt x="18737" y="0"/>
                        </a:cubicBezTo>
                        <a:close/>
                        <a:moveTo>
                          <a:pt x="5595" y="19849"/>
                        </a:moveTo>
                        <a:lnTo>
                          <a:pt x="2537" y="19849"/>
                        </a:lnTo>
                        <a:cubicBezTo>
                          <a:pt x="1965" y="19849"/>
                          <a:pt x="1496" y="19428"/>
                          <a:pt x="1496" y="18915"/>
                        </a:cubicBezTo>
                        <a:cubicBezTo>
                          <a:pt x="1496" y="18401"/>
                          <a:pt x="1965" y="17981"/>
                          <a:pt x="2537" y="17981"/>
                        </a:cubicBezTo>
                        <a:lnTo>
                          <a:pt x="5595" y="17981"/>
                        </a:lnTo>
                        <a:cubicBezTo>
                          <a:pt x="6168" y="17981"/>
                          <a:pt x="6636" y="18401"/>
                          <a:pt x="6636" y="18915"/>
                        </a:cubicBezTo>
                        <a:cubicBezTo>
                          <a:pt x="6636" y="19428"/>
                          <a:pt x="6181" y="19849"/>
                          <a:pt x="5595" y="19849"/>
                        </a:cubicBezTo>
                        <a:close/>
                        <a:moveTo>
                          <a:pt x="5595" y="15178"/>
                        </a:moveTo>
                        <a:lnTo>
                          <a:pt x="2537" y="15178"/>
                        </a:lnTo>
                        <a:cubicBezTo>
                          <a:pt x="1965" y="15178"/>
                          <a:pt x="1496" y="14758"/>
                          <a:pt x="1496" y="14244"/>
                        </a:cubicBezTo>
                        <a:cubicBezTo>
                          <a:pt x="1496" y="13731"/>
                          <a:pt x="1965" y="13310"/>
                          <a:pt x="2537" y="13310"/>
                        </a:cubicBezTo>
                        <a:lnTo>
                          <a:pt x="5595" y="13310"/>
                        </a:lnTo>
                        <a:cubicBezTo>
                          <a:pt x="6168" y="13310"/>
                          <a:pt x="6636" y="13731"/>
                          <a:pt x="6636" y="14244"/>
                        </a:cubicBezTo>
                        <a:cubicBezTo>
                          <a:pt x="6636" y="14758"/>
                          <a:pt x="6181" y="15178"/>
                          <a:pt x="5595" y="15178"/>
                        </a:cubicBezTo>
                        <a:close/>
                        <a:moveTo>
                          <a:pt x="5595" y="10391"/>
                        </a:moveTo>
                        <a:lnTo>
                          <a:pt x="2537" y="10391"/>
                        </a:lnTo>
                        <a:cubicBezTo>
                          <a:pt x="1965" y="10391"/>
                          <a:pt x="1496" y="9971"/>
                          <a:pt x="1496" y="9457"/>
                        </a:cubicBezTo>
                        <a:cubicBezTo>
                          <a:pt x="1496" y="8944"/>
                          <a:pt x="1965" y="8523"/>
                          <a:pt x="2537" y="8523"/>
                        </a:cubicBezTo>
                        <a:lnTo>
                          <a:pt x="5595" y="8523"/>
                        </a:lnTo>
                        <a:cubicBezTo>
                          <a:pt x="6168" y="8523"/>
                          <a:pt x="6636" y="8944"/>
                          <a:pt x="6636" y="9457"/>
                        </a:cubicBezTo>
                        <a:cubicBezTo>
                          <a:pt x="6636" y="9971"/>
                          <a:pt x="6181" y="10391"/>
                          <a:pt x="5595" y="10391"/>
                        </a:cubicBezTo>
                        <a:close/>
                        <a:moveTo>
                          <a:pt x="12309" y="19849"/>
                        </a:moveTo>
                        <a:lnTo>
                          <a:pt x="9252" y="19849"/>
                        </a:lnTo>
                        <a:cubicBezTo>
                          <a:pt x="8679" y="19849"/>
                          <a:pt x="8211" y="19428"/>
                          <a:pt x="8211" y="18915"/>
                        </a:cubicBezTo>
                        <a:cubicBezTo>
                          <a:pt x="8211" y="18401"/>
                          <a:pt x="8679" y="17981"/>
                          <a:pt x="9252" y="17981"/>
                        </a:cubicBezTo>
                        <a:lnTo>
                          <a:pt x="12309" y="17981"/>
                        </a:lnTo>
                        <a:cubicBezTo>
                          <a:pt x="12882" y="17981"/>
                          <a:pt x="13350" y="18401"/>
                          <a:pt x="13350" y="18915"/>
                        </a:cubicBezTo>
                        <a:cubicBezTo>
                          <a:pt x="13350" y="19428"/>
                          <a:pt x="12882" y="19849"/>
                          <a:pt x="12309" y="19849"/>
                        </a:cubicBezTo>
                        <a:close/>
                        <a:moveTo>
                          <a:pt x="12309" y="15178"/>
                        </a:moveTo>
                        <a:lnTo>
                          <a:pt x="9252" y="15178"/>
                        </a:lnTo>
                        <a:cubicBezTo>
                          <a:pt x="8679" y="15178"/>
                          <a:pt x="8211" y="14758"/>
                          <a:pt x="8211" y="14244"/>
                        </a:cubicBezTo>
                        <a:cubicBezTo>
                          <a:pt x="8211" y="13731"/>
                          <a:pt x="8679" y="13310"/>
                          <a:pt x="9252" y="13310"/>
                        </a:cubicBezTo>
                        <a:lnTo>
                          <a:pt x="12309" y="13310"/>
                        </a:lnTo>
                        <a:cubicBezTo>
                          <a:pt x="12882" y="13310"/>
                          <a:pt x="13350" y="13731"/>
                          <a:pt x="13350" y="14244"/>
                        </a:cubicBezTo>
                        <a:cubicBezTo>
                          <a:pt x="13350" y="14758"/>
                          <a:pt x="12882" y="15178"/>
                          <a:pt x="12309" y="15178"/>
                        </a:cubicBezTo>
                        <a:close/>
                        <a:moveTo>
                          <a:pt x="12309" y="10391"/>
                        </a:moveTo>
                        <a:lnTo>
                          <a:pt x="9252" y="10391"/>
                        </a:lnTo>
                        <a:cubicBezTo>
                          <a:pt x="8679" y="10391"/>
                          <a:pt x="8211" y="9971"/>
                          <a:pt x="8211" y="9457"/>
                        </a:cubicBezTo>
                        <a:cubicBezTo>
                          <a:pt x="8211" y="8944"/>
                          <a:pt x="8679" y="8523"/>
                          <a:pt x="9252" y="8523"/>
                        </a:cubicBezTo>
                        <a:lnTo>
                          <a:pt x="12309" y="8523"/>
                        </a:lnTo>
                        <a:cubicBezTo>
                          <a:pt x="12882" y="8523"/>
                          <a:pt x="13350" y="8944"/>
                          <a:pt x="13350" y="9457"/>
                        </a:cubicBezTo>
                        <a:cubicBezTo>
                          <a:pt x="13350" y="9971"/>
                          <a:pt x="12882" y="10391"/>
                          <a:pt x="12309" y="10391"/>
                        </a:cubicBezTo>
                        <a:close/>
                        <a:moveTo>
                          <a:pt x="19037" y="19849"/>
                        </a:moveTo>
                        <a:lnTo>
                          <a:pt x="15979" y="19849"/>
                        </a:lnTo>
                        <a:cubicBezTo>
                          <a:pt x="15406" y="19849"/>
                          <a:pt x="14938" y="19428"/>
                          <a:pt x="14938" y="18915"/>
                        </a:cubicBezTo>
                        <a:cubicBezTo>
                          <a:pt x="14938" y="18401"/>
                          <a:pt x="15406" y="17981"/>
                          <a:pt x="15979" y="17981"/>
                        </a:cubicBezTo>
                        <a:lnTo>
                          <a:pt x="19037" y="17981"/>
                        </a:lnTo>
                        <a:cubicBezTo>
                          <a:pt x="19609" y="17981"/>
                          <a:pt x="20078" y="18401"/>
                          <a:pt x="20078" y="18915"/>
                        </a:cubicBezTo>
                        <a:cubicBezTo>
                          <a:pt x="20078" y="19428"/>
                          <a:pt x="19609" y="19849"/>
                          <a:pt x="19037" y="19849"/>
                        </a:cubicBezTo>
                        <a:close/>
                        <a:moveTo>
                          <a:pt x="19037" y="15178"/>
                        </a:moveTo>
                        <a:lnTo>
                          <a:pt x="15979" y="15178"/>
                        </a:lnTo>
                        <a:cubicBezTo>
                          <a:pt x="15406" y="15178"/>
                          <a:pt x="14938" y="14758"/>
                          <a:pt x="14938" y="14244"/>
                        </a:cubicBezTo>
                        <a:cubicBezTo>
                          <a:pt x="14938" y="13731"/>
                          <a:pt x="15406" y="13310"/>
                          <a:pt x="15979" y="13310"/>
                        </a:cubicBezTo>
                        <a:lnTo>
                          <a:pt x="19037" y="13310"/>
                        </a:lnTo>
                        <a:cubicBezTo>
                          <a:pt x="19609" y="13310"/>
                          <a:pt x="20078" y="13731"/>
                          <a:pt x="20078" y="14244"/>
                        </a:cubicBezTo>
                        <a:cubicBezTo>
                          <a:pt x="20078" y="14758"/>
                          <a:pt x="19609" y="15178"/>
                          <a:pt x="19037" y="15178"/>
                        </a:cubicBezTo>
                        <a:close/>
                        <a:moveTo>
                          <a:pt x="19037" y="10391"/>
                        </a:moveTo>
                        <a:lnTo>
                          <a:pt x="15979" y="10391"/>
                        </a:lnTo>
                        <a:cubicBezTo>
                          <a:pt x="15406" y="10391"/>
                          <a:pt x="14938" y="9971"/>
                          <a:pt x="14938" y="9457"/>
                        </a:cubicBezTo>
                        <a:cubicBezTo>
                          <a:pt x="14938" y="8944"/>
                          <a:pt x="15406" y="8523"/>
                          <a:pt x="15979" y="8523"/>
                        </a:cubicBezTo>
                        <a:lnTo>
                          <a:pt x="19037" y="8523"/>
                        </a:lnTo>
                        <a:cubicBezTo>
                          <a:pt x="19609" y="8523"/>
                          <a:pt x="20078" y="8944"/>
                          <a:pt x="20078" y="9457"/>
                        </a:cubicBezTo>
                        <a:cubicBezTo>
                          <a:pt x="20078" y="9971"/>
                          <a:pt x="19609" y="10391"/>
                          <a:pt x="19037" y="10391"/>
                        </a:cubicBezTo>
                        <a:close/>
                        <a:moveTo>
                          <a:pt x="20169" y="5838"/>
                        </a:moveTo>
                        <a:cubicBezTo>
                          <a:pt x="20169" y="6352"/>
                          <a:pt x="19700" y="6772"/>
                          <a:pt x="19128" y="6772"/>
                        </a:cubicBezTo>
                        <a:lnTo>
                          <a:pt x="2602" y="6772"/>
                        </a:lnTo>
                        <a:cubicBezTo>
                          <a:pt x="2030" y="6772"/>
                          <a:pt x="1561" y="6352"/>
                          <a:pt x="1561" y="5838"/>
                        </a:cubicBezTo>
                        <a:lnTo>
                          <a:pt x="1561" y="2218"/>
                        </a:lnTo>
                        <a:cubicBezTo>
                          <a:pt x="1561" y="1705"/>
                          <a:pt x="2030" y="1284"/>
                          <a:pt x="2602" y="1284"/>
                        </a:cubicBezTo>
                        <a:lnTo>
                          <a:pt x="19128" y="1284"/>
                        </a:lnTo>
                        <a:cubicBezTo>
                          <a:pt x="19700" y="1284"/>
                          <a:pt x="20169" y="1705"/>
                          <a:pt x="20169" y="2218"/>
                        </a:cubicBezTo>
                        <a:lnTo>
                          <a:pt x="20169" y="5838"/>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grpSp>
          </p:grpSp>
          <p:sp>
            <p:nvSpPr>
              <p:cNvPr id="219" name="Provision"/>
              <p:cNvSpPr/>
              <p:nvPr/>
            </p:nvSpPr>
            <p:spPr>
              <a:xfrm>
                <a:off x="-1" y="171045"/>
                <a:ext cx="1825643" cy="690989"/>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25400" cap="flat">
                <a:solidFill>
                  <a:srgbClr val="22BF00"/>
                </a:solidFill>
                <a:prstDash val="solid"/>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21918" tIns="121918" rIns="121918" bIns="121918" numCol="1" anchor="t">
                <a:spAutoFit/>
              </a:bodyPr>
              <a:lstStyle>
                <a:lvl1pPr algn="l" defTabSz="2438400">
                  <a:defRPr sz="2900" b="0">
                    <a:solidFill>
                      <a:srgbClr val="000000"/>
                    </a:solidFill>
                    <a:effectLst>
                      <a:outerShdw blurRad="12700" dist="12700" dir="18900000" rotWithShape="0">
                        <a:srgbClr val="000000">
                          <a:alpha val="24000"/>
                        </a:srgbClr>
                      </a:outerShdw>
                    </a:effectLst>
                  </a:defRPr>
                </a:lvl1pPr>
              </a:lstStyle>
              <a:p>
                <a:r>
                  <a:rPr sz="2000" dirty="0"/>
                  <a:t>Provision</a:t>
                </a:r>
                <a:endParaRPr dirty="0"/>
              </a:p>
            </p:txBody>
          </p:sp>
          <p:sp>
            <p:nvSpPr>
              <p:cNvPr id="220" name="Actual"/>
              <p:cNvSpPr/>
              <p:nvPr/>
            </p:nvSpPr>
            <p:spPr>
              <a:xfrm>
                <a:off x="-1" y="1369563"/>
                <a:ext cx="1825643" cy="690989"/>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25400" cap="flat">
                <a:solidFill>
                  <a:schemeClr val="accent3"/>
                </a:solidFill>
                <a:prstDash val="solid"/>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21918" tIns="121918" rIns="121918" bIns="121918" numCol="1" anchor="t">
                <a:spAutoFit/>
              </a:bodyPr>
              <a:lstStyle>
                <a:lvl1pPr algn="l" defTabSz="2438400">
                  <a:defRPr sz="2900" b="0">
                    <a:solidFill>
                      <a:srgbClr val="000000"/>
                    </a:solidFill>
                    <a:effectLst>
                      <a:outerShdw blurRad="12700" dist="12700" dir="18900000" rotWithShape="0">
                        <a:srgbClr val="000000">
                          <a:alpha val="24000"/>
                        </a:srgbClr>
                      </a:outerShdw>
                    </a:effectLst>
                  </a:defRPr>
                </a:lvl1pPr>
              </a:lstStyle>
              <a:p>
                <a:r>
                  <a:rPr sz="2000" dirty="0"/>
                  <a:t>Actual</a:t>
                </a:r>
                <a:endParaRPr dirty="0"/>
              </a:p>
            </p:txBody>
          </p:sp>
        </p:grpSp>
        <p:sp>
          <p:nvSpPr>
            <p:cNvPr id="216" name="TextBox 215"/>
            <p:cNvSpPr txBox="1"/>
            <p:nvPr/>
          </p:nvSpPr>
          <p:spPr>
            <a:xfrm>
              <a:off x="2861248" y="8554820"/>
              <a:ext cx="6119549" cy="35100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ctr" defTabSz="825500" rtl="0" fontAlgn="auto" latinLnBrk="0" hangingPunct="0">
                <a:lnSpc>
                  <a:spcPct val="100000"/>
                </a:lnSpc>
                <a:spcBef>
                  <a:spcPts val="0"/>
                </a:spcBef>
                <a:spcAft>
                  <a:spcPts val="0"/>
                </a:spcAft>
                <a:buClrTx/>
                <a:buSzTx/>
                <a:buFontTx/>
                <a:buNone/>
                <a:tabLst/>
              </a:pPr>
              <a:r>
                <a:rPr lang="en-US" sz="2000" dirty="0">
                  <a:solidFill>
                    <a:schemeClr val="accent1">
                      <a:lumMod val="50000"/>
                    </a:schemeClr>
                  </a:solidFill>
                  <a:effectLst/>
                </a:rPr>
                <a:t>DEBT CHARGES</a:t>
              </a:r>
              <a:endParaRPr kumimoji="0" lang="en-US" sz="2000" i="0" u="none" strike="noStrike" cap="small" spc="0" normalizeH="0" baseline="0" dirty="0">
                <a:ln>
                  <a:noFill/>
                </a:ln>
                <a:solidFill>
                  <a:schemeClr val="accent1">
                    <a:lumMod val="50000"/>
                  </a:schemeClr>
                </a:solidFill>
                <a:effectLst/>
                <a:uFillTx/>
                <a:sym typeface="Trebuchet MS"/>
              </a:endParaRPr>
            </a:p>
          </p:txBody>
        </p:sp>
      </p:grpSp>
      <p:grpSp>
        <p:nvGrpSpPr>
          <p:cNvPr id="255" name="Group 254"/>
          <p:cNvGrpSpPr/>
          <p:nvPr/>
        </p:nvGrpSpPr>
        <p:grpSpPr>
          <a:xfrm>
            <a:off x="3013648" y="10737855"/>
            <a:ext cx="6648740" cy="1927131"/>
            <a:chOff x="2708849" y="10834637"/>
            <a:chExt cx="6953539" cy="2109945"/>
          </a:xfrm>
        </p:grpSpPr>
        <p:grpSp>
          <p:nvGrpSpPr>
            <p:cNvPr id="256" name="Group"/>
            <p:cNvGrpSpPr/>
            <p:nvPr/>
          </p:nvGrpSpPr>
          <p:grpSpPr>
            <a:xfrm>
              <a:off x="2708849" y="11374742"/>
              <a:ext cx="6953539" cy="1569840"/>
              <a:chOff x="-1" y="0"/>
              <a:chExt cx="6001041" cy="2231923"/>
            </a:xfrm>
          </p:grpSpPr>
          <p:grpSp>
            <p:nvGrpSpPr>
              <p:cNvPr id="258" name="Group"/>
              <p:cNvGrpSpPr/>
              <p:nvPr/>
            </p:nvGrpSpPr>
            <p:grpSpPr>
              <a:xfrm>
                <a:off x="2088173" y="0"/>
                <a:ext cx="3912867" cy="1030435"/>
                <a:chOff x="-1" y="0"/>
                <a:chExt cx="3912866" cy="1030434"/>
              </a:xfrm>
            </p:grpSpPr>
            <p:grpSp>
              <p:nvGrpSpPr>
                <p:cNvPr id="279" name="Rectangle: Rounded Corners 29"/>
                <p:cNvGrpSpPr/>
                <p:nvPr/>
              </p:nvGrpSpPr>
              <p:grpSpPr>
                <a:xfrm>
                  <a:off x="1108846" y="0"/>
                  <a:ext cx="2804019" cy="1030434"/>
                  <a:chOff x="1" y="0"/>
                  <a:chExt cx="2804018" cy="1030433"/>
                </a:xfrm>
              </p:grpSpPr>
              <p:sp>
                <p:nvSpPr>
                  <p:cNvPr id="294" name="Rounded Rectangle"/>
                  <p:cNvSpPr/>
                  <p:nvPr/>
                </p:nvSpPr>
                <p:spPr>
                  <a:xfrm>
                    <a:off x="1" y="0"/>
                    <a:ext cx="1720896" cy="1030433"/>
                  </a:xfrm>
                  <a:prstGeom prst="roundRect">
                    <a:avLst>
                      <a:gd name="adj" fmla="val 17206"/>
                    </a:avLst>
                  </a:prstGeom>
                  <a:ln/>
                </p:spPr>
                <p:style>
                  <a:lnRef idx="2">
                    <a:schemeClr val="dk1">
                      <a:shade val="50000"/>
                    </a:schemeClr>
                  </a:lnRef>
                  <a:fillRef idx="1">
                    <a:schemeClr val="dk1"/>
                  </a:fillRef>
                  <a:effectRef idx="0">
                    <a:schemeClr val="dk1"/>
                  </a:effectRef>
                  <a:fontRef idx="minor">
                    <a:schemeClr val="lt1"/>
                  </a:fontRef>
                </p:style>
                <p:txBody>
                  <a:bodyPr wrap="square" lIns="38100" tIns="38100" rIns="38100" bIns="38100" numCol="1" anchor="ctr">
                    <a:noAutofit/>
                  </a:bodyPr>
                  <a:lstStyle/>
                  <a:p>
                    <a:pPr algn="l">
                      <a:spcBef>
                        <a:spcPts val="1000"/>
                      </a:spcBef>
                      <a:defRPr sz="2700">
                        <a:solidFill>
                          <a:srgbClr val="000000"/>
                        </a:solidFill>
                        <a:effectLst/>
                      </a:defRPr>
                    </a:pPr>
                    <a:endParaRPr dirty="0"/>
                  </a:p>
                </p:txBody>
              </p:sp>
              <p:sp>
                <p:nvSpPr>
                  <p:cNvPr id="295" name="310,055 (₦’bn)"/>
                  <p:cNvSpPr/>
                  <p:nvPr/>
                </p:nvSpPr>
                <p:spPr>
                  <a:xfrm>
                    <a:off x="51926" y="203810"/>
                    <a:ext cx="2752093" cy="622812"/>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8" tIns="45718" rIns="45718" bIns="45718" numCol="1" anchor="ctr">
                    <a:spAutoFit/>
                  </a:bodyPr>
                  <a:lstStyle>
                    <a:lvl1pPr algn="l">
                      <a:spcBef>
                        <a:spcPts val="1000"/>
                      </a:spcBef>
                      <a:defRPr sz="2700">
                        <a:solidFill>
                          <a:srgbClr val="000000"/>
                        </a:solidFill>
                      </a:defRPr>
                    </a:lvl1pPr>
                  </a:lstStyle>
                  <a:p>
                    <a:pPr>
                      <a:defRPr>
                        <a:effectLst/>
                      </a:defRPr>
                    </a:pPr>
                    <a:r>
                      <a:rPr lang="en-US" sz="2000" dirty="0"/>
                      <a:t>65.647 </a:t>
                    </a:r>
                    <a:r>
                      <a:rPr sz="2000" dirty="0"/>
                      <a:t>(</a:t>
                    </a:r>
                    <a:r>
                      <a:rPr lang="en-GB" sz="2000" dirty="0"/>
                      <a:t>₦</a:t>
                    </a:r>
                    <a:r>
                      <a:rPr sz="2000" dirty="0"/>
                      <a:t>’</a:t>
                    </a:r>
                    <a:r>
                      <a:rPr lang="en-GB" sz="2000" dirty="0"/>
                      <a:t>BN</a:t>
                    </a:r>
                    <a:r>
                      <a:rPr sz="2000" dirty="0"/>
                      <a:t>)</a:t>
                    </a:r>
                  </a:p>
                </p:txBody>
              </p:sp>
            </p:grpSp>
            <p:grpSp>
              <p:nvGrpSpPr>
                <p:cNvPr id="280" name="Group"/>
                <p:cNvGrpSpPr/>
                <p:nvPr/>
              </p:nvGrpSpPr>
              <p:grpSpPr>
                <a:xfrm>
                  <a:off x="-1" y="10254"/>
                  <a:ext cx="1004617" cy="1009925"/>
                  <a:chOff x="0" y="0"/>
                  <a:chExt cx="1004615" cy="1009924"/>
                </a:xfrm>
              </p:grpSpPr>
              <p:sp>
                <p:nvSpPr>
                  <p:cNvPr id="281" name="Rectangle: Rounded Corners 28"/>
                  <p:cNvSpPr/>
                  <p:nvPr/>
                </p:nvSpPr>
                <p:spPr>
                  <a:xfrm>
                    <a:off x="0" y="0"/>
                    <a:ext cx="1004615" cy="1009924"/>
                  </a:xfrm>
                  <a:prstGeom prst="roundRect">
                    <a:avLst>
                      <a:gd name="adj" fmla="val 6667"/>
                    </a:avLst>
                  </a:prstGeom>
                  <a:solidFill>
                    <a:srgbClr val="00B050"/>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defTabSz="914400">
                      <a:defRPr sz="1800" b="0" cap="none">
                        <a:solidFill>
                          <a:srgbClr val="FFFFFF"/>
                        </a:solidFill>
                        <a:effectLst/>
                        <a:latin typeface="Calibri"/>
                        <a:ea typeface="Calibri"/>
                        <a:cs typeface="Calibri"/>
                        <a:sym typeface="Calibri"/>
                      </a:defRPr>
                    </a:pPr>
                    <a:endParaRPr sz="1100" dirty="0"/>
                  </a:p>
                </p:txBody>
              </p:sp>
              <p:sp>
                <p:nvSpPr>
                  <p:cNvPr id="282" name="Freeform: Shape 78"/>
                  <p:cNvSpPr/>
                  <p:nvPr/>
                </p:nvSpPr>
                <p:spPr>
                  <a:xfrm>
                    <a:off x="166672" y="544685"/>
                    <a:ext cx="178122" cy="156842"/>
                  </a:xfrm>
                  <a:custGeom>
                    <a:avLst/>
                    <a:gdLst/>
                    <a:ahLst/>
                    <a:cxnLst>
                      <a:cxn ang="0">
                        <a:pos x="wd2" y="hd2"/>
                      </a:cxn>
                      <a:cxn ang="5400000">
                        <a:pos x="wd2" y="hd2"/>
                      </a:cxn>
                      <a:cxn ang="10800000">
                        <a:pos x="wd2" y="hd2"/>
                      </a:cxn>
                      <a:cxn ang="16200000">
                        <a:pos x="wd2" y="hd2"/>
                      </a:cxn>
                    </a:cxnLst>
                    <a:rect l="0" t="0" r="r" b="b"/>
                    <a:pathLst>
                      <a:path w="21600" h="21600" extrusionOk="0">
                        <a:moveTo>
                          <a:pt x="19421" y="0"/>
                        </a:moveTo>
                        <a:lnTo>
                          <a:pt x="0" y="0"/>
                        </a:lnTo>
                        <a:cubicBezTo>
                          <a:pt x="956" y="7858"/>
                          <a:pt x="3651" y="15283"/>
                          <a:pt x="7856" y="21600"/>
                        </a:cubicBezTo>
                        <a:lnTo>
                          <a:pt x="21600" y="5992"/>
                        </a:lnTo>
                        <a:cubicBezTo>
                          <a:pt x="20644" y="4125"/>
                          <a:pt x="19899" y="2106"/>
                          <a:pt x="19421"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83" name="Freeform: Shape 79"/>
                  <p:cNvSpPr/>
                  <p:nvPr/>
                </p:nvSpPr>
                <p:spPr>
                  <a:xfrm>
                    <a:off x="297661" y="654393"/>
                    <a:ext cx="157631" cy="178281"/>
                  </a:xfrm>
                  <a:custGeom>
                    <a:avLst/>
                    <a:gdLst/>
                    <a:ahLst/>
                    <a:cxnLst>
                      <a:cxn ang="0">
                        <a:pos x="wd2" y="hd2"/>
                      </a:cxn>
                      <a:cxn ang="5400000">
                        <a:pos x="wd2" y="hd2"/>
                      </a:cxn>
                      <a:cxn ang="10800000">
                        <a:pos x="wd2" y="hd2"/>
                      </a:cxn>
                      <a:cxn ang="16200000">
                        <a:pos x="wd2" y="hd2"/>
                      </a:cxn>
                    </a:cxnLst>
                    <a:rect l="0" t="0" r="r" b="b"/>
                    <a:pathLst>
                      <a:path w="21600" h="21600" extrusionOk="0">
                        <a:moveTo>
                          <a:pt x="15509" y="0"/>
                        </a:moveTo>
                        <a:lnTo>
                          <a:pt x="0" y="13732"/>
                        </a:lnTo>
                        <a:cubicBezTo>
                          <a:pt x="6307" y="17952"/>
                          <a:pt x="13738" y="20664"/>
                          <a:pt x="21600" y="21600"/>
                        </a:cubicBezTo>
                        <a:lnTo>
                          <a:pt x="21600" y="2196"/>
                        </a:lnTo>
                        <a:cubicBezTo>
                          <a:pt x="19462" y="1700"/>
                          <a:pt x="17431" y="974"/>
                          <a:pt x="15509"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84" name="Freeform: Shape 80"/>
                  <p:cNvSpPr/>
                  <p:nvPr/>
                </p:nvSpPr>
                <p:spPr>
                  <a:xfrm>
                    <a:off x="548133" y="164956"/>
                    <a:ext cx="286887" cy="287044"/>
                  </a:xfrm>
                  <a:custGeom>
                    <a:avLst/>
                    <a:gdLst/>
                    <a:ahLst/>
                    <a:cxnLst>
                      <a:cxn ang="0">
                        <a:pos x="wd2" y="hd2"/>
                      </a:cxn>
                      <a:cxn ang="5400000">
                        <a:pos x="wd2" y="hd2"/>
                      </a:cxn>
                      <a:cxn ang="10800000">
                        <a:pos x="wd2" y="hd2"/>
                      </a:cxn>
                      <a:cxn ang="16200000">
                        <a:pos x="wd2" y="hd2"/>
                      </a:cxn>
                    </a:cxnLst>
                    <a:rect l="0" t="0" r="r" b="b"/>
                    <a:pathLst>
                      <a:path w="21600" h="21600" extrusionOk="0">
                        <a:moveTo>
                          <a:pt x="83" y="0"/>
                        </a:moveTo>
                        <a:cubicBezTo>
                          <a:pt x="47" y="4413"/>
                          <a:pt x="12" y="10094"/>
                          <a:pt x="0" y="12075"/>
                        </a:cubicBezTo>
                        <a:cubicBezTo>
                          <a:pt x="4640" y="13332"/>
                          <a:pt x="8260" y="16962"/>
                          <a:pt x="9506" y="21600"/>
                        </a:cubicBezTo>
                        <a:lnTo>
                          <a:pt x="21600" y="21576"/>
                        </a:lnTo>
                        <a:cubicBezTo>
                          <a:pt x="20010" y="10415"/>
                          <a:pt x="11251" y="1625"/>
                          <a:pt x="83"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85" name="Freeform: Shape 81"/>
                  <p:cNvSpPr/>
                  <p:nvPr/>
                </p:nvSpPr>
                <p:spPr>
                  <a:xfrm>
                    <a:off x="350152" y="180718"/>
                    <a:ext cx="104036" cy="119800"/>
                  </a:xfrm>
                  <a:custGeom>
                    <a:avLst/>
                    <a:gdLst/>
                    <a:ahLst/>
                    <a:cxnLst>
                      <a:cxn ang="0">
                        <a:pos x="wd2" y="hd2"/>
                      </a:cxn>
                      <a:cxn ang="5400000">
                        <a:pos x="wd2" y="hd2"/>
                      </a:cxn>
                      <a:cxn ang="10800000">
                        <a:pos x="wd2" y="hd2"/>
                      </a:cxn>
                      <a:cxn ang="16200000">
                        <a:pos x="wd2" y="hd2"/>
                      </a:cxn>
                    </a:cxnLst>
                    <a:rect l="0" t="0" r="r" b="b"/>
                    <a:pathLst>
                      <a:path w="21600" h="21600" extrusionOk="0">
                        <a:moveTo>
                          <a:pt x="7789" y="0"/>
                        </a:moveTo>
                        <a:cubicBezTo>
                          <a:pt x="5138" y="824"/>
                          <a:pt x="2520" y="1791"/>
                          <a:pt x="0" y="2899"/>
                        </a:cubicBezTo>
                        <a:lnTo>
                          <a:pt x="21535" y="21600"/>
                        </a:lnTo>
                        <a:lnTo>
                          <a:pt x="21600" y="11994"/>
                        </a:lnTo>
                        <a:lnTo>
                          <a:pt x="7789"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86" name="Freeform: Shape 82"/>
                  <p:cNvSpPr/>
                  <p:nvPr/>
                </p:nvSpPr>
                <p:spPr>
                  <a:xfrm>
                    <a:off x="295297" y="209408"/>
                    <a:ext cx="149749" cy="134774"/>
                  </a:xfrm>
                  <a:custGeom>
                    <a:avLst/>
                    <a:gdLst/>
                    <a:ahLst/>
                    <a:cxnLst>
                      <a:cxn ang="0">
                        <a:pos x="wd2" y="hd2"/>
                      </a:cxn>
                      <a:cxn ang="5400000">
                        <a:pos x="wd2" y="hd2"/>
                      </a:cxn>
                      <a:cxn ang="10800000">
                        <a:pos x="wd2" y="hd2"/>
                      </a:cxn>
                      <a:cxn ang="16200000">
                        <a:pos x="wd2" y="hd2"/>
                      </a:cxn>
                    </a:cxnLst>
                    <a:rect l="0" t="0" r="r" b="b"/>
                    <a:pathLst>
                      <a:path w="21600" h="21600" extrusionOk="0">
                        <a:moveTo>
                          <a:pt x="4593" y="0"/>
                        </a:moveTo>
                        <a:cubicBezTo>
                          <a:pt x="3001" y="1061"/>
                          <a:pt x="1478" y="2223"/>
                          <a:pt x="0" y="3486"/>
                        </a:cubicBezTo>
                        <a:lnTo>
                          <a:pt x="16302" y="21600"/>
                        </a:lnTo>
                        <a:cubicBezTo>
                          <a:pt x="17985" y="20488"/>
                          <a:pt x="19758" y="19579"/>
                          <a:pt x="21600" y="18897"/>
                        </a:cubicBezTo>
                        <a:lnTo>
                          <a:pt x="4593"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87" name="Freeform: Shape 83"/>
                  <p:cNvSpPr/>
                  <p:nvPr/>
                </p:nvSpPr>
                <p:spPr>
                  <a:xfrm>
                    <a:off x="414937" y="164482"/>
                    <a:ext cx="39567" cy="47291"/>
                  </a:xfrm>
                  <a:custGeom>
                    <a:avLst/>
                    <a:gdLst/>
                    <a:ahLst/>
                    <a:cxnLst>
                      <a:cxn ang="0">
                        <a:pos x="wd2" y="hd2"/>
                      </a:cxn>
                      <a:cxn ang="5400000">
                        <a:pos x="wd2" y="hd2"/>
                      </a:cxn>
                      <a:cxn ang="10800000">
                        <a:pos x="wd2" y="hd2"/>
                      </a:cxn>
                      <a:cxn ang="16200000">
                        <a:pos x="wd2" y="hd2"/>
                      </a:cxn>
                    </a:cxnLst>
                    <a:rect l="0" t="0" r="r" b="b"/>
                    <a:pathLst>
                      <a:path w="21600" h="21600" extrusionOk="0">
                        <a:moveTo>
                          <a:pt x="0" y="3600"/>
                        </a:moveTo>
                        <a:lnTo>
                          <a:pt x="21514" y="21600"/>
                        </a:lnTo>
                        <a:lnTo>
                          <a:pt x="21600" y="0"/>
                        </a:lnTo>
                        <a:cubicBezTo>
                          <a:pt x="14285" y="864"/>
                          <a:pt x="7143" y="2016"/>
                          <a:pt x="0" y="360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88" name="Freeform: Shape 84"/>
                  <p:cNvSpPr/>
                  <p:nvPr/>
                </p:nvSpPr>
                <p:spPr>
                  <a:xfrm>
                    <a:off x="249270" y="247396"/>
                    <a:ext cx="138400" cy="138401"/>
                  </a:xfrm>
                  <a:custGeom>
                    <a:avLst/>
                    <a:gdLst/>
                    <a:ahLst/>
                    <a:cxnLst>
                      <a:cxn ang="0">
                        <a:pos x="wd2" y="hd2"/>
                      </a:cxn>
                      <a:cxn ang="5400000">
                        <a:pos x="wd2" y="hd2"/>
                      </a:cxn>
                      <a:cxn ang="10800000">
                        <a:pos x="wd2" y="hd2"/>
                      </a:cxn>
                      <a:cxn ang="16200000">
                        <a:pos x="wd2" y="hd2"/>
                      </a:cxn>
                    </a:cxnLst>
                    <a:rect l="0" t="0" r="r" b="b"/>
                    <a:pathLst>
                      <a:path w="21600" h="21600" extrusionOk="0">
                        <a:moveTo>
                          <a:pt x="4182" y="0"/>
                        </a:moveTo>
                        <a:cubicBezTo>
                          <a:pt x="3469" y="640"/>
                          <a:pt x="2755" y="1304"/>
                          <a:pt x="2067" y="1993"/>
                        </a:cubicBezTo>
                        <a:cubicBezTo>
                          <a:pt x="1353" y="2706"/>
                          <a:pt x="664" y="3444"/>
                          <a:pt x="0" y="4182"/>
                        </a:cubicBezTo>
                        <a:lnTo>
                          <a:pt x="17418" y="21600"/>
                        </a:lnTo>
                        <a:cubicBezTo>
                          <a:pt x="18672" y="20075"/>
                          <a:pt x="20050" y="18672"/>
                          <a:pt x="21600" y="17418"/>
                        </a:cubicBezTo>
                        <a:lnTo>
                          <a:pt x="4182"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89" name="Freeform: Shape 85"/>
                  <p:cNvSpPr/>
                  <p:nvPr/>
                </p:nvSpPr>
                <p:spPr>
                  <a:xfrm>
                    <a:off x="166830" y="413063"/>
                    <a:ext cx="44611" cy="37045"/>
                  </a:xfrm>
                  <a:custGeom>
                    <a:avLst/>
                    <a:gdLst/>
                    <a:ahLst/>
                    <a:cxnLst>
                      <a:cxn ang="0">
                        <a:pos x="wd2" y="hd2"/>
                      </a:cxn>
                      <a:cxn ang="5400000">
                        <a:pos x="wd2" y="hd2"/>
                      </a:cxn>
                      <a:cxn ang="10800000">
                        <a:pos x="wd2" y="hd2"/>
                      </a:cxn>
                      <a:cxn ang="16200000">
                        <a:pos x="wd2" y="hd2"/>
                      </a:cxn>
                    </a:cxnLst>
                    <a:rect l="0" t="0" r="r" b="b"/>
                    <a:pathLst>
                      <a:path w="21600" h="21600" extrusionOk="0">
                        <a:moveTo>
                          <a:pt x="3664" y="0"/>
                        </a:moveTo>
                        <a:cubicBezTo>
                          <a:pt x="2137" y="7077"/>
                          <a:pt x="916" y="14339"/>
                          <a:pt x="0" y="21600"/>
                        </a:cubicBezTo>
                        <a:lnTo>
                          <a:pt x="21600" y="21600"/>
                        </a:lnTo>
                        <a:lnTo>
                          <a:pt x="3664"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90" name="Freeform: Shape 86"/>
                  <p:cNvSpPr/>
                  <p:nvPr/>
                </p:nvSpPr>
                <p:spPr>
                  <a:xfrm>
                    <a:off x="182908" y="348436"/>
                    <a:ext cx="117751" cy="101673"/>
                  </a:xfrm>
                  <a:custGeom>
                    <a:avLst/>
                    <a:gdLst/>
                    <a:ahLst/>
                    <a:cxnLst>
                      <a:cxn ang="0">
                        <a:pos x="wd2" y="hd2"/>
                      </a:cxn>
                      <a:cxn ang="5400000">
                        <a:pos x="wd2" y="hd2"/>
                      </a:cxn>
                      <a:cxn ang="10800000">
                        <a:pos x="wd2" y="hd2"/>
                      </a:cxn>
                      <a:cxn ang="16200000">
                        <a:pos x="wd2" y="hd2"/>
                      </a:cxn>
                    </a:cxnLst>
                    <a:rect l="0" t="0" r="r" b="b"/>
                    <a:pathLst>
                      <a:path w="21600" h="21600" extrusionOk="0">
                        <a:moveTo>
                          <a:pt x="2920" y="0"/>
                        </a:moveTo>
                        <a:cubicBezTo>
                          <a:pt x="1793" y="2579"/>
                          <a:pt x="839" y="5224"/>
                          <a:pt x="0" y="7937"/>
                        </a:cubicBezTo>
                        <a:lnTo>
                          <a:pt x="11798" y="21600"/>
                        </a:lnTo>
                        <a:lnTo>
                          <a:pt x="21600" y="21600"/>
                        </a:lnTo>
                        <a:lnTo>
                          <a:pt x="2920"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91" name="Freeform: Shape 87"/>
                  <p:cNvSpPr/>
                  <p:nvPr/>
                </p:nvSpPr>
                <p:spPr>
                  <a:xfrm>
                    <a:off x="211596" y="293739"/>
                    <a:ext cx="134617" cy="149750"/>
                  </a:xfrm>
                  <a:custGeom>
                    <a:avLst/>
                    <a:gdLst/>
                    <a:ahLst/>
                    <a:cxnLst>
                      <a:cxn ang="0">
                        <a:pos x="wd2" y="hd2"/>
                      </a:cxn>
                      <a:cxn ang="5400000">
                        <a:pos x="wd2" y="hd2"/>
                      </a:cxn>
                      <a:cxn ang="10800000">
                        <a:pos x="wd2" y="hd2"/>
                      </a:cxn>
                      <a:cxn ang="16200000">
                        <a:pos x="wd2" y="hd2"/>
                      </a:cxn>
                    </a:cxnLst>
                    <a:rect l="0" t="0" r="r" b="b"/>
                    <a:pathLst>
                      <a:path w="21600" h="21600" extrusionOk="0">
                        <a:moveTo>
                          <a:pt x="3465" y="0"/>
                        </a:moveTo>
                        <a:cubicBezTo>
                          <a:pt x="2200" y="1478"/>
                          <a:pt x="1062" y="3001"/>
                          <a:pt x="0" y="4593"/>
                        </a:cubicBezTo>
                        <a:lnTo>
                          <a:pt x="18919" y="21600"/>
                        </a:lnTo>
                        <a:cubicBezTo>
                          <a:pt x="19577" y="19736"/>
                          <a:pt x="20487" y="17962"/>
                          <a:pt x="21600" y="16302"/>
                        </a:cubicBezTo>
                        <a:lnTo>
                          <a:pt x="3465"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92" name="Freeform: Shape 88"/>
                  <p:cNvSpPr/>
                  <p:nvPr/>
                </p:nvSpPr>
                <p:spPr>
                  <a:xfrm>
                    <a:off x="622376" y="591869"/>
                    <a:ext cx="174969" cy="33313"/>
                  </a:xfrm>
                  <a:prstGeom prst="rect">
                    <a:avLst/>
                  </a:pr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93" name="Freeform: Shape 89"/>
                  <p:cNvSpPr/>
                  <p:nvPr/>
                </p:nvSpPr>
                <p:spPr>
                  <a:xfrm>
                    <a:off x="578241" y="554141"/>
                    <a:ext cx="231039" cy="339667"/>
                  </a:xfrm>
                  <a:custGeom>
                    <a:avLst/>
                    <a:gdLst/>
                    <a:ahLst/>
                    <a:cxnLst>
                      <a:cxn ang="0">
                        <a:pos x="wd2" y="hd2"/>
                      </a:cxn>
                      <a:cxn ang="5400000">
                        <a:pos x="wd2" y="hd2"/>
                      </a:cxn>
                      <a:cxn ang="10800000">
                        <a:pos x="wd2" y="hd2"/>
                      </a:cxn>
                      <a:cxn ang="16200000">
                        <a:pos x="wd2" y="hd2"/>
                      </a:cxn>
                    </a:cxnLst>
                    <a:rect l="0" t="0" r="r" b="b"/>
                    <a:pathLst>
                      <a:path w="21600" h="21600" extrusionOk="0">
                        <a:moveTo>
                          <a:pt x="18737" y="0"/>
                        </a:moveTo>
                        <a:lnTo>
                          <a:pt x="2863" y="0"/>
                        </a:lnTo>
                        <a:cubicBezTo>
                          <a:pt x="1275" y="0"/>
                          <a:pt x="0" y="1144"/>
                          <a:pt x="0" y="2569"/>
                        </a:cubicBezTo>
                        <a:lnTo>
                          <a:pt x="0" y="19031"/>
                        </a:lnTo>
                        <a:cubicBezTo>
                          <a:pt x="0" y="20456"/>
                          <a:pt x="1275" y="21600"/>
                          <a:pt x="2863" y="21600"/>
                        </a:cubicBezTo>
                        <a:lnTo>
                          <a:pt x="18737" y="21600"/>
                        </a:lnTo>
                        <a:cubicBezTo>
                          <a:pt x="20325" y="21600"/>
                          <a:pt x="21600" y="20456"/>
                          <a:pt x="21600" y="19031"/>
                        </a:cubicBezTo>
                        <a:lnTo>
                          <a:pt x="21600" y="2569"/>
                        </a:lnTo>
                        <a:cubicBezTo>
                          <a:pt x="21600" y="1144"/>
                          <a:pt x="20325" y="0"/>
                          <a:pt x="18737" y="0"/>
                        </a:cubicBezTo>
                        <a:close/>
                        <a:moveTo>
                          <a:pt x="5595" y="19849"/>
                        </a:moveTo>
                        <a:lnTo>
                          <a:pt x="2537" y="19849"/>
                        </a:lnTo>
                        <a:cubicBezTo>
                          <a:pt x="1965" y="19849"/>
                          <a:pt x="1496" y="19428"/>
                          <a:pt x="1496" y="18915"/>
                        </a:cubicBezTo>
                        <a:cubicBezTo>
                          <a:pt x="1496" y="18401"/>
                          <a:pt x="1965" y="17981"/>
                          <a:pt x="2537" y="17981"/>
                        </a:cubicBezTo>
                        <a:lnTo>
                          <a:pt x="5595" y="17981"/>
                        </a:lnTo>
                        <a:cubicBezTo>
                          <a:pt x="6168" y="17981"/>
                          <a:pt x="6636" y="18401"/>
                          <a:pt x="6636" y="18915"/>
                        </a:cubicBezTo>
                        <a:cubicBezTo>
                          <a:pt x="6636" y="19428"/>
                          <a:pt x="6181" y="19849"/>
                          <a:pt x="5595" y="19849"/>
                        </a:cubicBezTo>
                        <a:close/>
                        <a:moveTo>
                          <a:pt x="5595" y="15178"/>
                        </a:moveTo>
                        <a:lnTo>
                          <a:pt x="2537" y="15178"/>
                        </a:lnTo>
                        <a:cubicBezTo>
                          <a:pt x="1965" y="15178"/>
                          <a:pt x="1496" y="14758"/>
                          <a:pt x="1496" y="14244"/>
                        </a:cubicBezTo>
                        <a:cubicBezTo>
                          <a:pt x="1496" y="13731"/>
                          <a:pt x="1965" y="13310"/>
                          <a:pt x="2537" y="13310"/>
                        </a:cubicBezTo>
                        <a:lnTo>
                          <a:pt x="5595" y="13310"/>
                        </a:lnTo>
                        <a:cubicBezTo>
                          <a:pt x="6168" y="13310"/>
                          <a:pt x="6636" y="13731"/>
                          <a:pt x="6636" y="14244"/>
                        </a:cubicBezTo>
                        <a:cubicBezTo>
                          <a:pt x="6636" y="14758"/>
                          <a:pt x="6181" y="15178"/>
                          <a:pt x="5595" y="15178"/>
                        </a:cubicBezTo>
                        <a:close/>
                        <a:moveTo>
                          <a:pt x="5595" y="10391"/>
                        </a:moveTo>
                        <a:lnTo>
                          <a:pt x="2537" y="10391"/>
                        </a:lnTo>
                        <a:cubicBezTo>
                          <a:pt x="1965" y="10391"/>
                          <a:pt x="1496" y="9971"/>
                          <a:pt x="1496" y="9457"/>
                        </a:cubicBezTo>
                        <a:cubicBezTo>
                          <a:pt x="1496" y="8944"/>
                          <a:pt x="1965" y="8523"/>
                          <a:pt x="2537" y="8523"/>
                        </a:cubicBezTo>
                        <a:lnTo>
                          <a:pt x="5595" y="8523"/>
                        </a:lnTo>
                        <a:cubicBezTo>
                          <a:pt x="6168" y="8523"/>
                          <a:pt x="6636" y="8944"/>
                          <a:pt x="6636" y="9457"/>
                        </a:cubicBezTo>
                        <a:cubicBezTo>
                          <a:pt x="6636" y="9971"/>
                          <a:pt x="6181" y="10391"/>
                          <a:pt x="5595" y="10391"/>
                        </a:cubicBezTo>
                        <a:close/>
                        <a:moveTo>
                          <a:pt x="12309" y="19849"/>
                        </a:moveTo>
                        <a:lnTo>
                          <a:pt x="9252" y="19849"/>
                        </a:lnTo>
                        <a:cubicBezTo>
                          <a:pt x="8679" y="19849"/>
                          <a:pt x="8211" y="19428"/>
                          <a:pt x="8211" y="18915"/>
                        </a:cubicBezTo>
                        <a:cubicBezTo>
                          <a:pt x="8211" y="18401"/>
                          <a:pt x="8679" y="17981"/>
                          <a:pt x="9252" y="17981"/>
                        </a:cubicBezTo>
                        <a:lnTo>
                          <a:pt x="12309" y="17981"/>
                        </a:lnTo>
                        <a:cubicBezTo>
                          <a:pt x="12882" y="17981"/>
                          <a:pt x="13350" y="18401"/>
                          <a:pt x="13350" y="18915"/>
                        </a:cubicBezTo>
                        <a:cubicBezTo>
                          <a:pt x="13350" y="19428"/>
                          <a:pt x="12882" y="19849"/>
                          <a:pt x="12309" y="19849"/>
                        </a:cubicBezTo>
                        <a:close/>
                        <a:moveTo>
                          <a:pt x="12309" y="15178"/>
                        </a:moveTo>
                        <a:lnTo>
                          <a:pt x="9252" y="15178"/>
                        </a:lnTo>
                        <a:cubicBezTo>
                          <a:pt x="8679" y="15178"/>
                          <a:pt x="8211" y="14758"/>
                          <a:pt x="8211" y="14244"/>
                        </a:cubicBezTo>
                        <a:cubicBezTo>
                          <a:pt x="8211" y="13731"/>
                          <a:pt x="8679" y="13310"/>
                          <a:pt x="9252" y="13310"/>
                        </a:cubicBezTo>
                        <a:lnTo>
                          <a:pt x="12309" y="13310"/>
                        </a:lnTo>
                        <a:cubicBezTo>
                          <a:pt x="12882" y="13310"/>
                          <a:pt x="13350" y="13731"/>
                          <a:pt x="13350" y="14244"/>
                        </a:cubicBezTo>
                        <a:cubicBezTo>
                          <a:pt x="13350" y="14758"/>
                          <a:pt x="12882" y="15178"/>
                          <a:pt x="12309" y="15178"/>
                        </a:cubicBezTo>
                        <a:close/>
                        <a:moveTo>
                          <a:pt x="12309" y="10391"/>
                        </a:moveTo>
                        <a:lnTo>
                          <a:pt x="9252" y="10391"/>
                        </a:lnTo>
                        <a:cubicBezTo>
                          <a:pt x="8679" y="10391"/>
                          <a:pt x="8211" y="9971"/>
                          <a:pt x="8211" y="9457"/>
                        </a:cubicBezTo>
                        <a:cubicBezTo>
                          <a:pt x="8211" y="8944"/>
                          <a:pt x="8679" y="8523"/>
                          <a:pt x="9252" y="8523"/>
                        </a:cubicBezTo>
                        <a:lnTo>
                          <a:pt x="12309" y="8523"/>
                        </a:lnTo>
                        <a:cubicBezTo>
                          <a:pt x="12882" y="8523"/>
                          <a:pt x="13350" y="8944"/>
                          <a:pt x="13350" y="9457"/>
                        </a:cubicBezTo>
                        <a:cubicBezTo>
                          <a:pt x="13350" y="9971"/>
                          <a:pt x="12882" y="10391"/>
                          <a:pt x="12309" y="10391"/>
                        </a:cubicBezTo>
                        <a:close/>
                        <a:moveTo>
                          <a:pt x="19037" y="19849"/>
                        </a:moveTo>
                        <a:lnTo>
                          <a:pt x="15979" y="19849"/>
                        </a:lnTo>
                        <a:cubicBezTo>
                          <a:pt x="15406" y="19849"/>
                          <a:pt x="14938" y="19428"/>
                          <a:pt x="14938" y="18915"/>
                        </a:cubicBezTo>
                        <a:cubicBezTo>
                          <a:pt x="14938" y="18401"/>
                          <a:pt x="15406" y="17981"/>
                          <a:pt x="15979" y="17981"/>
                        </a:cubicBezTo>
                        <a:lnTo>
                          <a:pt x="19037" y="17981"/>
                        </a:lnTo>
                        <a:cubicBezTo>
                          <a:pt x="19609" y="17981"/>
                          <a:pt x="20078" y="18401"/>
                          <a:pt x="20078" y="18915"/>
                        </a:cubicBezTo>
                        <a:cubicBezTo>
                          <a:pt x="20078" y="19428"/>
                          <a:pt x="19609" y="19849"/>
                          <a:pt x="19037" y="19849"/>
                        </a:cubicBezTo>
                        <a:close/>
                        <a:moveTo>
                          <a:pt x="19037" y="15178"/>
                        </a:moveTo>
                        <a:lnTo>
                          <a:pt x="15979" y="15178"/>
                        </a:lnTo>
                        <a:cubicBezTo>
                          <a:pt x="15406" y="15178"/>
                          <a:pt x="14938" y="14758"/>
                          <a:pt x="14938" y="14244"/>
                        </a:cubicBezTo>
                        <a:cubicBezTo>
                          <a:pt x="14938" y="13731"/>
                          <a:pt x="15406" y="13310"/>
                          <a:pt x="15979" y="13310"/>
                        </a:cubicBezTo>
                        <a:lnTo>
                          <a:pt x="19037" y="13310"/>
                        </a:lnTo>
                        <a:cubicBezTo>
                          <a:pt x="19609" y="13310"/>
                          <a:pt x="20078" y="13731"/>
                          <a:pt x="20078" y="14244"/>
                        </a:cubicBezTo>
                        <a:cubicBezTo>
                          <a:pt x="20078" y="14758"/>
                          <a:pt x="19609" y="15178"/>
                          <a:pt x="19037" y="15178"/>
                        </a:cubicBezTo>
                        <a:close/>
                        <a:moveTo>
                          <a:pt x="19037" y="10391"/>
                        </a:moveTo>
                        <a:lnTo>
                          <a:pt x="15979" y="10391"/>
                        </a:lnTo>
                        <a:cubicBezTo>
                          <a:pt x="15406" y="10391"/>
                          <a:pt x="14938" y="9971"/>
                          <a:pt x="14938" y="9457"/>
                        </a:cubicBezTo>
                        <a:cubicBezTo>
                          <a:pt x="14938" y="8944"/>
                          <a:pt x="15406" y="8523"/>
                          <a:pt x="15979" y="8523"/>
                        </a:cubicBezTo>
                        <a:lnTo>
                          <a:pt x="19037" y="8523"/>
                        </a:lnTo>
                        <a:cubicBezTo>
                          <a:pt x="19609" y="8523"/>
                          <a:pt x="20078" y="8944"/>
                          <a:pt x="20078" y="9457"/>
                        </a:cubicBezTo>
                        <a:cubicBezTo>
                          <a:pt x="20078" y="9971"/>
                          <a:pt x="19609" y="10391"/>
                          <a:pt x="19037" y="10391"/>
                        </a:cubicBezTo>
                        <a:close/>
                        <a:moveTo>
                          <a:pt x="20169" y="5838"/>
                        </a:moveTo>
                        <a:cubicBezTo>
                          <a:pt x="20169" y="6352"/>
                          <a:pt x="19700" y="6772"/>
                          <a:pt x="19128" y="6772"/>
                        </a:cubicBezTo>
                        <a:lnTo>
                          <a:pt x="2602" y="6772"/>
                        </a:lnTo>
                        <a:cubicBezTo>
                          <a:pt x="2030" y="6772"/>
                          <a:pt x="1561" y="6352"/>
                          <a:pt x="1561" y="5838"/>
                        </a:cubicBezTo>
                        <a:lnTo>
                          <a:pt x="1561" y="2218"/>
                        </a:lnTo>
                        <a:cubicBezTo>
                          <a:pt x="1561" y="1705"/>
                          <a:pt x="2030" y="1284"/>
                          <a:pt x="2602" y="1284"/>
                        </a:cubicBezTo>
                        <a:lnTo>
                          <a:pt x="19128" y="1284"/>
                        </a:lnTo>
                        <a:cubicBezTo>
                          <a:pt x="19700" y="1284"/>
                          <a:pt x="20169" y="1705"/>
                          <a:pt x="20169" y="2218"/>
                        </a:cubicBezTo>
                        <a:lnTo>
                          <a:pt x="20169" y="5838"/>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grpSp>
          </p:grpSp>
          <p:grpSp>
            <p:nvGrpSpPr>
              <p:cNvPr id="259" name="Group"/>
              <p:cNvGrpSpPr/>
              <p:nvPr/>
            </p:nvGrpSpPr>
            <p:grpSpPr>
              <a:xfrm>
                <a:off x="2088173" y="1198518"/>
                <a:ext cx="3694192" cy="1030435"/>
                <a:chOff x="-1" y="0"/>
                <a:chExt cx="3694191" cy="1030434"/>
              </a:xfrm>
            </p:grpSpPr>
            <p:grpSp>
              <p:nvGrpSpPr>
                <p:cNvPr id="262" name="Rectangle: Rounded Corners 29"/>
                <p:cNvGrpSpPr/>
                <p:nvPr/>
              </p:nvGrpSpPr>
              <p:grpSpPr>
                <a:xfrm>
                  <a:off x="1108845" y="0"/>
                  <a:ext cx="2585345" cy="1030434"/>
                  <a:chOff x="0" y="0"/>
                  <a:chExt cx="2585344" cy="1030433"/>
                </a:xfrm>
              </p:grpSpPr>
              <p:sp>
                <p:nvSpPr>
                  <p:cNvPr id="277" name="Rounded Rectangle"/>
                  <p:cNvSpPr/>
                  <p:nvPr/>
                </p:nvSpPr>
                <p:spPr>
                  <a:xfrm>
                    <a:off x="0" y="0"/>
                    <a:ext cx="1720898" cy="1030433"/>
                  </a:xfrm>
                  <a:prstGeom prst="roundRect">
                    <a:avLst>
                      <a:gd name="adj" fmla="val 17206"/>
                    </a:avLst>
                  </a:prstGeom>
                  <a:solidFill>
                    <a:srgbClr val="FFC000"/>
                  </a:solidFill>
                  <a:ln w="12700" cap="flat">
                    <a:noFill/>
                    <a:miter lim="400000"/>
                  </a:ln>
                  <a:effectLst>
                    <a:outerShdw blurRad="50800" dist="139700" dir="10800000" rotWithShape="0">
                      <a:srgbClr val="000000">
                        <a:alpha val="32000"/>
                      </a:srgbClr>
                    </a:outerShdw>
                  </a:effectLst>
                </p:spPr>
                <p:txBody>
                  <a:bodyPr wrap="square" lIns="38100" tIns="38100" rIns="38100" bIns="38100" numCol="1" anchor="ctr">
                    <a:noAutofit/>
                  </a:bodyPr>
                  <a:lstStyle/>
                  <a:p>
                    <a:pPr algn="l">
                      <a:spcBef>
                        <a:spcPts val="1000"/>
                      </a:spcBef>
                      <a:defRPr sz="2700">
                        <a:solidFill>
                          <a:srgbClr val="000000"/>
                        </a:solidFill>
                        <a:effectLst/>
                      </a:defRPr>
                    </a:pPr>
                    <a:r>
                      <a:rPr lang="en-GB" sz="2000" dirty="0">
                        <a:solidFill>
                          <a:srgbClr val="000000"/>
                        </a:solidFill>
                      </a:rPr>
                      <a:t>50.456</a:t>
                    </a:r>
                    <a:r>
                      <a:rPr lang="en-GB" sz="2000" dirty="0"/>
                      <a:t> (₦’BN)</a:t>
                    </a:r>
                    <a:endParaRPr sz="2000" dirty="0"/>
                  </a:p>
                </p:txBody>
              </p:sp>
              <p:sp>
                <p:nvSpPr>
                  <p:cNvPr id="278" name="Text"/>
                  <p:cNvSpPr/>
                  <p:nvPr/>
                </p:nvSpPr>
                <p:spPr>
                  <a:xfrm>
                    <a:off x="51927" y="515215"/>
                    <a:ext cx="2533417" cy="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45718" tIns="45718" rIns="45718" bIns="45718" numCol="1" anchor="ctr">
                    <a:spAutoFit/>
                  </a:bodyPr>
                  <a:lstStyle/>
                  <a:p>
                    <a:pPr algn="l">
                      <a:spcBef>
                        <a:spcPts val="1000"/>
                      </a:spcBef>
                      <a:defRPr sz="2700">
                        <a:solidFill>
                          <a:srgbClr val="000000"/>
                        </a:solidFill>
                        <a:effectLst/>
                      </a:defRPr>
                    </a:pPr>
                    <a:endParaRPr dirty="0"/>
                  </a:p>
                </p:txBody>
              </p:sp>
            </p:grpSp>
            <p:grpSp>
              <p:nvGrpSpPr>
                <p:cNvPr id="263" name="Group"/>
                <p:cNvGrpSpPr/>
                <p:nvPr/>
              </p:nvGrpSpPr>
              <p:grpSpPr>
                <a:xfrm>
                  <a:off x="-1" y="10255"/>
                  <a:ext cx="1004617" cy="1009925"/>
                  <a:chOff x="0" y="0"/>
                  <a:chExt cx="1004615" cy="1009924"/>
                </a:xfrm>
              </p:grpSpPr>
              <p:sp>
                <p:nvSpPr>
                  <p:cNvPr id="264" name="Rectangle: Rounded Corners 28"/>
                  <p:cNvSpPr/>
                  <p:nvPr/>
                </p:nvSpPr>
                <p:spPr>
                  <a:xfrm>
                    <a:off x="0" y="0"/>
                    <a:ext cx="1004615" cy="1009924"/>
                  </a:xfrm>
                  <a:prstGeom prst="roundRect">
                    <a:avLst>
                      <a:gd name="adj" fmla="val 6667"/>
                    </a:avLst>
                  </a:prstGeom>
                  <a:solidFill>
                    <a:srgbClr val="8A6705"/>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defTabSz="914400">
                      <a:defRPr sz="1800" b="0" cap="none">
                        <a:solidFill>
                          <a:srgbClr val="FFFFFF"/>
                        </a:solidFill>
                        <a:effectLst/>
                        <a:latin typeface="Calibri"/>
                        <a:ea typeface="Calibri"/>
                        <a:cs typeface="Calibri"/>
                        <a:sym typeface="Calibri"/>
                      </a:defRPr>
                    </a:pPr>
                    <a:endParaRPr sz="1200" dirty="0"/>
                  </a:p>
                </p:txBody>
              </p:sp>
              <p:sp>
                <p:nvSpPr>
                  <p:cNvPr id="265" name="Freeform: Shape 78"/>
                  <p:cNvSpPr/>
                  <p:nvPr/>
                </p:nvSpPr>
                <p:spPr>
                  <a:xfrm>
                    <a:off x="166672" y="544685"/>
                    <a:ext cx="178122" cy="156842"/>
                  </a:xfrm>
                  <a:custGeom>
                    <a:avLst/>
                    <a:gdLst/>
                    <a:ahLst/>
                    <a:cxnLst>
                      <a:cxn ang="0">
                        <a:pos x="wd2" y="hd2"/>
                      </a:cxn>
                      <a:cxn ang="5400000">
                        <a:pos x="wd2" y="hd2"/>
                      </a:cxn>
                      <a:cxn ang="10800000">
                        <a:pos x="wd2" y="hd2"/>
                      </a:cxn>
                      <a:cxn ang="16200000">
                        <a:pos x="wd2" y="hd2"/>
                      </a:cxn>
                    </a:cxnLst>
                    <a:rect l="0" t="0" r="r" b="b"/>
                    <a:pathLst>
                      <a:path w="21600" h="21600" extrusionOk="0">
                        <a:moveTo>
                          <a:pt x="19421" y="0"/>
                        </a:moveTo>
                        <a:lnTo>
                          <a:pt x="0" y="0"/>
                        </a:lnTo>
                        <a:cubicBezTo>
                          <a:pt x="956" y="7858"/>
                          <a:pt x="3651" y="15283"/>
                          <a:pt x="7856" y="21600"/>
                        </a:cubicBezTo>
                        <a:lnTo>
                          <a:pt x="21600" y="5992"/>
                        </a:lnTo>
                        <a:cubicBezTo>
                          <a:pt x="20644" y="4125"/>
                          <a:pt x="19899" y="2106"/>
                          <a:pt x="19421"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66" name="Freeform: Shape 79"/>
                  <p:cNvSpPr/>
                  <p:nvPr/>
                </p:nvSpPr>
                <p:spPr>
                  <a:xfrm>
                    <a:off x="297661" y="654393"/>
                    <a:ext cx="157631" cy="178281"/>
                  </a:xfrm>
                  <a:custGeom>
                    <a:avLst/>
                    <a:gdLst/>
                    <a:ahLst/>
                    <a:cxnLst>
                      <a:cxn ang="0">
                        <a:pos x="wd2" y="hd2"/>
                      </a:cxn>
                      <a:cxn ang="5400000">
                        <a:pos x="wd2" y="hd2"/>
                      </a:cxn>
                      <a:cxn ang="10800000">
                        <a:pos x="wd2" y="hd2"/>
                      </a:cxn>
                      <a:cxn ang="16200000">
                        <a:pos x="wd2" y="hd2"/>
                      </a:cxn>
                    </a:cxnLst>
                    <a:rect l="0" t="0" r="r" b="b"/>
                    <a:pathLst>
                      <a:path w="21600" h="21600" extrusionOk="0">
                        <a:moveTo>
                          <a:pt x="15509" y="0"/>
                        </a:moveTo>
                        <a:lnTo>
                          <a:pt x="0" y="13732"/>
                        </a:lnTo>
                        <a:cubicBezTo>
                          <a:pt x="6307" y="17952"/>
                          <a:pt x="13738" y="20664"/>
                          <a:pt x="21600" y="21600"/>
                        </a:cubicBezTo>
                        <a:lnTo>
                          <a:pt x="21600" y="2196"/>
                        </a:lnTo>
                        <a:cubicBezTo>
                          <a:pt x="19462" y="1700"/>
                          <a:pt x="17431" y="974"/>
                          <a:pt x="15509"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67" name="Freeform: Shape 80"/>
                  <p:cNvSpPr/>
                  <p:nvPr/>
                </p:nvSpPr>
                <p:spPr>
                  <a:xfrm>
                    <a:off x="548133" y="164956"/>
                    <a:ext cx="286887" cy="287044"/>
                  </a:xfrm>
                  <a:custGeom>
                    <a:avLst/>
                    <a:gdLst/>
                    <a:ahLst/>
                    <a:cxnLst>
                      <a:cxn ang="0">
                        <a:pos x="wd2" y="hd2"/>
                      </a:cxn>
                      <a:cxn ang="5400000">
                        <a:pos x="wd2" y="hd2"/>
                      </a:cxn>
                      <a:cxn ang="10800000">
                        <a:pos x="wd2" y="hd2"/>
                      </a:cxn>
                      <a:cxn ang="16200000">
                        <a:pos x="wd2" y="hd2"/>
                      </a:cxn>
                    </a:cxnLst>
                    <a:rect l="0" t="0" r="r" b="b"/>
                    <a:pathLst>
                      <a:path w="21600" h="21600" extrusionOk="0">
                        <a:moveTo>
                          <a:pt x="83" y="0"/>
                        </a:moveTo>
                        <a:cubicBezTo>
                          <a:pt x="47" y="4413"/>
                          <a:pt x="12" y="10094"/>
                          <a:pt x="0" y="12075"/>
                        </a:cubicBezTo>
                        <a:cubicBezTo>
                          <a:pt x="4640" y="13332"/>
                          <a:pt x="8260" y="16962"/>
                          <a:pt x="9506" y="21600"/>
                        </a:cubicBezTo>
                        <a:lnTo>
                          <a:pt x="21600" y="21576"/>
                        </a:lnTo>
                        <a:cubicBezTo>
                          <a:pt x="20010" y="10415"/>
                          <a:pt x="11251" y="1625"/>
                          <a:pt x="83" y="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68" name="Freeform: Shape 81"/>
                  <p:cNvSpPr/>
                  <p:nvPr/>
                </p:nvSpPr>
                <p:spPr>
                  <a:xfrm>
                    <a:off x="350152" y="180718"/>
                    <a:ext cx="104036" cy="119800"/>
                  </a:xfrm>
                  <a:custGeom>
                    <a:avLst/>
                    <a:gdLst/>
                    <a:ahLst/>
                    <a:cxnLst>
                      <a:cxn ang="0">
                        <a:pos x="wd2" y="hd2"/>
                      </a:cxn>
                      <a:cxn ang="5400000">
                        <a:pos x="wd2" y="hd2"/>
                      </a:cxn>
                      <a:cxn ang="10800000">
                        <a:pos x="wd2" y="hd2"/>
                      </a:cxn>
                      <a:cxn ang="16200000">
                        <a:pos x="wd2" y="hd2"/>
                      </a:cxn>
                    </a:cxnLst>
                    <a:rect l="0" t="0" r="r" b="b"/>
                    <a:pathLst>
                      <a:path w="21600" h="21600" extrusionOk="0">
                        <a:moveTo>
                          <a:pt x="7789" y="0"/>
                        </a:moveTo>
                        <a:cubicBezTo>
                          <a:pt x="5138" y="824"/>
                          <a:pt x="2520" y="1791"/>
                          <a:pt x="0" y="2899"/>
                        </a:cubicBezTo>
                        <a:lnTo>
                          <a:pt x="21535" y="21600"/>
                        </a:lnTo>
                        <a:lnTo>
                          <a:pt x="21600" y="11994"/>
                        </a:lnTo>
                        <a:lnTo>
                          <a:pt x="7789"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69" name="Freeform: Shape 82"/>
                  <p:cNvSpPr/>
                  <p:nvPr/>
                </p:nvSpPr>
                <p:spPr>
                  <a:xfrm>
                    <a:off x="295297" y="209408"/>
                    <a:ext cx="149749" cy="134774"/>
                  </a:xfrm>
                  <a:custGeom>
                    <a:avLst/>
                    <a:gdLst/>
                    <a:ahLst/>
                    <a:cxnLst>
                      <a:cxn ang="0">
                        <a:pos x="wd2" y="hd2"/>
                      </a:cxn>
                      <a:cxn ang="5400000">
                        <a:pos x="wd2" y="hd2"/>
                      </a:cxn>
                      <a:cxn ang="10800000">
                        <a:pos x="wd2" y="hd2"/>
                      </a:cxn>
                      <a:cxn ang="16200000">
                        <a:pos x="wd2" y="hd2"/>
                      </a:cxn>
                    </a:cxnLst>
                    <a:rect l="0" t="0" r="r" b="b"/>
                    <a:pathLst>
                      <a:path w="21600" h="21600" extrusionOk="0">
                        <a:moveTo>
                          <a:pt x="4593" y="0"/>
                        </a:moveTo>
                        <a:cubicBezTo>
                          <a:pt x="3001" y="1061"/>
                          <a:pt x="1478" y="2223"/>
                          <a:pt x="0" y="3486"/>
                        </a:cubicBezTo>
                        <a:lnTo>
                          <a:pt x="16302" y="21600"/>
                        </a:lnTo>
                        <a:cubicBezTo>
                          <a:pt x="17985" y="20488"/>
                          <a:pt x="19758" y="19579"/>
                          <a:pt x="21600" y="18897"/>
                        </a:cubicBezTo>
                        <a:lnTo>
                          <a:pt x="4593"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70" name="Freeform: Shape 83"/>
                  <p:cNvSpPr/>
                  <p:nvPr/>
                </p:nvSpPr>
                <p:spPr>
                  <a:xfrm>
                    <a:off x="414937" y="164482"/>
                    <a:ext cx="39567" cy="47291"/>
                  </a:xfrm>
                  <a:custGeom>
                    <a:avLst/>
                    <a:gdLst/>
                    <a:ahLst/>
                    <a:cxnLst>
                      <a:cxn ang="0">
                        <a:pos x="wd2" y="hd2"/>
                      </a:cxn>
                      <a:cxn ang="5400000">
                        <a:pos x="wd2" y="hd2"/>
                      </a:cxn>
                      <a:cxn ang="10800000">
                        <a:pos x="wd2" y="hd2"/>
                      </a:cxn>
                      <a:cxn ang="16200000">
                        <a:pos x="wd2" y="hd2"/>
                      </a:cxn>
                    </a:cxnLst>
                    <a:rect l="0" t="0" r="r" b="b"/>
                    <a:pathLst>
                      <a:path w="21600" h="21600" extrusionOk="0">
                        <a:moveTo>
                          <a:pt x="0" y="3600"/>
                        </a:moveTo>
                        <a:lnTo>
                          <a:pt x="21514" y="21600"/>
                        </a:lnTo>
                        <a:lnTo>
                          <a:pt x="21600" y="0"/>
                        </a:lnTo>
                        <a:cubicBezTo>
                          <a:pt x="14285" y="864"/>
                          <a:pt x="7143" y="2016"/>
                          <a:pt x="0" y="3600"/>
                        </a:cubicBez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71" name="Freeform: Shape 84"/>
                  <p:cNvSpPr/>
                  <p:nvPr/>
                </p:nvSpPr>
                <p:spPr>
                  <a:xfrm>
                    <a:off x="249270" y="247396"/>
                    <a:ext cx="138400" cy="138401"/>
                  </a:xfrm>
                  <a:custGeom>
                    <a:avLst/>
                    <a:gdLst/>
                    <a:ahLst/>
                    <a:cxnLst>
                      <a:cxn ang="0">
                        <a:pos x="wd2" y="hd2"/>
                      </a:cxn>
                      <a:cxn ang="5400000">
                        <a:pos x="wd2" y="hd2"/>
                      </a:cxn>
                      <a:cxn ang="10800000">
                        <a:pos x="wd2" y="hd2"/>
                      </a:cxn>
                      <a:cxn ang="16200000">
                        <a:pos x="wd2" y="hd2"/>
                      </a:cxn>
                    </a:cxnLst>
                    <a:rect l="0" t="0" r="r" b="b"/>
                    <a:pathLst>
                      <a:path w="21600" h="21600" extrusionOk="0">
                        <a:moveTo>
                          <a:pt x="4182" y="0"/>
                        </a:moveTo>
                        <a:cubicBezTo>
                          <a:pt x="3469" y="640"/>
                          <a:pt x="2755" y="1304"/>
                          <a:pt x="2067" y="1993"/>
                        </a:cubicBezTo>
                        <a:cubicBezTo>
                          <a:pt x="1353" y="2706"/>
                          <a:pt x="664" y="3444"/>
                          <a:pt x="0" y="4182"/>
                        </a:cubicBezTo>
                        <a:lnTo>
                          <a:pt x="17418" y="21600"/>
                        </a:lnTo>
                        <a:cubicBezTo>
                          <a:pt x="18672" y="20075"/>
                          <a:pt x="20050" y="18672"/>
                          <a:pt x="21600" y="17418"/>
                        </a:cubicBezTo>
                        <a:lnTo>
                          <a:pt x="4182"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72" name="Freeform: Shape 85"/>
                  <p:cNvSpPr/>
                  <p:nvPr/>
                </p:nvSpPr>
                <p:spPr>
                  <a:xfrm>
                    <a:off x="166830" y="413063"/>
                    <a:ext cx="44611" cy="37045"/>
                  </a:xfrm>
                  <a:custGeom>
                    <a:avLst/>
                    <a:gdLst/>
                    <a:ahLst/>
                    <a:cxnLst>
                      <a:cxn ang="0">
                        <a:pos x="wd2" y="hd2"/>
                      </a:cxn>
                      <a:cxn ang="5400000">
                        <a:pos x="wd2" y="hd2"/>
                      </a:cxn>
                      <a:cxn ang="10800000">
                        <a:pos x="wd2" y="hd2"/>
                      </a:cxn>
                      <a:cxn ang="16200000">
                        <a:pos x="wd2" y="hd2"/>
                      </a:cxn>
                    </a:cxnLst>
                    <a:rect l="0" t="0" r="r" b="b"/>
                    <a:pathLst>
                      <a:path w="21600" h="21600" extrusionOk="0">
                        <a:moveTo>
                          <a:pt x="3664" y="0"/>
                        </a:moveTo>
                        <a:cubicBezTo>
                          <a:pt x="2137" y="7077"/>
                          <a:pt x="916" y="14339"/>
                          <a:pt x="0" y="21600"/>
                        </a:cubicBezTo>
                        <a:lnTo>
                          <a:pt x="21600" y="21600"/>
                        </a:lnTo>
                        <a:lnTo>
                          <a:pt x="3664"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73" name="Freeform: Shape 86"/>
                  <p:cNvSpPr/>
                  <p:nvPr/>
                </p:nvSpPr>
                <p:spPr>
                  <a:xfrm>
                    <a:off x="182908" y="348436"/>
                    <a:ext cx="117751" cy="101673"/>
                  </a:xfrm>
                  <a:custGeom>
                    <a:avLst/>
                    <a:gdLst/>
                    <a:ahLst/>
                    <a:cxnLst>
                      <a:cxn ang="0">
                        <a:pos x="wd2" y="hd2"/>
                      </a:cxn>
                      <a:cxn ang="5400000">
                        <a:pos x="wd2" y="hd2"/>
                      </a:cxn>
                      <a:cxn ang="10800000">
                        <a:pos x="wd2" y="hd2"/>
                      </a:cxn>
                      <a:cxn ang="16200000">
                        <a:pos x="wd2" y="hd2"/>
                      </a:cxn>
                    </a:cxnLst>
                    <a:rect l="0" t="0" r="r" b="b"/>
                    <a:pathLst>
                      <a:path w="21600" h="21600" extrusionOk="0">
                        <a:moveTo>
                          <a:pt x="2920" y="0"/>
                        </a:moveTo>
                        <a:cubicBezTo>
                          <a:pt x="1793" y="2579"/>
                          <a:pt x="839" y="5224"/>
                          <a:pt x="0" y="7937"/>
                        </a:cubicBezTo>
                        <a:lnTo>
                          <a:pt x="11798" y="21600"/>
                        </a:lnTo>
                        <a:lnTo>
                          <a:pt x="21600" y="21600"/>
                        </a:lnTo>
                        <a:lnTo>
                          <a:pt x="2920"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74" name="Freeform: Shape 87"/>
                  <p:cNvSpPr/>
                  <p:nvPr/>
                </p:nvSpPr>
                <p:spPr>
                  <a:xfrm>
                    <a:off x="211596" y="293739"/>
                    <a:ext cx="134617" cy="149750"/>
                  </a:xfrm>
                  <a:custGeom>
                    <a:avLst/>
                    <a:gdLst/>
                    <a:ahLst/>
                    <a:cxnLst>
                      <a:cxn ang="0">
                        <a:pos x="wd2" y="hd2"/>
                      </a:cxn>
                      <a:cxn ang="5400000">
                        <a:pos x="wd2" y="hd2"/>
                      </a:cxn>
                      <a:cxn ang="10800000">
                        <a:pos x="wd2" y="hd2"/>
                      </a:cxn>
                      <a:cxn ang="16200000">
                        <a:pos x="wd2" y="hd2"/>
                      </a:cxn>
                    </a:cxnLst>
                    <a:rect l="0" t="0" r="r" b="b"/>
                    <a:pathLst>
                      <a:path w="21600" h="21600" extrusionOk="0">
                        <a:moveTo>
                          <a:pt x="3465" y="0"/>
                        </a:moveTo>
                        <a:cubicBezTo>
                          <a:pt x="2200" y="1478"/>
                          <a:pt x="1062" y="3001"/>
                          <a:pt x="0" y="4593"/>
                        </a:cubicBezTo>
                        <a:lnTo>
                          <a:pt x="18919" y="21600"/>
                        </a:lnTo>
                        <a:cubicBezTo>
                          <a:pt x="19577" y="19736"/>
                          <a:pt x="20487" y="17962"/>
                          <a:pt x="21600" y="16302"/>
                        </a:cubicBezTo>
                        <a:lnTo>
                          <a:pt x="3465" y="0"/>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75" name="Freeform: Shape 88"/>
                  <p:cNvSpPr/>
                  <p:nvPr/>
                </p:nvSpPr>
                <p:spPr>
                  <a:xfrm>
                    <a:off x="622376" y="591869"/>
                    <a:ext cx="174969" cy="33313"/>
                  </a:xfrm>
                  <a:prstGeom prst="rect">
                    <a:avLst/>
                  </a:pr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sp>
                <p:nvSpPr>
                  <p:cNvPr id="276" name="Freeform: Shape 89"/>
                  <p:cNvSpPr/>
                  <p:nvPr/>
                </p:nvSpPr>
                <p:spPr>
                  <a:xfrm>
                    <a:off x="578240" y="554141"/>
                    <a:ext cx="261666" cy="291615"/>
                  </a:xfrm>
                  <a:custGeom>
                    <a:avLst/>
                    <a:gdLst/>
                    <a:ahLst/>
                    <a:cxnLst>
                      <a:cxn ang="0">
                        <a:pos x="wd2" y="hd2"/>
                      </a:cxn>
                      <a:cxn ang="5400000">
                        <a:pos x="wd2" y="hd2"/>
                      </a:cxn>
                      <a:cxn ang="10800000">
                        <a:pos x="wd2" y="hd2"/>
                      </a:cxn>
                      <a:cxn ang="16200000">
                        <a:pos x="wd2" y="hd2"/>
                      </a:cxn>
                    </a:cxnLst>
                    <a:rect l="0" t="0" r="r" b="b"/>
                    <a:pathLst>
                      <a:path w="21600" h="21600" extrusionOk="0">
                        <a:moveTo>
                          <a:pt x="18737" y="0"/>
                        </a:moveTo>
                        <a:lnTo>
                          <a:pt x="2863" y="0"/>
                        </a:lnTo>
                        <a:cubicBezTo>
                          <a:pt x="1275" y="0"/>
                          <a:pt x="0" y="1144"/>
                          <a:pt x="0" y="2569"/>
                        </a:cubicBezTo>
                        <a:lnTo>
                          <a:pt x="0" y="19031"/>
                        </a:lnTo>
                        <a:cubicBezTo>
                          <a:pt x="0" y="20456"/>
                          <a:pt x="1275" y="21600"/>
                          <a:pt x="2863" y="21600"/>
                        </a:cubicBezTo>
                        <a:lnTo>
                          <a:pt x="18737" y="21600"/>
                        </a:lnTo>
                        <a:cubicBezTo>
                          <a:pt x="20325" y="21600"/>
                          <a:pt x="21600" y="20456"/>
                          <a:pt x="21600" y="19031"/>
                        </a:cubicBezTo>
                        <a:lnTo>
                          <a:pt x="21600" y="2569"/>
                        </a:lnTo>
                        <a:cubicBezTo>
                          <a:pt x="21600" y="1144"/>
                          <a:pt x="20325" y="0"/>
                          <a:pt x="18737" y="0"/>
                        </a:cubicBezTo>
                        <a:close/>
                        <a:moveTo>
                          <a:pt x="5595" y="19849"/>
                        </a:moveTo>
                        <a:lnTo>
                          <a:pt x="2537" y="19849"/>
                        </a:lnTo>
                        <a:cubicBezTo>
                          <a:pt x="1965" y="19849"/>
                          <a:pt x="1496" y="19428"/>
                          <a:pt x="1496" y="18915"/>
                        </a:cubicBezTo>
                        <a:cubicBezTo>
                          <a:pt x="1496" y="18401"/>
                          <a:pt x="1965" y="17981"/>
                          <a:pt x="2537" y="17981"/>
                        </a:cubicBezTo>
                        <a:lnTo>
                          <a:pt x="5595" y="17981"/>
                        </a:lnTo>
                        <a:cubicBezTo>
                          <a:pt x="6168" y="17981"/>
                          <a:pt x="6636" y="18401"/>
                          <a:pt x="6636" y="18915"/>
                        </a:cubicBezTo>
                        <a:cubicBezTo>
                          <a:pt x="6636" y="19428"/>
                          <a:pt x="6181" y="19849"/>
                          <a:pt x="5595" y="19849"/>
                        </a:cubicBezTo>
                        <a:close/>
                        <a:moveTo>
                          <a:pt x="5595" y="15178"/>
                        </a:moveTo>
                        <a:lnTo>
                          <a:pt x="2537" y="15178"/>
                        </a:lnTo>
                        <a:cubicBezTo>
                          <a:pt x="1965" y="15178"/>
                          <a:pt x="1496" y="14758"/>
                          <a:pt x="1496" y="14244"/>
                        </a:cubicBezTo>
                        <a:cubicBezTo>
                          <a:pt x="1496" y="13731"/>
                          <a:pt x="1965" y="13310"/>
                          <a:pt x="2537" y="13310"/>
                        </a:cubicBezTo>
                        <a:lnTo>
                          <a:pt x="5595" y="13310"/>
                        </a:lnTo>
                        <a:cubicBezTo>
                          <a:pt x="6168" y="13310"/>
                          <a:pt x="6636" y="13731"/>
                          <a:pt x="6636" y="14244"/>
                        </a:cubicBezTo>
                        <a:cubicBezTo>
                          <a:pt x="6636" y="14758"/>
                          <a:pt x="6181" y="15178"/>
                          <a:pt x="5595" y="15178"/>
                        </a:cubicBezTo>
                        <a:close/>
                        <a:moveTo>
                          <a:pt x="5595" y="10391"/>
                        </a:moveTo>
                        <a:lnTo>
                          <a:pt x="2537" y="10391"/>
                        </a:lnTo>
                        <a:cubicBezTo>
                          <a:pt x="1965" y="10391"/>
                          <a:pt x="1496" y="9971"/>
                          <a:pt x="1496" y="9457"/>
                        </a:cubicBezTo>
                        <a:cubicBezTo>
                          <a:pt x="1496" y="8944"/>
                          <a:pt x="1965" y="8523"/>
                          <a:pt x="2537" y="8523"/>
                        </a:cubicBezTo>
                        <a:lnTo>
                          <a:pt x="5595" y="8523"/>
                        </a:lnTo>
                        <a:cubicBezTo>
                          <a:pt x="6168" y="8523"/>
                          <a:pt x="6636" y="8944"/>
                          <a:pt x="6636" y="9457"/>
                        </a:cubicBezTo>
                        <a:cubicBezTo>
                          <a:pt x="6636" y="9971"/>
                          <a:pt x="6181" y="10391"/>
                          <a:pt x="5595" y="10391"/>
                        </a:cubicBezTo>
                        <a:close/>
                        <a:moveTo>
                          <a:pt x="12309" y="19849"/>
                        </a:moveTo>
                        <a:lnTo>
                          <a:pt x="9252" y="19849"/>
                        </a:lnTo>
                        <a:cubicBezTo>
                          <a:pt x="8679" y="19849"/>
                          <a:pt x="8211" y="19428"/>
                          <a:pt x="8211" y="18915"/>
                        </a:cubicBezTo>
                        <a:cubicBezTo>
                          <a:pt x="8211" y="18401"/>
                          <a:pt x="8679" y="17981"/>
                          <a:pt x="9252" y="17981"/>
                        </a:cubicBezTo>
                        <a:lnTo>
                          <a:pt x="12309" y="17981"/>
                        </a:lnTo>
                        <a:cubicBezTo>
                          <a:pt x="12882" y="17981"/>
                          <a:pt x="13350" y="18401"/>
                          <a:pt x="13350" y="18915"/>
                        </a:cubicBezTo>
                        <a:cubicBezTo>
                          <a:pt x="13350" y="19428"/>
                          <a:pt x="12882" y="19849"/>
                          <a:pt x="12309" y="19849"/>
                        </a:cubicBezTo>
                        <a:close/>
                        <a:moveTo>
                          <a:pt x="12309" y="15178"/>
                        </a:moveTo>
                        <a:lnTo>
                          <a:pt x="9252" y="15178"/>
                        </a:lnTo>
                        <a:cubicBezTo>
                          <a:pt x="8679" y="15178"/>
                          <a:pt x="8211" y="14758"/>
                          <a:pt x="8211" y="14244"/>
                        </a:cubicBezTo>
                        <a:cubicBezTo>
                          <a:pt x="8211" y="13731"/>
                          <a:pt x="8679" y="13310"/>
                          <a:pt x="9252" y="13310"/>
                        </a:cubicBezTo>
                        <a:lnTo>
                          <a:pt x="12309" y="13310"/>
                        </a:lnTo>
                        <a:cubicBezTo>
                          <a:pt x="12882" y="13310"/>
                          <a:pt x="13350" y="13731"/>
                          <a:pt x="13350" y="14244"/>
                        </a:cubicBezTo>
                        <a:cubicBezTo>
                          <a:pt x="13350" y="14758"/>
                          <a:pt x="12882" y="15178"/>
                          <a:pt x="12309" y="15178"/>
                        </a:cubicBezTo>
                        <a:close/>
                        <a:moveTo>
                          <a:pt x="12309" y="10391"/>
                        </a:moveTo>
                        <a:lnTo>
                          <a:pt x="9252" y="10391"/>
                        </a:lnTo>
                        <a:cubicBezTo>
                          <a:pt x="8679" y="10391"/>
                          <a:pt x="8211" y="9971"/>
                          <a:pt x="8211" y="9457"/>
                        </a:cubicBezTo>
                        <a:cubicBezTo>
                          <a:pt x="8211" y="8944"/>
                          <a:pt x="8679" y="8523"/>
                          <a:pt x="9252" y="8523"/>
                        </a:cubicBezTo>
                        <a:lnTo>
                          <a:pt x="12309" y="8523"/>
                        </a:lnTo>
                        <a:cubicBezTo>
                          <a:pt x="12882" y="8523"/>
                          <a:pt x="13350" y="8944"/>
                          <a:pt x="13350" y="9457"/>
                        </a:cubicBezTo>
                        <a:cubicBezTo>
                          <a:pt x="13350" y="9971"/>
                          <a:pt x="12882" y="10391"/>
                          <a:pt x="12309" y="10391"/>
                        </a:cubicBezTo>
                        <a:close/>
                        <a:moveTo>
                          <a:pt x="19037" y="19849"/>
                        </a:moveTo>
                        <a:lnTo>
                          <a:pt x="15979" y="19849"/>
                        </a:lnTo>
                        <a:cubicBezTo>
                          <a:pt x="15406" y="19849"/>
                          <a:pt x="14938" y="19428"/>
                          <a:pt x="14938" y="18915"/>
                        </a:cubicBezTo>
                        <a:cubicBezTo>
                          <a:pt x="14938" y="18401"/>
                          <a:pt x="15406" y="17981"/>
                          <a:pt x="15979" y="17981"/>
                        </a:cubicBezTo>
                        <a:lnTo>
                          <a:pt x="19037" y="17981"/>
                        </a:lnTo>
                        <a:cubicBezTo>
                          <a:pt x="19609" y="17981"/>
                          <a:pt x="20078" y="18401"/>
                          <a:pt x="20078" y="18915"/>
                        </a:cubicBezTo>
                        <a:cubicBezTo>
                          <a:pt x="20078" y="19428"/>
                          <a:pt x="19609" y="19849"/>
                          <a:pt x="19037" y="19849"/>
                        </a:cubicBezTo>
                        <a:close/>
                        <a:moveTo>
                          <a:pt x="19037" y="15178"/>
                        </a:moveTo>
                        <a:lnTo>
                          <a:pt x="15979" y="15178"/>
                        </a:lnTo>
                        <a:cubicBezTo>
                          <a:pt x="15406" y="15178"/>
                          <a:pt x="14938" y="14758"/>
                          <a:pt x="14938" y="14244"/>
                        </a:cubicBezTo>
                        <a:cubicBezTo>
                          <a:pt x="14938" y="13731"/>
                          <a:pt x="15406" y="13310"/>
                          <a:pt x="15979" y="13310"/>
                        </a:cubicBezTo>
                        <a:lnTo>
                          <a:pt x="19037" y="13310"/>
                        </a:lnTo>
                        <a:cubicBezTo>
                          <a:pt x="19609" y="13310"/>
                          <a:pt x="20078" y="13731"/>
                          <a:pt x="20078" y="14244"/>
                        </a:cubicBezTo>
                        <a:cubicBezTo>
                          <a:pt x="20078" y="14758"/>
                          <a:pt x="19609" y="15178"/>
                          <a:pt x="19037" y="15178"/>
                        </a:cubicBezTo>
                        <a:close/>
                        <a:moveTo>
                          <a:pt x="19037" y="10391"/>
                        </a:moveTo>
                        <a:lnTo>
                          <a:pt x="15979" y="10391"/>
                        </a:lnTo>
                        <a:cubicBezTo>
                          <a:pt x="15406" y="10391"/>
                          <a:pt x="14938" y="9971"/>
                          <a:pt x="14938" y="9457"/>
                        </a:cubicBezTo>
                        <a:cubicBezTo>
                          <a:pt x="14938" y="8944"/>
                          <a:pt x="15406" y="8523"/>
                          <a:pt x="15979" y="8523"/>
                        </a:cubicBezTo>
                        <a:lnTo>
                          <a:pt x="19037" y="8523"/>
                        </a:lnTo>
                        <a:cubicBezTo>
                          <a:pt x="19609" y="8523"/>
                          <a:pt x="20078" y="8944"/>
                          <a:pt x="20078" y="9457"/>
                        </a:cubicBezTo>
                        <a:cubicBezTo>
                          <a:pt x="20078" y="9971"/>
                          <a:pt x="19609" y="10391"/>
                          <a:pt x="19037" y="10391"/>
                        </a:cubicBezTo>
                        <a:close/>
                        <a:moveTo>
                          <a:pt x="20169" y="5838"/>
                        </a:moveTo>
                        <a:cubicBezTo>
                          <a:pt x="20169" y="6352"/>
                          <a:pt x="19700" y="6772"/>
                          <a:pt x="19128" y="6772"/>
                        </a:cubicBezTo>
                        <a:lnTo>
                          <a:pt x="2602" y="6772"/>
                        </a:lnTo>
                        <a:cubicBezTo>
                          <a:pt x="2030" y="6772"/>
                          <a:pt x="1561" y="6352"/>
                          <a:pt x="1561" y="5838"/>
                        </a:cubicBezTo>
                        <a:lnTo>
                          <a:pt x="1561" y="2218"/>
                        </a:lnTo>
                        <a:cubicBezTo>
                          <a:pt x="1561" y="1705"/>
                          <a:pt x="2030" y="1284"/>
                          <a:pt x="2602" y="1284"/>
                        </a:cubicBezTo>
                        <a:lnTo>
                          <a:pt x="19128" y="1284"/>
                        </a:lnTo>
                        <a:cubicBezTo>
                          <a:pt x="19700" y="1284"/>
                          <a:pt x="20169" y="1705"/>
                          <a:pt x="20169" y="2218"/>
                        </a:cubicBezTo>
                        <a:lnTo>
                          <a:pt x="20169" y="5838"/>
                        </a:lnTo>
                        <a:close/>
                      </a:path>
                    </a:pathLst>
                  </a:custGeom>
                  <a:solidFill>
                    <a:srgbClr val="FFFFFF"/>
                  </a:solidFill>
                  <a:ln w="12700" cap="flat">
                    <a:noFill/>
                    <a:miter lim="400000"/>
                  </a:ln>
                  <a:effectLst>
                    <a:outerShdw blurRad="63500" dist="38100" dir="5400000" rotWithShape="0">
                      <a:srgbClr val="000000">
                        <a:alpha val="73895"/>
                      </a:srgbClr>
                    </a:outerShdw>
                  </a:effectLst>
                </p:spPr>
                <p:txBody>
                  <a:bodyPr wrap="square" lIns="38100" tIns="38100" rIns="38100" bIns="38100" numCol="1" anchor="ctr">
                    <a:noAutofit/>
                  </a:bodyPr>
                  <a:lstStyle/>
                  <a:p>
                    <a:pPr algn="l" defTabSz="914400">
                      <a:defRPr sz="1800" b="0" cap="none">
                        <a:solidFill>
                          <a:srgbClr val="FFFFFF"/>
                        </a:solidFill>
                        <a:effectLst/>
                        <a:latin typeface="Calibri"/>
                        <a:ea typeface="Calibri"/>
                        <a:cs typeface="Calibri"/>
                        <a:sym typeface="Calibri"/>
                      </a:defRPr>
                    </a:pPr>
                    <a:endParaRPr dirty="0"/>
                  </a:p>
                </p:txBody>
              </p:sp>
            </p:grpSp>
          </p:grpSp>
          <p:sp>
            <p:nvSpPr>
              <p:cNvPr id="260" name="Provision"/>
              <p:cNvSpPr/>
              <p:nvPr/>
            </p:nvSpPr>
            <p:spPr>
              <a:xfrm>
                <a:off x="-1" y="171045"/>
                <a:ext cx="1825643" cy="86236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25400" cap="flat">
                <a:solidFill>
                  <a:srgbClr val="22BF00"/>
                </a:solidFill>
                <a:prstDash val="solid"/>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21918" tIns="121918" rIns="121918" bIns="121918" numCol="1" anchor="t">
                <a:spAutoFit/>
              </a:bodyPr>
              <a:lstStyle>
                <a:lvl1pPr algn="l" defTabSz="2438400">
                  <a:defRPr sz="2900" b="0">
                    <a:solidFill>
                      <a:srgbClr val="000000"/>
                    </a:solidFill>
                    <a:effectLst>
                      <a:outerShdw blurRad="12700" dist="12700" dir="18900000" rotWithShape="0">
                        <a:srgbClr val="000000">
                          <a:alpha val="24000"/>
                        </a:srgbClr>
                      </a:outerShdw>
                    </a:effectLst>
                  </a:defRPr>
                </a:lvl1pPr>
              </a:lstStyle>
              <a:p>
                <a:r>
                  <a:rPr sz="2000" dirty="0"/>
                  <a:t>Provision</a:t>
                </a:r>
                <a:endParaRPr dirty="0"/>
              </a:p>
            </p:txBody>
          </p:sp>
          <p:sp>
            <p:nvSpPr>
              <p:cNvPr id="261" name="Actual"/>
              <p:cNvSpPr/>
              <p:nvPr/>
            </p:nvSpPr>
            <p:spPr>
              <a:xfrm>
                <a:off x="-1" y="1369563"/>
                <a:ext cx="1825643" cy="862360"/>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25400" cap="flat">
                <a:solidFill>
                  <a:schemeClr val="accent3"/>
                </a:solidFill>
                <a:prstDash val="solid"/>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21918" tIns="121918" rIns="121918" bIns="121918" numCol="1" anchor="t">
                <a:spAutoFit/>
              </a:bodyPr>
              <a:lstStyle>
                <a:lvl1pPr algn="l" defTabSz="2438400">
                  <a:defRPr sz="2900" b="0">
                    <a:solidFill>
                      <a:srgbClr val="000000"/>
                    </a:solidFill>
                    <a:effectLst>
                      <a:outerShdw blurRad="12700" dist="12700" dir="18900000" rotWithShape="0">
                        <a:srgbClr val="000000">
                          <a:alpha val="24000"/>
                        </a:srgbClr>
                      </a:outerShdw>
                    </a:effectLst>
                  </a:defRPr>
                </a:lvl1pPr>
              </a:lstStyle>
              <a:p>
                <a:r>
                  <a:rPr sz="2000" dirty="0"/>
                  <a:t>Actual</a:t>
                </a:r>
                <a:endParaRPr dirty="0"/>
              </a:p>
            </p:txBody>
          </p:sp>
        </p:grpSp>
        <p:sp>
          <p:nvSpPr>
            <p:cNvPr id="257" name="TextBox 256"/>
            <p:cNvSpPr txBox="1"/>
            <p:nvPr/>
          </p:nvSpPr>
          <p:spPr>
            <a:xfrm>
              <a:off x="3013648" y="10834637"/>
              <a:ext cx="6119549" cy="43806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ctr" defTabSz="825500" rtl="0" fontAlgn="auto" latinLnBrk="0" hangingPunct="0">
                <a:lnSpc>
                  <a:spcPct val="100000"/>
                </a:lnSpc>
                <a:spcBef>
                  <a:spcPts val="0"/>
                </a:spcBef>
                <a:spcAft>
                  <a:spcPts val="0"/>
                </a:spcAft>
                <a:buClrTx/>
                <a:buSzTx/>
                <a:buFontTx/>
                <a:buNone/>
                <a:tabLst/>
              </a:pPr>
              <a:r>
                <a:rPr lang="en-US" sz="2000" dirty="0">
                  <a:solidFill>
                    <a:schemeClr val="accent1">
                      <a:lumMod val="50000"/>
                    </a:schemeClr>
                  </a:solidFill>
                  <a:effectLst/>
                </a:rPr>
                <a:t>TOTAL OVERHEAD COST</a:t>
              </a:r>
              <a:endParaRPr kumimoji="0" lang="en-US" sz="2000" i="0" u="none" strike="noStrike" cap="small" spc="0" normalizeH="0" baseline="0" dirty="0">
                <a:ln>
                  <a:noFill/>
                </a:ln>
                <a:solidFill>
                  <a:schemeClr val="accent1">
                    <a:lumMod val="50000"/>
                  </a:schemeClr>
                </a:solidFill>
                <a:effectLst/>
                <a:uFillTx/>
                <a:sym typeface="Trebuchet MS"/>
              </a:endParaRPr>
            </a:p>
          </p:txBody>
        </p:sp>
      </p:grpSp>
      <p:sp>
        <p:nvSpPr>
          <p:cNvPr id="296" name="TextBox 295">
            <a:extLst>
              <a:ext uri="{FF2B5EF4-FFF2-40B4-BE49-F238E27FC236}">
                <a16:creationId xmlns:a16="http://schemas.microsoft.com/office/drawing/2014/main" id="{D3AFE680-EBB5-A749-A6C3-E712B7C34D01}"/>
              </a:ext>
            </a:extLst>
          </p:cNvPr>
          <p:cNvSpPr txBox="1"/>
          <p:nvPr/>
        </p:nvSpPr>
        <p:spPr>
          <a:xfrm>
            <a:off x="2224106" y="5488511"/>
            <a:ext cx="1508951"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x-none" sz="2000" b="1" i="0" u="none" strike="noStrike" cap="small" spc="0" normalizeH="0" baseline="0" dirty="0">
                <a:ln>
                  <a:noFill/>
                </a:ln>
                <a:solidFill>
                  <a:srgbClr val="FF0000"/>
                </a:solidFill>
                <a:effectLst>
                  <a:outerShdw blurRad="12700" dist="12700" dir="18900000" rotWithShape="0">
                    <a:srgbClr val="000000">
                      <a:alpha val="40000"/>
                    </a:srgbClr>
                  </a:outerShdw>
                </a:effectLst>
                <a:uFillTx/>
                <a:latin typeface="Trebuchet MS"/>
                <a:ea typeface="Trebuchet MS"/>
                <a:cs typeface="Trebuchet MS"/>
                <a:sym typeface="Trebuchet MS"/>
              </a:rPr>
              <a:t>88%</a:t>
            </a:r>
          </a:p>
        </p:txBody>
      </p:sp>
      <p:sp>
        <p:nvSpPr>
          <p:cNvPr id="297" name="TextBox 296">
            <a:extLst>
              <a:ext uri="{FF2B5EF4-FFF2-40B4-BE49-F238E27FC236}">
                <a16:creationId xmlns:a16="http://schemas.microsoft.com/office/drawing/2014/main" id="{FE0C42B9-7306-A844-AE1A-6C4AD85CBD72}"/>
              </a:ext>
            </a:extLst>
          </p:cNvPr>
          <p:cNvSpPr txBox="1"/>
          <p:nvPr/>
        </p:nvSpPr>
        <p:spPr>
          <a:xfrm>
            <a:off x="2280336" y="8194575"/>
            <a:ext cx="1508951"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x-none" sz="2000" b="1" i="0" u="none" strike="noStrike" cap="small" spc="0" normalizeH="0" baseline="0" dirty="0">
                <a:ln>
                  <a:noFill/>
                </a:ln>
                <a:solidFill>
                  <a:srgbClr val="FF0000"/>
                </a:solidFill>
                <a:effectLst>
                  <a:outerShdw blurRad="12700" dist="12700" dir="18900000" rotWithShape="0">
                    <a:srgbClr val="000000">
                      <a:alpha val="40000"/>
                    </a:srgbClr>
                  </a:outerShdw>
                </a:effectLst>
                <a:uFillTx/>
                <a:latin typeface="Trebuchet MS"/>
                <a:ea typeface="Trebuchet MS"/>
                <a:cs typeface="Trebuchet MS"/>
                <a:sym typeface="Trebuchet MS"/>
              </a:rPr>
              <a:t>30%</a:t>
            </a:r>
          </a:p>
        </p:txBody>
      </p:sp>
      <p:sp>
        <p:nvSpPr>
          <p:cNvPr id="298" name="TextBox 297">
            <a:extLst>
              <a:ext uri="{FF2B5EF4-FFF2-40B4-BE49-F238E27FC236}">
                <a16:creationId xmlns:a16="http://schemas.microsoft.com/office/drawing/2014/main" id="{EE2E0921-39CD-E440-BE15-D45E1C129702}"/>
              </a:ext>
            </a:extLst>
          </p:cNvPr>
          <p:cNvSpPr txBox="1"/>
          <p:nvPr/>
        </p:nvSpPr>
        <p:spPr>
          <a:xfrm>
            <a:off x="2490042" y="10956048"/>
            <a:ext cx="1508951"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x-none" sz="2000" b="1" i="0" u="none" strike="noStrike" cap="small" spc="0" normalizeH="0" baseline="0" dirty="0">
                <a:ln>
                  <a:noFill/>
                </a:ln>
                <a:solidFill>
                  <a:srgbClr val="FF0000"/>
                </a:solidFill>
                <a:effectLst>
                  <a:outerShdw blurRad="12700" dist="12700" dir="18900000" rotWithShape="0">
                    <a:srgbClr val="000000">
                      <a:alpha val="40000"/>
                    </a:srgbClr>
                  </a:outerShdw>
                </a:effectLst>
                <a:uFillTx/>
                <a:latin typeface="Trebuchet MS"/>
                <a:ea typeface="Trebuchet MS"/>
                <a:cs typeface="Trebuchet MS"/>
                <a:sym typeface="Trebuchet MS"/>
              </a:rPr>
              <a:t>77%</a:t>
            </a:r>
          </a:p>
        </p:txBody>
      </p:sp>
    </p:spTree>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47" name="Group"/>
          <p:cNvGrpSpPr/>
          <p:nvPr/>
        </p:nvGrpSpPr>
        <p:grpSpPr>
          <a:xfrm>
            <a:off x="2090069" y="1957281"/>
            <a:ext cx="20203864" cy="9787972"/>
            <a:chOff x="0" y="0"/>
            <a:chExt cx="20203864" cy="9787971"/>
          </a:xfrm>
        </p:grpSpPr>
        <p:grpSp>
          <p:nvGrpSpPr>
            <p:cNvPr id="1441" name="Group"/>
            <p:cNvGrpSpPr/>
            <p:nvPr/>
          </p:nvGrpSpPr>
          <p:grpSpPr>
            <a:xfrm>
              <a:off x="0" y="0"/>
              <a:ext cx="9738385" cy="9787971"/>
              <a:chOff x="0" y="0"/>
              <a:chExt cx="9738385" cy="9787971"/>
            </a:xfrm>
          </p:grpSpPr>
          <p:sp>
            <p:nvSpPr>
              <p:cNvPr id="1411" name="Freeform 5"/>
              <p:cNvSpPr/>
              <p:nvPr/>
            </p:nvSpPr>
            <p:spPr>
              <a:xfrm>
                <a:off x="1702399" y="1705706"/>
                <a:ext cx="3960145" cy="4105592"/>
              </a:xfrm>
              <a:custGeom>
                <a:avLst/>
                <a:gdLst/>
                <a:ahLst/>
                <a:cxnLst>
                  <a:cxn ang="0">
                    <a:pos x="wd2" y="hd2"/>
                  </a:cxn>
                  <a:cxn ang="5400000">
                    <a:pos x="wd2" y="hd2"/>
                  </a:cxn>
                  <a:cxn ang="10800000">
                    <a:pos x="wd2" y="hd2"/>
                  </a:cxn>
                  <a:cxn ang="16200000">
                    <a:pos x="wd2" y="hd2"/>
                  </a:cxn>
                </a:cxnLst>
                <a:rect l="0" t="0" r="r" b="b"/>
                <a:pathLst>
                  <a:path w="21600" h="21600" extrusionOk="0">
                    <a:moveTo>
                      <a:pt x="2075" y="21189"/>
                    </a:moveTo>
                    <a:cubicBezTo>
                      <a:pt x="1890" y="20243"/>
                      <a:pt x="1805" y="19270"/>
                      <a:pt x="1805" y="18270"/>
                    </a:cubicBezTo>
                    <a:cubicBezTo>
                      <a:pt x="1805" y="9155"/>
                      <a:pt x="9493" y="1741"/>
                      <a:pt x="18957" y="1741"/>
                    </a:cubicBezTo>
                    <a:cubicBezTo>
                      <a:pt x="19653" y="1741"/>
                      <a:pt x="20335" y="1782"/>
                      <a:pt x="21017" y="1850"/>
                    </a:cubicBezTo>
                    <a:cubicBezTo>
                      <a:pt x="21202" y="1288"/>
                      <a:pt x="21401" y="726"/>
                      <a:pt x="21600" y="178"/>
                    </a:cubicBezTo>
                    <a:cubicBezTo>
                      <a:pt x="20733" y="55"/>
                      <a:pt x="19852" y="0"/>
                      <a:pt x="18957" y="0"/>
                    </a:cubicBezTo>
                    <a:cubicBezTo>
                      <a:pt x="8498" y="0"/>
                      <a:pt x="0" y="8196"/>
                      <a:pt x="0" y="18270"/>
                    </a:cubicBezTo>
                    <a:cubicBezTo>
                      <a:pt x="0" y="19407"/>
                      <a:pt x="114" y="20531"/>
                      <a:pt x="313" y="21600"/>
                    </a:cubicBezTo>
                    <a:cubicBezTo>
                      <a:pt x="895" y="21463"/>
                      <a:pt x="1492" y="21326"/>
                      <a:pt x="2075" y="21189"/>
                    </a:cubicBezTo>
                    <a:close/>
                  </a:path>
                </a:pathLst>
              </a:custGeom>
              <a:solidFill>
                <a:schemeClr val="accent3"/>
              </a:solidFill>
              <a:ln w="12700" cap="flat">
                <a:noFill/>
                <a:miter lim="400000"/>
              </a:ln>
              <a:effectLst>
                <a:outerShdw blurRad="25400" dist="12700" dir="5400000" rotWithShape="0">
                  <a:srgbClr val="000000">
                    <a:alpha val="53938"/>
                  </a:srgbClr>
                </a:outerShdw>
              </a:effectLst>
            </p:spPr>
            <p:txBody>
              <a:bodyPr wrap="square" lIns="45719" tIns="45719" rIns="45719" bIns="45719" numCol="1" anchor="t">
                <a:noAutofit/>
              </a:bodyPr>
              <a:lstStyle/>
              <a:p>
                <a:pPr algn="l" defTabSz="685800">
                  <a:defRPr sz="1300" b="0" cap="none">
                    <a:solidFill>
                      <a:srgbClr val="000000"/>
                    </a:solidFill>
                    <a:effectLst/>
                    <a:latin typeface="open sans"/>
                    <a:ea typeface="open sans"/>
                    <a:cs typeface="open sans"/>
                    <a:sym typeface="open sans"/>
                  </a:defRPr>
                </a:pPr>
                <a:endParaRPr dirty="0"/>
              </a:p>
            </p:txBody>
          </p:sp>
          <p:sp>
            <p:nvSpPr>
              <p:cNvPr id="1412" name="Freeform 6"/>
              <p:cNvSpPr/>
              <p:nvPr/>
            </p:nvSpPr>
            <p:spPr>
              <a:xfrm>
                <a:off x="1917266" y="6300530"/>
                <a:ext cx="1927184" cy="2046186"/>
              </a:xfrm>
              <a:custGeom>
                <a:avLst/>
                <a:gdLst/>
                <a:ahLst/>
                <a:cxnLst>
                  <a:cxn ang="0">
                    <a:pos x="wd2" y="hd2"/>
                  </a:cxn>
                  <a:cxn ang="5400000">
                    <a:pos x="wd2" y="hd2"/>
                  </a:cxn>
                  <a:cxn ang="10800000">
                    <a:pos x="wd2" y="hd2"/>
                  </a:cxn>
                  <a:cxn ang="16200000">
                    <a:pos x="wd2" y="hd2"/>
                  </a:cxn>
                </a:cxnLst>
                <a:rect l="0" t="0" r="r" b="b"/>
                <a:pathLst>
                  <a:path w="21600" h="21600" extrusionOk="0">
                    <a:moveTo>
                      <a:pt x="21483" y="18518"/>
                    </a:moveTo>
                    <a:cubicBezTo>
                      <a:pt x="21542" y="18408"/>
                      <a:pt x="21571" y="18326"/>
                      <a:pt x="21600" y="18216"/>
                    </a:cubicBezTo>
                    <a:cubicBezTo>
                      <a:pt x="13398" y="14583"/>
                      <a:pt x="6889" y="8035"/>
                      <a:pt x="3619" y="0"/>
                    </a:cubicBezTo>
                    <a:cubicBezTo>
                      <a:pt x="2423" y="248"/>
                      <a:pt x="1197" y="523"/>
                      <a:pt x="0" y="825"/>
                    </a:cubicBezTo>
                    <a:cubicBezTo>
                      <a:pt x="3619" y="10071"/>
                      <a:pt x="11063" y="17555"/>
                      <a:pt x="20520" y="21600"/>
                    </a:cubicBezTo>
                    <a:cubicBezTo>
                      <a:pt x="20841" y="20554"/>
                      <a:pt x="21162" y="19536"/>
                      <a:pt x="21483" y="18518"/>
                    </a:cubicBezTo>
                    <a:close/>
                  </a:path>
                </a:pathLst>
              </a:custGeom>
              <a:solidFill>
                <a:schemeClr val="accent3"/>
              </a:solidFill>
              <a:ln w="12700" cap="flat">
                <a:noFill/>
                <a:miter lim="400000"/>
              </a:ln>
              <a:effectLst>
                <a:outerShdw blurRad="25400" dist="12700" dir="5400000" rotWithShape="0">
                  <a:srgbClr val="000000">
                    <a:alpha val="53938"/>
                  </a:srgbClr>
                </a:outerShdw>
              </a:effectLst>
            </p:spPr>
            <p:txBody>
              <a:bodyPr wrap="square" lIns="45719" tIns="45719" rIns="45719" bIns="45719" numCol="1" anchor="t">
                <a:noAutofit/>
              </a:bodyPr>
              <a:lstStyle/>
              <a:p>
                <a:pPr algn="l" defTabSz="685800">
                  <a:defRPr sz="1300" b="0" cap="none">
                    <a:solidFill>
                      <a:srgbClr val="000000"/>
                    </a:solidFill>
                    <a:effectLst/>
                    <a:latin typeface="open sans"/>
                    <a:ea typeface="open sans"/>
                    <a:cs typeface="open sans"/>
                    <a:sym typeface="open sans"/>
                  </a:defRPr>
                </a:pPr>
                <a:endParaRPr dirty="0"/>
              </a:p>
            </p:txBody>
          </p:sp>
          <p:sp>
            <p:nvSpPr>
              <p:cNvPr id="1413" name="Freeform 7"/>
              <p:cNvSpPr/>
              <p:nvPr/>
            </p:nvSpPr>
            <p:spPr>
              <a:xfrm>
                <a:off x="4108897" y="7682283"/>
                <a:ext cx="3219684" cy="971856"/>
              </a:xfrm>
              <a:custGeom>
                <a:avLst/>
                <a:gdLst/>
                <a:ahLst/>
                <a:cxnLst>
                  <a:cxn ang="0">
                    <a:pos x="wd2" y="hd2"/>
                  </a:cxn>
                  <a:cxn ang="5400000">
                    <a:pos x="wd2" y="hd2"/>
                  </a:cxn>
                  <a:cxn ang="10800000">
                    <a:pos x="wd2" y="hd2"/>
                  </a:cxn>
                  <a:cxn ang="16200000">
                    <a:pos x="wd2" y="hd2"/>
                  </a:cxn>
                </a:cxnLst>
                <a:rect l="0" t="0" r="r" b="b"/>
                <a:pathLst>
                  <a:path w="21600" h="21600" extrusionOk="0">
                    <a:moveTo>
                      <a:pt x="19921" y="0"/>
                    </a:moveTo>
                    <a:cubicBezTo>
                      <a:pt x="16371" y="8976"/>
                      <a:pt x="11963" y="14246"/>
                      <a:pt x="7171" y="14246"/>
                    </a:cubicBezTo>
                    <a:cubicBezTo>
                      <a:pt x="4880" y="14246"/>
                      <a:pt x="2676" y="13029"/>
                      <a:pt x="630" y="10829"/>
                    </a:cubicBezTo>
                    <a:cubicBezTo>
                      <a:pt x="402" y="13145"/>
                      <a:pt x="192" y="15520"/>
                      <a:pt x="0" y="17894"/>
                    </a:cubicBezTo>
                    <a:cubicBezTo>
                      <a:pt x="2256" y="20268"/>
                      <a:pt x="4670" y="21600"/>
                      <a:pt x="7171" y="21600"/>
                    </a:cubicBezTo>
                    <a:cubicBezTo>
                      <a:pt x="12610" y="21600"/>
                      <a:pt x="17630" y="15404"/>
                      <a:pt x="21600" y="4980"/>
                    </a:cubicBezTo>
                    <a:cubicBezTo>
                      <a:pt x="21040" y="3359"/>
                      <a:pt x="20481" y="1679"/>
                      <a:pt x="19921" y="0"/>
                    </a:cubicBezTo>
                    <a:close/>
                  </a:path>
                </a:pathLst>
              </a:custGeom>
              <a:solidFill>
                <a:schemeClr val="accent3"/>
              </a:solidFill>
              <a:ln w="12700" cap="flat">
                <a:noFill/>
                <a:miter lim="400000"/>
              </a:ln>
              <a:effectLst>
                <a:outerShdw blurRad="25400" dist="12700" dir="5400000" rotWithShape="0">
                  <a:srgbClr val="000000">
                    <a:alpha val="53938"/>
                  </a:srgbClr>
                </a:outerShdw>
              </a:effectLst>
            </p:spPr>
            <p:txBody>
              <a:bodyPr wrap="square" lIns="45719" tIns="45719" rIns="45719" bIns="45719" numCol="1" anchor="t">
                <a:noAutofit/>
              </a:bodyPr>
              <a:lstStyle/>
              <a:p>
                <a:pPr algn="l" defTabSz="685800">
                  <a:defRPr sz="1300" b="0" cap="none">
                    <a:solidFill>
                      <a:srgbClr val="000000"/>
                    </a:solidFill>
                    <a:effectLst/>
                    <a:latin typeface="open sans"/>
                    <a:ea typeface="open sans"/>
                    <a:cs typeface="open sans"/>
                    <a:sym typeface="open sans"/>
                  </a:defRPr>
                </a:pPr>
                <a:endParaRPr dirty="0"/>
              </a:p>
            </p:txBody>
          </p:sp>
          <p:sp>
            <p:nvSpPr>
              <p:cNvPr id="1414" name="Freeform 8"/>
              <p:cNvSpPr/>
              <p:nvPr/>
            </p:nvSpPr>
            <p:spPr>
              <a:xfrm>
                <a:off x="6131942" y="1867681"/>
                <a:ext cx="2280885" cy="2125521"/>
              </a:xfrm>
              <a:custGeom>
                <a:avLst/>
                <a:gdLst/>
                <a:ahLst/>
                <a:cxnLst>
                  <a:cxn ang="0">
                    <a:pos x="wd2" y="hd2"/>
                  </a:cxn>
                  <a:cxn ang="5400000">
                    <a:pos x="wd2" y="hd2"/>
                  </a:cxn>
                  <a:cxn ang="10800000">
                    <a:pos x="wd2" y="hd2"/>
                  </a:cxn>
                  <a:cxn ang="16200000">
                    <a:pos x="wd2" y="hd2"/>
                  </a:cxn>
                </a:cxnLst>
                <a:rect l="0" t="0" r="r" b="b"/>
                <a:pathLst>
                  <a:path w="21600" h="21600" extrusionOk="0">
                    <a:moveTo>
                      <a:pt x="987" y="0"/>
                    </a:moveTo>
                    <a:cubicBezTo>
                      <a:pt x="667" y="1060"/>
                      <a:pt x="321" y="2120"/>
                      <a:pt x="0" y="3180"/>
                    </a:cubicBezTo>
                    <a:cubicBezTo>
                      <a:pt x="8418" y="6069"/>
                      <a:pt x="15206" y="12880"/>
                      <a:pt x="18539" y="21600"/>
                    </a:cubicBezTo>
                    <a:cubicBezTo>
                      <a:pt x="19551" y="21282"/>
                      <a:pt x="20563" y="20990"/>
                      <a:pt x="21600" y="20725"/>
                    </a:cubicBezTo>
                    <a:cubicBezTo>
                      <a:pt x="17971" y="10919"/>
                      <a:pt x="10393" y="3233"/>
                      <a:pt x="987" y="0"/>
                    </a:cubicBezTo>
                    <a:close/>
                  </a:path>
                </a:pathLst>
              </a:custGeom>
              <a:solidFill>
                <a:schemeClr val="accent3"/>
              </a:solidFill>
              <a:ln w="12700" cap="flat">
                <a:noFill/>
                <a:miter lim="400000"/>
              </a:ln>
              <a:effectLst>
                <a:outerShdw blurRad="25400" dist="12700" dir="5400000" rotWithShape="0">
                  <a:srgbClr val="000000">
                    <a:alpha val="53938"/>
                  </a:srgbClr>
                </a:outerShdw>
              </a:effectLst>
            </p:spPr>
            <p:txBody>
              <a:bodyPr wrap="square" lIns="45719" tIns="45719" rIns="45719" bIns="45719" numCol="1" anchor="t">
                <a:noAutofit/>
              </a:bodyPr>
              <a:lstStyle/>
              <a:p>
                <a:pPr algn="l" defTabSz="685800">
                  <a:defRPr sz="1300" b="0" cap="none">
                    <a:solidFill>
                      <a:srgbClr val="000000"/>
                    </a:solidFill>
                    <a:effectLst/>
                    <a:latin typeface="open sans"/>
                    <a:ea typeface="open sans"/>
                    <a:cs typeface="open sans"/>
                    <a:sym typeface="open sans"/>
                  </a:defRPr>
                </a:pPr>
                <a:endParaRPr dirty="0"/>
              </a:p>
            </p:txBody>
          </p:sp>
          <p:sp>
            <p:nvSpPr>
              <p:cNvPr id="1415" name="Freeform 9"/>
              <p:cNvSpPr/>
              <p:nvPr/>
            </p:nvSpPr>
            <p:spPr>
              <a:xfrm>
                <a:off x="1497448" y="3358518"/>
                <a:ext cx="1573481" cy="4323763"/>
              </a:xfrm>
              <a:custGeom>
                <a:avLst/>
                <a:gdLst/>
                <a:ahLst/>
                <a:cxnLst>
                  <a:cxn ang="0">
                    <a:pos x="wd2" y="hd2"/>
                  </a:cxn>
                  <a:cxn ang="5400000">
                    <a:pos x="wd2" y="hd2"/>
                  </a:cxn>
                  <a:cxn ang="10800000">
                    <a:pos x="wd2" y="hd2"/>
                  </a:cxn>
                  <a:cxn ang="16200000">
                    <a:pos x="wd2" y="hd2"/>
                  </a:cxn>
                </a:cxnLst>
                <a:rect l="0" t="0" r="r" b="b"/>
                <a:pathLst>
                  <a:path w="21600" h="21600" extrusionOk="0">
                    <a:moveTo>
                      <a:pt x="15833" y="20558"/>
                    </a:moveTo>
                    <a:cubicBezTo>
                      <a:pt x="16907" y="20077"/>
                      <a:pt x="17982" y="19582"/>
                      <a:pt x="19021" y="19087"/>
                    </a:cubicBezTo>
                    <a:cubicBezTo>
                      <a:pt x="19057" y="19087"/>
                      <a:pt x="19093" y="19074"/>
                      <a:pt x="19093" y="19061"/>
                    </a:cubicBezTo>
                    <a:cubicBezTo>
                      <a:pt x="19236" y="18996"/>
                      <a:pt x="19379" y="18931"/>
                      <a:pt x="19487" y="18866"/>
                    </a:cubicBezTo>
                    <a:cubicBezTo>
                      <a:pt x="19737" y="18762"/>
                      <a:pt x="19952" y="18658"/>
                      <a:pt x="20167" y="18553"/>
                    </a:cubicBezTo>
                    <a:cubicBezTo>
                      <a:pt x="20561" y="18345"/>
                      <a:pt x="20991" y="18137"/>
                      <a:pt x="21421" y="17928"/>
                    </a:cubicBezTo>
                    <a:cubicBezTo>
                      <a:pt x="21457" y="17902"/>
                      <a:pt x="21528" y="17876"/>
                      <a:pt x="21600" y="17837"/>
                    </a:cubicBezTo>
                    <a:cubicBezTo>
                      <a:pt x="16191" y="15468"/>
                      <a:pt x="12896" y="12421"/>
                      <a:pt x="12896" y="9088"/>
                    </a:cubicBezTo>
                    <a:cubicBezTo>
                      <a:pt x="12896" y="6783"/>
                      <a:pt x="14507" y="4596"/>
                      <a:pt x="17301" y="2682"/>
                    </a:cubicBezTo>
                    <a:cubicBezTo>
                      <a:pt x="13684" y="1823"/>
                      <a:pt x="10137" y="911"/>
                      <a:pt x="6591" y="0"/>
                    </a:cubicBezTo>
                    <a:cubicBezTo>
                      <a:pt x="2400" y="2682"/>
                      <a:pt x="0" y="5781"/>
                      <a:pt x="0" y="9088"/>
                    </a:cubicBezTo>
                    <a:cubicBezTo>
                      <a:pt x="0" y="13931"/>
                      <a:pt x="5122" y="18319"/>
                      <a:pt x="13540" y="21600"/>
                    </a:cubicBezTo>
                    <a:cubicBezTo>
                      <a:pt x="14293" y="21261"/>
                      <a:pt x="15045" y="20910"/>
                      <a:pt x="15833" y="20558"/>
                    </a:cubicBezTo>
                    <a:close/>
                  </a:path>
                </a:pathLst>
              </a:custGeom>
              <a:solidFill>
                <a:schemeClr val="accent3"/>
              </a:solidFill>
              <a:ln w="12700" cap="flat">
                <a:noFill/>
                <a:miter lim="400000"/>
              </a:ln>
              <a:effectLst>
                <a:outerShdw blurRad="25400" dist="12700" dir="5400000" rotWithShape="0">
                  <a:srgbClr val="000000">
                    <a:alpha val="53938"/>
                  </a:srgbClr>
                </a:outerShdw>
              </a:effectLst>
            </p:spPr>
            <p:txBody>
              <a:bodyPr wrap="square" lIns="45719" tIns="45719" rIns="45719" bIns="45719" numCol="1" anchor="t">
                <a:noAutofit/>
              </a:bodyPr>
              <a:lstStyle/>
              <a:p>
                <a:pPr algn="l" defTabSz="685800">
                  <a:defRPr sz="1300" b="0" cap="none">
                    <a:solidFill>
                      <a:srgbClr val="000000"/>
                    </a:solidFill>
                    <a:effectLst/>
                    <a:latin typeface="open sans"/>
                    <a:ea typeface="open sans"/>
                    <a:cs typeface="open sans"/>
                    <a:sym typeface="open sans"/>
                  </a:defRPr>
                </a:pPr>
                <a:endParaRPr dirty="0"/>
              </a:p>
            </p:txBody>
          </p:sp>
          <p:sp>
            <p:nvSpPr>
              <p:cNvPr id="1416" name="Freeform 10"/>
              <p:cNvSpPr/>
              <p:nvPr/>
            </p:nvSpPr>
            <p:spPr>
              <a:xfrm>
                <a:off x="2984984" y="7351717"/>
                <a:ext cx="1897432" cy="1497452"/>
              </a:xfrm>
              <a:custGeom>
                <a:avLst/>
                <a:gdLst/>
                <a:ahLst/>
                <a:cxnLst>
                  <a:cxn ang="0">
                    <a:pos x="wd2" y="hd2"/>
                  </a:cxn>
                  <a:cxn ang="5400000">
                    <a:pos x="wd2" y="hd2"/>
                  </a:cxn>
                  <a:cxn ang="10800000">
                    <a:pos x="wd2" y="hd2"/>
                  </a:cxn>
                  <a:cxn ang="16200000">
                    <a:pos x="wd2" y="hd2"/>
                  </a:cxn>
                </a:cxnLst>
                <a:rect l="0" t="0" r="r" b="b"/>
                <a:pathLst>
                  <a:path w="21600" h="21600" extrusionOk="0">
                    <a:moveTo>
                      <a:pt x="5964" y="0"/>
                    </a:moveTo>
                    <a:cubicBezTo>
                      <a:pt x="3976" y="3763"/>
                      <a:pt x="1958" y="7489"/>
                      <a:pt x="0" y="11289"/>
                    </a:cubicBezTo>
                    <a:cubicBezTo>
                      <a:pt x="6112" y="17047"/>
                      <a:pt x="13530" y="20772"/>
                      <a:pt x="21600" y="21600"/>
                    </a:cubicBezTo>
                    <a:cubicBezTo>
                      <a:pt x="21600" y="7940"/>
                      <a:pt x="21600" y="7940"/>
                      <a:pt x="21600" y="7940"/>
                    </a:cubicBezTo>
                    <a:cubicBezTo>
                      <a:pt x="15755" y="7150"/>
                      <a:pt x="10385" y="4328"/>
                      <a:pt x="5964" y="0"/>
                    </a:cubicBezTo>
                    <a:close/>
                  </a:path>
                </a:pathLst>
              </a:custGeom>
              <a:solidFill>
                <a:schemeClr val="accent3"/>
              </a:solidFill>
              <a:ln w="12700" cap="flat">
                <a:noFill/>
                <a:miter lim="400000"/>
              </a:ln>
              <a:effectLst>
                <a:outerShdw blurRad="25400" dist="12700" dir="5400000" rotWithShape="0">
                  <a:srgbClr val="000000">
                    <a:alpha val="53938"/>
                  </a:srgbClr>
                </a:outerShdw>
              </a:effectLst>
            </p:spPr>
            <p:txBody>
              <a:bodyPr wrap="square" lIns="45719" tIns="45719" rIns="45719" bIns="45719" numCol="1" anchor="t">
                <a:noAutofit/>
              </a:bodyPr>
              <a:lstStyle/>
              <a:p>
                <a:pPr algn="l" defTabSz="685800">
                  <a:defRPr sz="1300" b="0" cap="none">
                    <a:solidFill>
                      <a:srgbClr val="000000"/>
                    </a:solidFill>
                    <a:effectLst/>
                    <a:latin typeface="open sans"/>
                    <a:ea typeface="open sans"/>
                    <a:cs typeface="open sans"/>
                    <a:sym typeface="open sans"/>
                  </a:defRPr>
                </a:pPr>
                <a:endParaRPr dirty="0"/>
              </a:p>
            </p:txBody>
          </p:sp>
          <p:sp>
            <p:nvSpPr>
              <p:cNvPr id="1417" name="Freeform 11"/>
              <p:cNvSpPr/>
              <p:nvPr/>
            </p:nvSpPr>
            <p:spPr>
              <a:xfrm>
                <a:off x="2578390" y="1500757"/>
                <a:ext cx="4826219" cy="1649511"/>
              </a:xfrm>
              <a:custGeom>
                <a:avLst/>
                <a:gdLst/>
                <a:ahLst/>
                <a:cxnLst>
                  <a:cxn ang="0">
                    <a:pos x="wd2" y="hd2"/>
                  </a:cxn>
                  <a:cxn ang="5400000">
                    <a:pos x="wd2" y="hd2"/>
                  </a:cxn>
                  <a:cxn ang="10800000">
                    <a:pos x="wd2" y="hd2"/>
                  </a:cxn>
                  <a:cxn ang="16200000">
                    <a:pos x="wd2" y="hd2"/>
                  </a:cxn>
                </a:cxnLst>
                <a:rect l="0" t="0" r="r" b="b"/>
                <a:pathLst>
                  <a:path w="21600" h="21600" extrusionOk="0">
                    <a:moveTo>
                      <a:pt x="11633" y="0"/>
                    </a:moveTo>
                    <a:cubicBezTo>
                      <a:pt x="7087" y="0"/>
                      <a:pt x="2984" y="5383"/>
                      <a:pt x="0" y="14071"/>
                    </a:cubicBezTo>
                    <a:cubicBezTo>
                      <a:pt x="140" y="14377"/>
                      <a:pt x="268" y="14684"/>
                      <a:pt x="408" y="14991"/>
                    </a:cubicBezTo>
                    <a:cubicBezTo>
                      <a:pt x="431" y="15059"/>
                      <a:pt x="455" y="15127"/>
                      <a:pt x="478" y="15161"/>
                    </a:cubicBezTo>
                    <a:cubicBezTo>
                      <a:pt x="501" y="15195"/>
                      <a:pt x="513" y="15229"/>
                      <a:pt x="536" y="15297"/>
                    </a:cubicBezTo>
                    <a:cubicBezTo>
                      <a:pt x="641" y="15536"/>
                      <a:pt x="758" y="15774"/>
                      <a:pt x="863" y="16013"/>
                    </a:cubicBezTo>
                    <a:cubicBezTo>
                      <a:pt x="1364" y="17137"/>
                      <a:pt x="1865" y="18261"/>
                      <a:pt x="2378" y="19351"/>
                    </a:cubicBezTo>
                    <a:cubicBezTo>
                      <a:pt x="2716" y="20101"/>
                      <a:pt x="3054" y="20850"/>
                      <a:pt x="3392" y="21600"/>
                    </a:cubicBezTo>
                    <a:cubicBezTo>
                      <a:pt x="5572" y="15808"/>
                      <a:pt x="8463" y="12299"/>
                      <a:pt x="11633" y="12299"/>
                    </a:cubicBezTo>
                    <a:cubicBezTo>
                      <a:pt x="14315" y="12299"/>
                      <a:pt x="16797" y="14820"/>
                      <a:pt x="18814" y="19113"/>
                    </a:cubicBezTo>
                    <a:cubicBezTo>
                      <a:pt x="18884" y="18977"/>
                      <a:pt x="21390" y="10527"/>
                      <a:pt x="21600" y="9846"/>
                    </a:cubicBezTo>
                    <a:cubicBezTo>
                      <a:pt x="18837" y="3679"/>
                      <a:pt x="15387" y="0"/>
                      <a:pt x="11633" y="0"/>
                    </a:cubicBezTo>
                    <a:close/>
                  </a:path>
                </a:pathLst>
              </a:custGeom>
              <a:solidFill>
                <a:schemeClr val="accent3"/>
              </a:solidFill>
              <a:ln w="12700" cap="flat">
                <a:noFill/>
                <a:miter lim="400000"/>
              </a:ln>
              <a:effectLst>
                <a:outerShdw blurRad="25400" dist="12700" dir="5400000" rotWithShape="0">
                  <a:srgbClr val="000000">
                    <a:alpha val="53938"/>
                  </a:srgbClr>
                </a:outerShdw>
              </a:effectLst>
            </p:spPr>
            <p:txBody>
              <a:bodyPr wrap="square" lIns="45719" tIns="45719" rIns="45719" bIns="45719" numCol="1" anchor="t">
                <a:noAutofit/>
              </a:bodyPr>
              <a:lstStyle/>
              <a:p>
                <a:pPr algn="l" defTabSz="685800">
                  <a:defRPr sz="1300" b="0" cap="none">
                    <a:solidFill>
                      <a:srgbClr val="000000"/>
                    </a:solidFill>
                    <a:effectLst/>
                    <a:latin typeface="open sans"/>
                    <a:ea typeface="open sans"/>
                    <a:cs typeface="open sans"/>
                    <a:sym typeface="open sans"/>
                  </a:defRPr>
                </a:pPr>
                <a:endParaRPr dirty="0"/>
              </a:p>
            </p:txBody>
          </p:sp>
          <p:sp>
            <p:nvSpPr>
              <p:cNvPr id="1418" name="Freeform 12"/>
              <p:cNvSpPr/>
              <p:nvPr/>
            </p:nvSpPr>
            <p:spPr>
              <a:xfrm>
                <a:off x="1999906" y="1986683"/>
                <a:ext cx="5695600" cy="6356727"/>
              </a:xfrm>
              <a:custGeom>
                <a:avLst/>
                <a:gdLst/>
                <a:ahLst/>
                <a:cxnLst>
                  <a:cxn ang="0">
                    <a:pos x="wd2" y="hd2"/>
                  </a:cxn>
                  <a:cxn ang="5400000">
                    <a:pos x="wd2" y="hd2"/>
                  </a:cxn>
                  <a:cxn ang="10800000">
                    <a:pos x="wd2" y="hd2"/>
                  </a:cxn>
                  <a:cxn ang="16200000">
                    <a:pos x="wd2" y="hd2"/>
                  </a:cxn>
                </a:cxnLst>
                <a:rect l="0" t="0" r="r" b="b"/>
                <a:pathLst>
                  <a:path w="21600" h="21600" extrusionOk="0">
                    <a:moveTo>
                      <a:pt x="632" y="10796"/>
                    </a:moveTo>
                    <a:cubicBezTo>
                      <a:pt x="632" y="5154"/>
                      <a:pt x="5751" y="558"/>
                      <a:pt x="12055" y="558"/>
                    </a:cubicBezTo>
                    <a:cubicBezTo>
                      <a:pt x="15731" y="558"/>
                      <a:pt x="19001" y="2125"/>
                      <a:pt x="21096" y="4543"/>
                    </a:cubicBezTo>
                    <a:cubicBezTo>
                      <a:pt x="21264" y="4437"/>
                      <a:pt x="21432" y="4322"/>
                      <a:pt x="21600" y="4207"/>
                    </a:cubicBezTo>
                    <a:cubicBezTo>
                      <a:pt x="19387" y="1647"/>
                      <a:pt x="15938" y="0"/>
                      <a:pt x="12055" y="0"/>
                    </a:cubicBezTo>
                    <a:cubicBezTo>
                      <a:pt x="5405" y="0"/>
                      <a:pt x="0" y="4844"/>
                      <a:pt x="0" y="10796"/>
                    </a:cubicBezTo>
                    <a:cubicBezTo>
                      <a:pt x="0" y="16756"/>
                      <a:pt x="5405" y="21600"/>
                      <a:pt x="12055" y="21600"/>
                    </a:cubicBezTo>
                    <a:cubicBezTo>
                      <a:pt x="12756" y="21600"/>
                      <a:pt x="13448" y="21538"/>
                      <a:pt x="14120" y="21441"/>
                    </a:cubicBezTo>
                    <a:cubicBezTo>
                      <a:pt x="14120" y="20865"/>
                      <a:pt x="14120" y="20865"/>
                      <a:pt x="14120" y="20865"/>
                    </a:cubicBezTo>
                    <a:cubicBezTo>
                      <a:pt x="13448" y="20980"/>
                      <a:pt x="12756" y="21033"/>
                      <a:pt x="12055" y="21033"/>
                    </a:cubicBezTo>
                    <a:cubicBezTo>
                      <a:pt x="5751" y="21033"/>
                      <a:pt x="632" y="16446"/>
                      <a:pt x="632" y="10796"/>
                    </a:cubicBezTo>
                    <a:close/>
                  </a:path>
                </a:pathLst>
              </a:custGeom>
              <a:solidFill>
                <a:schemeClr val="accent3"/>
              </a:solidFill>
              <a:ln w="12700" cap="flat">
                <a:noFill/>
                <a:miter lim="400000"/>
              </a:ln>
              <a:effectLst>
                <a:outerShdw blurRad="25400" dist="12700" dir="5400000" rotWithShape="0">
                  <a:srgbClr val="000000">
                    <a:alpha val="53938"/>
                  </a:srgbClr>
                </a:outerShdw>
              </a:effectLst>
            </p:spPr>
            <p:txBody>
              <a:bodyPr wrap="square" lIns="45719" tIns="45719" rIns="45719" bIns="45719" numCol="1" anchor="t">
                <a:noAutofit/>
              </a:bodyPr>
              <a:lstStyle/>
              <a:p>
                <a:pPr algn="l" defTabSz="685800">
                  <a:defRPr sz="1300" b="0" cap="none">
                    <a:solidFill>
                      <a:srgbClr val="000000"/>
                    </a:solidFill>
                    <a:effectLst/>
                    <a:latin typeface="open sans"/>
                    <a:ea typeface="open sans"/>
                    <a:cs typeface="open sans"/>
                    <a:sym typeface="open sans"/>
                  </a:defRPr>
                </a:pPr>
                <a:endParaRPr dirty="0"/>
              </a:p>
            </p:txBody>
          </p:sp>
          <p:sp>
            <p:nvSpPr>
              <p:cNvPr id="1419" name="Freeform 13"/>
              <p:cNvSpPr/>
              <p:nvPr/>
            </p:nvSpPr>
            <p:spPr>
              <a:xfrm>
                <a:off x="1348698" y="4680772"/>
                <a:ext cx="4013035" cy="4330375"/>
              </a:xfrm>
              <a:custGeom>
                <a:avLst/>
                <a:gdLst/>
                <a:ahLst/>
                <a:cxnLst>
                  <a:cxn ang="0">
                    <a:pos x="wd2" y="hd2"/>
                  </a:cxn>
                  <a:cxn ang="5400000">
                    <a:pos x="wd2" y="hd2"/>
                  </a:cxn>
                  <a:cxn ang="10800000">
                    <a:pos x="wd2" y="hd2"/>
                  </a:cxn>
                  <a:cxn ang="16200000">
                    <a:pos x="wd2" y="hd2"/>
                  </a:cxn>
                </a:cxnLst>
                <a:rect l="0" t="0" r="r" b="b"/>
                <a:pathLst>
                  <a:path w="21600" h="21600" extrusionOk="0">
                    <a:moveTo>
                      <a:pt x="2665" y="2482"/>
                    </a:moveTo>
                    <a:cubicBezTo>
                      <a:pt x="2665" y="2014"/>
                      <a:pt x="2693" y="1547"/>
                      <a:pt x="2735" y="1092"/>
                    </a:cubicBezTo>
                    <a:cubicBezTo>
                      <a:pt x="1879" y="728"/>
                      <a:pt x="1024" y="364"/>
                      <a:pt x="168" y="0"/>
                    </a:cubicBezTo>
                    <a:cubicBezTo>
                      <a:pt x="56" y="819"/>
                      <a:pt x="0" y="1651"/>
                      <a:pt x="0" y="2482"/>
                    </a:cubicBezTo>
                    <a:cubicBezTo>
                      <a:pt x="0" y="7590"/>
                      <a:pt x="2146" y="12386"/>
                      <a:pt x="6031" y="15999"/>
                    </a:cubicBezTo>
                    <a:cubicBezTo>
                      <a:pt x="9930" y="19612"/>
                      <a:pt x="15106" y="21600"/>
                      <a:pt x="20618" y="21600"/>
                    </a:cubicBezTo>
                    <a:cubicBezTo>
                      <a:pt x="20941" y="21600"/>
                      <a:pt x="21263" y="21587"/>
                      <a:pt x="21600" y="21574"/>
                    </a:cubicBezTo>
                    <a:cubicBezTo>
                      <a:pt x="21600" y="19092"/>
                      <a:pt x="21600" y="19092"/>
                      <a:pt x="21600" y="19092"/>
                    </a:cubicBezTo>
                    <a:cubicBezTo>
                      <a:pt x="21263" y="19118"/>
                      <a:pt x="20941" y="19118"/>
                      <a:pt x="20618" y="19118"/>
                    </a:cubicBezTo>
                    <a:cubicBezTo>
                      <a:pt x="10716" y="19118"/>
                      <a:pt x="2665" y="11658"/>
                      <a:pt x="2665" y="2482"/>
                    </a:cubicBezTo>
                    <a:close/>
                  </a:path>
                </a:pathLst>
              </a:custGeom>
              <a:solidFill>
                <a:schemeClr val="accent3"/>
              </a:solidFill>
              <a:ln w="12700" cap="flat">
                <a:noFill/>
                <a:miter lim="400000"/>
              </a:ln>
              <a:effectLst>
                <a:outerShdw blurRad="25400" dist="12700" dir="5400000" rotWithShape="0">
                  <a:srgbClr val="000000">
                    <a:alpha val="53938"/>
                  </a:srgbClr>
                </a:outerShdw>
              </a:effectLst>
            </p:spPr>
            <p:txBody>
              <a:bodyPr wrap="square" lIns="45719" tIns="45719" rIns="45719" bIns="45719" numCol="1" anchor="t">
                <a:noAutofit/>
              </a:bodyPr>
              <a:lstStyle/>
              <a:p>
                <a:pPr algn="l" defTabSz="685800">
                  <a:defRPr sz="1300" b="0" cap="none">
                    <a:solidFill>
                      <a:srgbClr val="000000"/>
                    </a:solidFill>
                    <a:effectLst/>
                    <a:latin typeface="open sans"/>
                    <a:ea typeface="open sans"/>
                    <a:cs typeface="open sans"/>
                    <a:sym typeface="open sans"/>
                  </a:defRPr>
                </a:pPr>
                <a:endParaRPr dirty="0"/>
              </a:p>
            </p:txBody>
          </p:sp>
          <p:sp>
            <p:nvSpPr>
              <p:cNvPr id="1420" name="Freeform 14"/>
              <p:cNvSpPr/>
              <p:nvPr/>
            </p:nvSpPr>
            <p:spPr>
              <a:xfrm>
                <a:off x="3008122" y="1348698"/>
                <a:ext cx="5011334" cy="1632982"/>
              </a:xfrm>
              <a:custGeom>
                <a:avLst/>
                <a:gdLst/>
                <a:ahLst/>
                <a:cxnLst>
                  <a:cxn ang="0">
                    <a:pos x="wd2" y="hd2"/>
                  </a:cxn>
                  <a:cxn ang="5400000">
                    <a:pos x="wd2" y="hd2"/>
                  </a:cxn>
                  <a:cxn ang="10800000">
                    <a:pos x="wd2" y="hd2"/>
                  </a:cxn>
                  <a:cxn ang="16200000">
                    <a:pos x="wd2" y="hd2"/>
                  </a:cxn>
                </a:cxnLst>
                <a:rect l="0" t="0" r="r" b="b"/>
                <a:pathLst>
                  <a:path w="21600" h="21600" extrusionOk="0">
                    <a:moveTo>
                      <a:pt x="21016" y="14848"/>
                    </a:moveTo>
                    <a:cubicBezTo>
                      <a:pt x="17906" y="5271"/>
                      <a:pt x="13753" y="0"/>
                      <a:pt x="9352" y="0"/>
                    </a:cubicBezTo>
                    <a:cubicBezTo>
                      <a:pt x="5961" y="0"/>
                      <a:pt x="2739" y="3135"/>
                      <a:pt x="0" y="8888"/>
                    </a:cubicBezTo>
                    <a:cubicBezTo>
                      <a:pt x="123" y="9129"/>
                      <a:pt x="236" y="9370"/>
                      <a:pt x="337" y="9680"/>
                    </a:cubicBezTo>
                    <a:cubicBezTo>
                      <a:pt x="775" y="10955"/>
                      <a:pt x="1212" y="12195"/>
                      <a:pt x="1650" y="13435"/>
                    </a:cubicBezTo>
                    <a:cubicBezTo>
                      <a:pt x="3873" y="9095"/>
                      <a:pt x="6523" y="6580"/>
                      <a:pt x="9352" y="6580"/>
                    </a:cubicBezTo>
                    <a:cubicBezTo>
                      <a:pt x="13652" y="6580"/>
                      <a:pt x="17514" y="12402"/>
                      <a:pt x="20152" y="21600"/>
                    </a:cubicBezTo>
                    <a:cubicBezTo>
                      <a:pt x="20635" y="19981"/>
                      <a:pt x="21117" y="18327"/>
                      <a:pt x="21600" y="16708"/>
                    </a:cubicBezTo>
                    <a:cubicBezTo>
                      <a:pt x="21409" y="16088"/>
                      <a:pt x="21218" y="15433"/>
                      <a:pt x="21016" y="14848"/>
                    </a:cubicBezTo>
                    <a:close/>
                  </a:path>
                </a:pathLst>
              </a:custGeom>
              <a:solidFill>
                <a:schemeClr val="accent3"/>
              </a:solidFill>
              <a:ln w="12700" cap="flat">
                <a:noFill/>
                <a:miter lim="400000"/>
              </a:ln>
              <a:effectLst>
                <a:outerShdw blurRad="25400" dist="12700" dir="5400000" rotWithShape="0">
                  <a:srgbClr val="000000">
                    <a:alpha val="53938"/>
                  </a:srgbClr>
                </a:outerShdw>
              </a:effectLst>
            </p:spPr>
            <p:txBody>
              <a:bodyPr wrap="square" lIns="45719" tIns="45719" rIns="45719" bIns="45719" numCol="1" anchor="t">
                <a:noAutofit/>
              </a:bodyPr>
              <a:lstStyle/>
              <a:p>
                <a:pPr algn="l" defTabSz="685800">
                  <a:defRPr sz="1300" b="0" cap="none">
                    <a:solidFill>
                      <a:srgbClr val="000000"/>
                    </a:solidFill>
                    <a:effectLst/>
                    <a:latin typeface="open sans"/>
                    <a:ea typeface="open sans"/>
                    <a:cs typeface="open sans"/>
                    <a:sym typeface="open sans"/>
                  </a:defRPr>
                </a:pPr>
                <a:endParaRPr dirty="0"/>
              </a:p>
            </p:txBody>
          </p:sp>
          <p:sp>
            <p:nvSpPr>
              <p:cNvPr id="1421" name="Freeform 15"/>
              <p:cNvSpPr/>
              <p:nvPr/>
            </p:nvSpPr>
            <p:spPr>
              <a:xfrm>
                <a:off x="571874" y="915660"/>
                <a:ext cx="2981678" cy="6779845"/>
              </a:xfrm>
              <a:custGeom>
                <a:avLst/>
                <a:gdLst/>
                <a:ahLst/>
                <a:cxnLst>
                  <a:cxn ang="0">
                    <a:pos x="wd2" y="hd2"/>
                  </a:cxn>
                  <a:cxn ang="5400000">
                    <a:pos x="wd2" y="hd2"/>
                  </a:cxn>
                  <a:cxn ang="10800000">
                    <a:pos x="wd2" y="hd2"/>
                  </a:cxn>
                  <a:cxn ang="16200000">
                    <a:pos x="wd2" y="hd2"/>
                  </a:cxn>
                </a:cxnLst>
                <a:rect l="0" t="0" r="r" b="b"/>
                <a:pathLst>
                  <a:path w="21600" h="21600" extrusionOk="0">
                    <a:moveTo>
                      <a:pt x="21600" y="1137"/>
                    </a:moveTo>
                    <a:cubicBezTo>
                      <a:pt x="21298" y="755"/>
                      <a:pt x="20996" y="382"/>
                      <a:pt x="20694" y="0"/>
                    </a:cubicBezTo>
                    <a:cubicBezTo>
                      <a:pt x="8546" y="2192"/>
                      <a:pt x="0" y="7446"/>
                      <a:pt x="0" y="13581"/>
                    </a:cubicBezTo>
                    <a:cubicBezTo>
                      <a:pt x="0" y="16545"/>
                      <a:pt x="1981" y="19292"/>
                      <a:pt x="5395" y="21600"/>
                    </a:cubicBezTo>
                    <a:cubicBezTo>
                      <a:pt x="6056" y="21309"/>
                      <a:pt x="6716" y="21019"/>
                      <a:pt x="7395" y="20737"/>
                    </a:cubicBezTo>
                    <a:cubicBezTo>
                      <a:pt x="4433" y="18661"/>
                      <a:pt x="2717" y="16212"/>
                      <a:pt x="2717" y="13581"/>
                    </a:cubicBezTo>
                    <a:cubicBezTo>
                      <a:pt x="2717" y="7978"/>
                      <a:pt x="10508" y="3163"/>
                      <a:pt x="21600" y="1137"/>
                    </a:cubicBezTo>
                    <a:close/>
                  </a:path>
                </a:pathLst>
              </a:custGeom>
              <a:solidFill>
                <a:schemeClr val="accent3"/>
              </a:solidFill>
              <a:ln w="12700" cap="flat">
                <a:noFill/>
                <a:miter lim="400000"/>
              </a:ln>
              <a:effectLst>
                <a:outerShdw blurRad="25400" dist="12700" dir="5400000" rotWithShape="0">
                  <a:srgbClr val="000000">
                    <a:alpha val="53938"/>
                  </a:srgbClr>
                </a:outerShdw>
              </a:effectLst>
            </p:spPr>
            <p:txBody>
              <a:bodyPr wrap="square" lIns="45719" tIns="45719" rIns="45719" bIns="45719" numCol="1" anchor="t">
                <a:noAutofit/>
              </a:bodyPr>
              <a:lstStyle/>
              <a:p>
                <a:pPr algn="l" defTabSz="685800">
                  <a:defRPr sz="1300" b="0" cap="none">
                    <a:solidFill>
                      <a:srgbClr val="000000"/>
                    </a:solidFill>
                    <a:effectLst/>
                    <a:latin typeface="open sans"/>
                    <a:ea typeface="open sans"/>
                    <a:cs typeface="open sans"/>
                    <a:sym typeface="open sans"/>
                  </a:defRPr>
                </a:pPr>
                <a:endParaRPr dirty="0"/>
              </a:p>
            </p:txBody>
          </p:sp>
          <p:sp>
            <p:nvSpPr>
              <p:cNvPr id="1422" name="Freeform 16"/>
              <p:cNvSpPr/>
              <p:nvPr/>
            </p:nvSpPr>
            <p:spPr>
              <a:xfrm>
                <a:off x="4287401" y="571874"/>
                <a:ext cx="2218079" cy="591710"/>
              </a:xfrm>
              <a:custGeom>
                <a:avLst/>
                <a:gdLst/>
                <a:ahLst/>
                <a:cxnLst>
                  <a:cxn ang="0">
                    <a:pos x="wd2" y="hd2"/>
                  </a:cxn>
                  <a:cxn ang="5400000">
                    <a:pos x="wd2" y="hd2"/>
                  </a:cxn>
                  <a:cxn ang="10800000">
                    <a:pos x="wd2" y="hd2"/>
                  </a:cxn>
                  <a:cxn ang="16200000">
                    <a:pos x="wd2" y="hd2"/>
                  </a:cxn>
                </a:cxnLst>
                <a:rect l="0" t="0" r="r" b="b"/>
                <a:pathLst>
                  <a:path w="21600" h="21600" extrusionOk="0">
                    <a:moveTo>
                      <a:pt x="8670" y="0"/>
                    </a:moveTo>
                    <a:cubicBezTo>
                      <a:pt x="5704" y="0"/>
                      <a:pt x="2814" y="1142"/>
                      <a:pt x="0" y="3140"/>
                    </a:cubicBezTo>
                    <a:cubicBezTo>
                      <a:pt x="406" y="7517"/>
                      <a:pt x="811" y="11894"/>
                      <a:pt x="1217" y="16367"/>
                    </a:cubicBezTo>
                    <a:cubicBezTo>
                      <a:pt x="3625" y="14654"/>
                      <a:pt x="6110" y="13797"/>
                      <a:pt x="8670" y="13797"/>
                    </a:cubicBezTo>
                    <a:cubicBezTo>
                      <a:pt x="13183" y="13797"/>
                      <a:pt x="17544" y="16557"/>
                      <a:pt x="21600" y="21600"/>
                    </a:cubicBezTo>
                    <a:cubicBezTo>
                      <a:pt x="21600" y="7137"/>
                      <a:pt x="21600" y="7137"/>
                      <a:pt x="21600" y="7137"/>
                    </a:cubicBezTo>
                    <a:cubicBezTo>
                      <a:pt x="17518" y="2474"/>
                      <a:pt x="13158" y="0"/>
                      <a:pt x="8670" y="0"/>
                    </a:cubicBezTo>
                    <a:close/>
                  </a:path>
                </a:pathLst>
              </a:custGeom>
              <a:solidFill>
                <a:schemeClr val="accent3"/>
              </a:solidFill>
              <a:ln w="12700" cap="flat">
                <a:noFill/>
                <a:miter lim="400000"/>
              </a:ln>
              <a:effectLst>
                <a:outerShdw blurRad="25400" dist="12700" dir="5400000" rotWithShape="0">
                  <a:srgbClr val="000000">
                    <a:alpha val="53938"/>
                  </a:srgbClr>
                </a:outerShdw>
              </a:effectLst>
            </p:spPr>
            <p:txBody>
              <a:bodyPr wrap="square" lIns="45719" tIns="45719" rIns="45719" bIns="45719" numCol="1" anchor="t">
                <a:noAutofit/>
              </a:bodyPr>
              <a:lstStyle/>
              <a:p>
                <a:pPr algn="l" defTabSz="685800">
                  <a:defRPr sz="1300" b="0" cap="none">
                    <a:solidFill>
                      <a:srgbClr val="000000"/>
                    </a:solidFill>
                    <a:effectLst/>
                    <a:latin typeface="open sans"/>
                    <a:ea typeface="open sans"/>
                    <a:cs typeface="open sans"/>
                    <a:sym typeface="open sans"/>
                  </a:defRPr>
                </a:pPr>
                <a:endParaRPr dirty="0"/>
              </a:p>
            </p:txBody>
          </p:sp>
          <p:sp>
            <p:nvSpPr>
              <p:cNvPr id="1423" name="Freeform 17"/>
              <p:cNvSpPr/>
              <p:nvPr/>
            </p:nvSpPr>
            <p:spPr>
              <a:xfrm>
                <a:off x="2356914" y="8528521"/>
                <a:ext cx="4505574" cy="1259447"/>
              </a:xfrm>
              <a:custGeom>
                <a:avLst/>
                <a:gdLst/>
                <a:ahLst/>
                <a:cxnLst>
                  <a:cxn ang="0">
                    <a:pos x="wd2" y="hd2"/>
                  </a:cxn>
                  <a:cxn ang="5400000">
                    <a:pos x="wd2" y="hd2"/>
                  </a:cxn>
                  <a:cxn ang="10800000">
                    <a:pos x="wd2" y="hd2"/>
                  </a:cxn>
                  <a:cxn ang="16200000">
                    <a:pos x="wd2" y="hd2"/>
                  </a:cxn>
                </a:cxnLst>
                <a:rect l="0" t="0" r="r" b="b"/>
                <a:pathLst>
                  <a:path w="21600" h="21600" extrusionOk="0">
                    <a:moveTo>
                      <a:pt x="20876" y="10175"/>
                    </a:moveTo>
                    <a:cubicBezTo>
                      <a:pt x="18591" y="13388"/>
                      <a:pt x="16119" y="15129"/>
                      <a:pt x="13522" y="15129"/>
                    </a:cubicBezTo>
                    <a:cubicBezTo>
                      <a:pt x="8852" y="15129"/>
                      <a:pt x="4557" y="9461"/>
                      <a:pt x="1124" y="0"/>
                    </a:cubicBezTo>
                    <a:cubicBezTo>
                      <a:pt x="787" y="1473"/>
                      <a:pt x="449" y="2945"/>
                      <a:pt x="125" y="4418"/>
                    </a:cubicBezTo>
                    <a:cubicBezTo>
                      <a:pt x="75" y="4641"/>
                      <a:pt x="37" y="4820"/>
                      <a:pt x="0" y="5043"/>
                    </a:cubicBezTo>
                    <a:cubicBezTo>
                      <a:pt x="3733" y="15397"/>
                      <a:pt x="8428" y="21600"/>
                      <a:pt x="13522" y="21600"/>
                    </a:cubicBezTo>
                    <a:cubicBezTo>
                      <a:pt x="16369" y="21600"/>
                      <a:pt x="19103" y="19636"/>
                      <a:pt x="21600" y="16111"/>
                    </a:cubicBezTo>
                    <a:cubicBezTo>
                      <a:pt x="21363" y="14147"/>
                      <a:pt x="21113" y="12183"/>
                      <a:pt x="20876" y="10175"/>
                    </a:cubicBezTo>
                    <a:close/>
                  </a:path>
                </a:pathLst>
              </a:custGeom>
              <a:solidFill>
                <a:schemeClr val="accent3"/>
              </a:solidFill>
              <a:ln w="12700" cap="flat">
                <a:noFill/>
                <a:miter lim="400000"/>
              </a:ln>
              <a:effectLst>
                <a:outerShdw blurRad="25400" dist="12700" dir="5400000" rotWithShape="0">
                  <a:srgbClr val="000000">
                    <a:alpha val="53938"/>
                  </a:srgbClr>
                </a:outerShdw>
              </a:effectLst>
            </p:spPr>
            <p:txBody>
              <a:bodyPr wrap="square" lIns="45719" tIns="45719" rIns="45719" bIns="45719" numCol="1" anchor="t">
                <a:noAutofit/>
              </a:bodyPr>
              <a:lstStyle/>
              <a:p>
                <a:pPr algn="l" defTabSz="685800">
                  <a:defRPr sz="1300" b="0" cap="none">
                    <a:solidFill>
                      <a:srgbClr val="000000"/>
                    </a:solidFill>
                    <a:effectLst/>
                    <a:latin typeface="open sans"/>
                    <a:ea typeface="open sans"/>
                    <a:cs typeface="open sans"/>
                    <a:sym typeface="open sans"/>
                  </a:defRPr>
                </a:pPr>
                <a:endParaRPr dirty="0"/>
              </a:p>
            </p:txBody>
          </p:sp>
          <p:sp>
            <p:nvSpPr>
              <p:cNvPr id="1424" name="Freeform 18"/>
              <p:cNvSpPr/>
              <p:nvPr/>
            </p:nvSpPr>
            <p:spPr>
              <a:xfrm>
                <a:off x="5384870" y="8307044"/>
                <a:ext cx="2479223" cy="1047886"/>
              </a:xfrm>
              <a:custGeom>
                <a:avLst/>
                <a:gdLst/>
                <a:ahLst/>
                <a:cxnLst>
                  <a:cxn ang="0">
                    <a:pos x="wd2" y="hd2"/>
                  </a:cxn>
                  <a:cxn ang="5400000">
                    <a:pos x="wd2" y="hd2"/>
                  </a:cxn>
                  <a:cxn ang="10800000">
                    <a:pos x="wd2" y="hd2"/>
                  </a:cxn>
                  <a:cxn ang="16200000">
                    <a:pos x="wd2" y="hd2"/>
                  </a:cxn>
                </a:cxnLst>
                <a:rect l="0" t="0" r="r" b="b"/>
                <a:pathLst>
                  <a:path w="21600" h="21600" extrusionOk="0">
                    <a:moveTo>
                      <a:pt x="0" y="19397"/>
                    </a:moveTo>
                    <a:cubicBezTo>
                      <a:pt x="0" y="20149"/>
                      <a:pt x="0" y="20848"/>
                      <a:pt x="0" y="21600"/>
                    </a:cubicBezTo>
                    <a:cubicBezTo>
                      <a:pt x="7987" y="20687"/>
                      <a:pt x="15519" y="13648"/>
                      <a:pt x="21600" y="1504"/>
                    </a:cubicBezTo>
                    <a:cubicBezTo>
                      <a:pt x="21373" y="1021"/>
                      <a:pt x="21124" y="484"/>
                      <a:pt x="20897" y="0"/>
                    </a:cubicBezTo>
                    <a:cubicBezTo>
                      <a:pt x="15179" y="11337"/>
                      <a:pt x="7918" y="18484"/>
                      <a:pt x="0" y="19397"/>
                    </a:cubicBezTo>
                    <a:close/>
                  </a:path>
                </a:pathLst>
              </a:custGeom>
              <a:solidFill>
                <a:schemeClr val="accent3"/>
              </a:solidFill>
              <a:ln w="12700" cap="flat">
                <a:noFill/>
                <a:miter lim="400000"/>
              </a:ln>
              <a:effectLst>
                <a:outerShdw blurRad="25400" dist="12700" dir="5400000" rotWithShape="0">
                  <a:srgbClr val="000000">
                    <a:alpha val="53938"/>
                  </a:srgbClr>
                </a:outerShdw>
              </a:effectLst>
            </p:spPr>
            <p:txBody>
              <a:bodyPr wrap="square" lIns="45719" tIns="45719" rIns="45719" bIns="45719" numCol="1" anchor="t">
                <a:noAutofit/>
              </a:bodyPr>
              <a:lstStyle/>
              <a:p>
                <a:pPr algn="l" defTabSz="685800">
                  <a:defRPr sz="1300" b="0" cap="none">
                    <a:solidFill>
                      <a:srgbClr val="000000"/>
                    </a:solidFill>
                    <a:effectLst/>
                    <a:latin typeface="open sans"/>
                    <a:ea typeface="open sans"/>
                    <a:cs typeface="open sans"/>
                    <a:sym typeface="open sans"/>
                  </a:defRPr>
                </a:pPr>
                <a:endParaRPr dirty="0"/>
              </a:p>
            </p:txBody>
          </p:sp>
          <p:sp>
            <p:nvSpPr>
              <p:cNvPr id="1425" name="Freeform 19"/>
              <p:cNvSpPr/>
              <p:nvPr/>
            </p:nvSpPr>
            <p:spPr>
              <a:xfrm>
                <a:off x="1375141" y="6882318"/>
                <a:ext cx="3622970" cy="2472612"/>
              </a:xfrm>
              <a:custGeom>
                <a:avLst/>
                <a:gdLst/>
                <a:ahLst/>
                <a:cxnLst>
                  <a:cxn ang="0">
                    <a:pos x="wd2" y="hd2"/>
                  </a:cxn>
                  <a:cxn ang="5400000">
                    <a:pos x="wd2" y="hd2"/>
                  </a:cxn>
                  <a:cxn ang="10800000">
                    <a:pos x="wd2" y="hd2"/>
                  </a:cxn>
                  <a:cxn ang="16200000">
                    <a:pos x="wd2" y="hd2"/>
                  </a:cxn>
                </a:cxnLst>
                <a:rect l="0" t="0" r="r" b="b"/>
                <a:pathLst>
                  <a:path w="21600" h="21600" extrusionOk="0">
                    <a:moveTo>
                      <a:pt x="606" y="0"/>
                    </a:moveTo>
                    <a:cubicBezTo>
                      <a:pt x="404" y="91"/>
                      <a:pt x="202" y="205"/>
                      <a:pt x="0" y="296"/>
                    </a:cubicBezTo>
                    <a:cubicBezTo>
                      <a:pt x="1212" y="4192"/>
                      <a:pt x="2921" y="7815"/>
                      <a:pt x="5050" y="10937"/>
                    </a:cubicBezTo>
                    <a:cubicBezTo>
                      <a:pt x="9510" y="17476"/>
                      <a:pt x="15353" y="21213"/>
                      <a:pt x="21600" y="21600"/>
                    </a:cubicBezTo>
                    <a:cubicBezTo>
                      <a:pt x="21600" y="21304"/>
                      <a:pt x="21600" y="20985"/>
                      <a:pt x="21600" y="20689"/>
                    </a:cubicBezTo>
                    <a:cubicBezTo>
                      <a:pt x="12292" y="20096"/>
                      <a:pt x="4320" y="11780"/>
                      <a:pt x="606" y="0"/>
                    </a:cubicBezTo>
                    <a:close/>
                  </a:path>
                </a:pathLst>
              </a:custGeom>
              <a:solidFill>
                <a:schemeClr val="accent3"/>
              </a:solidFill>
              <a:ln w="12700" cap="flat">
                <a:noFill/>
                <a:miter lim="400000"/>
              </a:ln>
              <a:effectLst>
                <a:outerShdw blurRad="25400" dist="12700" dir="5400000" rotWithShape="0">
                  <a:srgbClr val="000000">
                    <a:alpha val="53938"/>
                  </a:srgbClr>
                </a:outerShdw>
              </a:effectLst>
            </p:spPr>
            <p:txBody>
              <a:bodyPr wrap="square" lIns="45719" tIns="45719" rIns="45719" bIns="45719" numCol="1" anchor="t">
                <a:noAutofit/>
              </a:bodyPr>
              <a:lstStyle/>
              <a:p>
                <a:pPr algn="l" defTabSz="685800">
                  <a:defRPr sz="1300" b="0" cap="none">
                    <a:solidFill>
                      <a:srgbClr val="000000"/>
                    </a:solidFill>
                    <a:effectLst/>
                    <a:latin typeface="open sans"/>
                    <a:ea typeface="open sans"/>
                    <a:cs typeface="open sans"/>
                    <a:sym typeface="open sans"/>
                  </a:defRPr>
                </a:pPr>
                <a:endParaRPr dirty="0"/>
              </a:p>
            </p:txBody>
          </p:sp>
          <p:sp>
            <p:nvSpPr>
              <p:cNvPr id="1426" name="Freeform 20"/>
              <p:cNvSpPr/>
              <p:nvPr/>
            </p:nvSpPr>
            <p:spPr>
              <a:xfrm>
                <a:off x="998299" y="1847845"/>
                <a:ext cx="1718928" cy="4710523"/>
              </a:xfrm>
              <a:custGeom>
                <a:avLst/>
                <a:gdLst/>
                <a:ahLst/>
                <a:cxnLst>
                  <a:cxn ang="0">
                    <a:pos x="wd2" y="hd2"/>
                  </a:cxn>
                  <a:cxn ang="5400000">
                    <a:pos x="wd2" y="hd2"/>
                  </a:cxn>
                  <a:cxn ang="10800000">
                    <a:pos x="wd2" y="hd2"/>
                  </a:cxn>
                  <a:cxn ang="16200000">
                    <a:pos x="wd2" y="hd2"/>
                  </a:cxn>
                </a:cxnLst>
                <a:rect l="0" t="0" r="r" b="b"/>
                <a:pathLst>
                  <a:path w="21600" h="21600" extrusionOk="0">
                    <a:moveTo>
                      <a:pt x="21600" y="406"/>
                    </a:moveTo>
                    <a:cubicBezTo>
                      <a:pt x="21502" y="371"/>
                      <a:pt x="21404" y="323"/>
                      <a:pt x="21305" y="287"/>
                    </a:cubicBezTo>
                    <a:cubicBezTo>
                      <a:pt x="21076" y="203"/>
                      <a:pt x="20913" y="108"/>
                      <a:pt x="20815" y="0"/>
                    </a:cubicBezTo>
                    <a:cubicBezTo>
                      <a:pt x="18916" y="526"/>
                      <a:pt x="17084" y="1100"/>
                      <a:pt x="15382" y="1733"/>
                    </a:cubicBezTo>
                    <a:cubicBezTo>
                      <a:pt x="5465" y="5355"/>
                      <a:pt x="0" y="10160"/>
                      <a:pt x="0" y="15277"/>
                    </a:cubicBezTo>
                    <a:cubicBezTo>
                      <a:pt x="0" y="17464"/>
                      <a:pt x="1015" y="19592"/>
                      <a:pt x="2913" y="21600"/>
                    </a:cubicBezTo>
                    <a:cubicBezTo>
                      <a:pt x="3338" y="21552"/>
                      <a:pt x="3796" y="21504"/>
                      <a:pt x="4222" y="21457"/>
                    </a:cubicBezTo>
                    <a:cubicBezTo>
                      <a:pt x="2356" y="19520"/>
                      <a:pt x="1342" y="17440"/>
                      <a:pt x="1342" y="15277"/>
                    </a:cubicBezTo>
                    <a:cubicBezTo>
                      <a:pt x="1342" y="9216"/>
                      <a:pt x="9295" y="3825"/>
                      <a:pt x="21600" y="406"/>
                    </a:cubicBezTo>
                    <a:close/>
                  </a:path>
                </a:pathLst>
              </a:custGeom>
              <a:solidFill>
                <a:schemeClr val="accent3"/>
              </a:solidFill>
              <a:ln w="12700" cap="flat">
                <a:noFill/>
                <a:miter lim="400000"/>
              </a:ln>
              <a:effectLst>
                <a:outerShdw blurRad="25400" dist="12700" dir="5400000" rotWithShape="0">
                  <a:srgbClr val="000000">
                    <a:alpha val="53938"/>
                  </a:srgbClr>
                </a:outerShdw>
              </a:effectLst>
            </p:spPr>
            <p:txBody>
              <a:bodyPr wrap="square" lIns="45719" tIns="45719" rIns="45719" bIns="45719" numCol="1" anchor="t">
                <a:noAutofit/>
              </a:bodyPr>
              <a:lstStyle/>
              <a:p>
                <a:pPr algn="l" defTabSz="685800">
                  <a:defRPr sz="1300" b="0" cap="none">
                    <a:solidFill>
                      <a:srgbClr val="000000"/>
                    </a:solidFill>
                    <a:effectLst/>
                    <a:latin typeface="open sans"/>
                    <a:ea typeface="open sans"/>
                    <a:cs typeface="open sans"/>
                    <a:sym typeface="open sans"/>
                  </a:defRPr>
                </a:pPr>
                <a:endParaRPr dirty="0"/>
              </a:p>
            </p:txBody>
          </p:sp>
          <p:sp>
            <p:nvSpPr>
              <p:cNvPr id="1427" name="Freeform 21"/>
              <p:cNvSpPr/>
              <p:nvPr/>
            </p:nvSpPr>
            <p:spPr>
              <a:xfrm>
                <a:off x="2961845" y="1001604"/>
                <a:ext cx="3937006" cy="717324"/>
              </a:xfrm>
              <a:custGeom>
                <a:avLst/>
                <a:gdLst/>
                <a:ahLst/>
                <a:cxnLst>
                  <a:cxn ang="0">
                    <a:pos x="wd2" y="hd2"/>
                  </a:cxn>
                  <a:cxn ang="5400000">
                    <a:pos x="wd2" y="hd2"/>
                  </a:cxn>
                  <a:cxn ang="10800000">
                    <a:pos x="wd2" y="hd2"/>
                  </a:cxn>
                  <a:cxn ang="16200000">
                    <a:pos x="wd2" y="hd2"/>
                  </a:cxn>
                </a:cxnLst>
                <a:rect l="0" t="0" r="r" b="b"/>
                <a:pathLst>
                  <a:path w="21600" h="21600" extrusionOk="0">
                    <a:moveTo>
                      <a:pt x="21600" y="11153"/>
                    </a:moveTo>
                    <a:cubicBezTo>
                      <a:pt x="18669" y="3849"/>
                      <a:pt x="15467" y="0"/>
                      <a:pt x="12151" y="0"/>
                    </a:cubicBezTo>
                    <a:cubicBezTo>
                      <a:pt x="7791" y="0"/>
                      <a:pt x="3602" y="6676"/>
                      <a:pt x="0" y="19087"/>
                    </a:cubicBezTo>
                    <a:cubicBezTo>
                      <a:pt x="0" y="19165"/>
                      <a:pt x="14" y="19165"/>
                      <a:pt x="14" y="19165"/>
                    </a:cubicBezTo>
                    <a:cubicBezTo>
                      <a:pt x="143" y="19951"/>
                      <a:pt x="272" y="20815"/>
                      <a:pt x="400" y="21600"/>
                    </a:cubicBezTo>
                    <a:cubicBezTo>
                      <a:pt x="3817" y="9897"/>
                      <a:pt x="7834" y="3220"/>
                      <a:pt x="12151" y="3220"/>
                    </a:cubicBezTo>
                    <a:cubicBezTo>
                      <a:pt x="15424" y="3220"/>
                      <a:pt x="18527" y="7069"/>
                      <a:pt x="21343" y="14060"/>
                    </a:cubicBezTo>
                    <a:cubicBezTo>
                      <a:pt x="21428" y="13117"/>
                      <a:pt x="21514" y="12096"/>
                      <a:pt x="21600" y="11153"/>
                    </a:cubicBezTo>
                    <a:close/>
                  </a:path>
                </a:pathLst>
              </a:custGeom>
              <a:solidFill>
                <a:schemeClr val="accent3"/>
              </a:solidFill>
              <a:ln w="12700" cap="flat">
                <a:noFill/>
                <a:miter lim="400000"/>
              </a:ln>
              <a:effectLst>
                <a:outerShdw blurRad="25400" dist="12700" dir="5400000" rotWithShape="0">
                  <a:srgbClr val="000000">
                    <a:alpha val="53938"/>
                  </a:srgbClr>
                </a:outerShdw>
              </a:effectLst>
            </p:spPr>
            <p:txBody>
              <a:bodyPr wrap="square" lIns="45719" tIns="45719" rIns="45719" bIns="45719" numCol="1" anchor="t">
                <a:noAutofit/>
              </a:bodyPr>
              <a:lstStyle/>
              <a:p>
                <a:pPr algn="l" defTabSz="685800">
                  <a:defRPr sz="1300" b="0" cap="none">
                    <a:solidFill>
                      <a:srgbClr val="000000"/>
                    </a:solidFill>
                    <a:effectLst/>
                    <a:latin typeface="open sans"/>
                    <a:ea typeface="open sans"/>
                    <a:cs typeface="open sans"/>
                    <a:sym typeface="open sans"/>
                  </a:defRPr>
                </a:pPr>
                <a:endParaRPr dirty="0"/>
              </a:p>
            </p:txBody>
          </p:sp>
          <p:sp>
            <p:nvSpPr>
              <p:cNvPr id="1428" name="Freeform 22"/>
              <p:cNvSpPr/>
              <p:nvPr/>
            </p:nvSpPr>
            <p:spPr>
              <a:xfrm>
                <a:off x="7193049" y="1547034"/>
                <a:ext cx="1355308" cy="1242917"/>
              </a:xfrm>
              <a:custGeom>
                <a:avLst/>
                <a:gdLst/>
                <a:ahLst/>
                <a:cxnLst>
                  <a:cxn ang="0">
                    <a:pos x="wd2" y="hd2"/>
                  </a:cxn>
                  <a:cxn ang="5400000">
                    <a:pos x="wd2" y="hd2"/>
                  </a:cxn>
                  <a:cxn ang="10800000">
                    <a:pos x="wd2" y="hd2"/>
                  </a:cxn>
                  <a:cxn ang="16200000">
                    <a:pos x="wd2" y="hd2"/>
                  </a:cxn>
                </a:cxnLst>
                <a:rect l="0" t="0" r="r" b="b"/>
                <a:pathLst>
                  <a:path w="21600" h="21600" extrusionOk="0">
                    <a:moveTo>
                      <a:pt x="14954" y="11819"/>
                    </a:moveTo>
                    <a:cubicBezTo>
                      <a:pt x="10634" y="7155"/>
                      <a:pt x="5898" y="3170"/>
                      <a:pt x="748" y="0"/>
                    </a:cubicBezTo>
                    <a:cubicBezTo>
                      <a:pt x="498" y="543"/>
                      <a:pt x="249" y="1132"/>
                      <a:pt x="0" y="1675"/>
                    </a:cubicBezTo>
                    <a:cubicBezTo>
                      <a:pt x="8017" y="6702"/>
                      <a:pt x="14954" y="13494"/>
                      <a:pt x="20354" y="21600"/>
                    </a:cubicBezTo>
                    <a:cubicBezTo>
                      <a:pt x="20478" y="21464"/>
                      <a:pt x="20645" y="21328"/>
                      <a:pt x="20769" y="21147"/>
                    </a:cubicBezTo>
                    <a:cubicBezTo>
                      <a:pt x="21060" y="20875"/>
                      <a:pt x="21309" y="20558"/>
                      <a:pt x="21600" y="20287"/>
                    </a:cubicBezTo>
                    <a:cubicBezTo>
                      <a:pt x="19606" y="17298"/>
                      <a:pt x="17363" y="14491"/>
                      <a:pt x="14954" y="11819"/>
                    </a:cubicBezTo>
                    <a:close/>
                  </a:path>
                </a:pathLst>
              </a:custGeom>
              <a:solidFill>
                <a:schemeClr val="accent3"/>
              </a:solidFill>
              <a:ln w="12700" cap="flat">
                <a:noFill/>
                <a:miter lim="400000"/>
              </a:ln>
              <a:effectLst>
                <a:outerShdw blurRad="25400" dist="12700" dir="5400000" rotWithShape="0">
                  <a:srgbClr val="000000">
                    <a:alpha val="53938"/>
                  </a:srgbClr>
                </a:outerShdw>
              </a:effectLst>
            </p:spPr>
            <p:txBody>
              <a:bodyPr wrap="square" lIns="45719" tIns="45719" rIns="45719" bIns="45719" numCol="1" anchor="t">
                <a:noAutofit/>
              </a:bodyPr>
              <a:lstStyle/>
              <a:p>
                <a:pPr algn="l" defTabSz="685800">
                  <a:defRPr sz="1300" b="0" cap="none">
                    <a:solidFill>
                      <a:srgbClr val="000000"/>
                    </a:solidFill>
                    <a:effectLst/>
                    <a:latin typeface="open sans"/>
                    <a:ea typeface="open sans"/>
                    <a:cs typeface="open sans"/>
                    <a:sym typeface="open sans"/>
                  </a:defRPr>
                </a:pPr>
                <a:endParaRPr dirty="0"/>
              </a:p>
            </p:txBody>
          </p:sp>
          <p:sp>
            <p:nvSpPr>
              <p:cNvPr id="1429" name="Freeform 23"/>
              <p:cNvSpPr/>
              <p:nvPr/>
            </p:nvSpPr>
            <p:spPr>
              <a:xfrm>
                <a:off x="624764" y="7556669"/>
                <a:ext cx="2188327" cy="2231302"/>
              </a:xfrm>
              <a:custGeom>
                <a:avLst/>
                <a:gdLst/>
                <a:ahLst/>
                <a:cxnLst>
                  <a:cxn ang="0">
                    <a:pos x="wd2" y="hd2"/>
                  </a:cxn>
                  <a:cxn ang="5400000">
                    <a:pos x="wd2" y="hd2"/>
                  </a:cxn>
                  <a:cxn ang="10800000">
                    <a:pos x="wd2" y="hd2"/>
                  </a:cxn>
                  <a:cxn ang="16200000">
                    <a:pos x="wd2" y="hd2"/>
                  </a:cxn>
                </a:cxnLst>
                <a:rect l="0" t="0" r="r" b="b"/>
                <a:pathLst>
                  <a:path w="21600" h="21600" extrusionOk="0">
                    <a:moveTo>
                      <a:pt x="2880" y="0"/>
                    </a:moveTo>
                    <a:cubicBezTo>
                      <a:pt x="1929" y="303"/>
                      <a:pt x="951" y="606"/>
                      <a:pt x="0" y="908"/>
                    </a:cubicBezTo>
                    <a:cubicBezTo>
                      <a:pt x="2314" y="5072"/>
                      <a:pt x="5246" y="8958"/>
                      <a:pt x="8794" y="12440"/>
                    </a:cubicBezTo>
                    <a:cubicBezTo>
                      <a:pt x="12600" y="16175"/>
                      <a:pt x="16920" y="19253"/>
                      <a:pt x="21600" y="21600"/>
                    </a:cubicBezTo>
                    <a:cubicBezTo>
                      <a:pt x="21600" y="18294"/>
                      <a:pt x="21600" y="18294"/>
                      <a:pt x="21600" y="18294"/>
                    </a:cubicBezTo>
                    <a:cubicBezTo>
                      <a:pt x="13757" y="14030"/>
                      <a:pt x="7277" y="7671"/>
                      <a:pt x="2880" y="0"/>
                    </a:cubicBezTo>
                    <a:close/>
                  </a:path>
                </a:pathLst>
              </a:custGeom>
              <a:solidFill>
                <a:schemeClr val="accent3"/>
              </a:solidFill>
              <a:ln w="12700" cap="flat">
                <a:noFill/>
                <a:miter lim="400000"/>
              </a:ln>
              <a:effectLst>
                <a:outerShdw blurRad="25400" dist="12700" dir="5400000" rotWithShape="0">
                  <a:srgbClr val="000000">
                    <a:alpha val="53938"/>
                  </a:srgbClr>
                </a:outerShdw>
              </a:effectLst>
            </p:spPr>
            <p:txBody>
              <a:bodyPr wrap="square" lIns="45719" tIns="45719" rIns="45719" bIns="45719" numCol="1" anchor="t">
                <a:noAutofit/>
              </a:bodyPr>
              <a:lstStyle/>
              <a:p>
                <a:pPr algn="l" defTabSz="685800">
                  <a:defRPr sz="1300" b="0" cap="none">
                    <a:solidFill>
                      <a:srgbClr val="000000"/>
                    </a:solidFill>
                    <a:effectLst/>
                    <a:latin typeface="open sans"/>
                    <a:ea typeface="open sans"/>
                    <a:cs typeface="open sans"/>
                    <a:sym typeface="open sans"/>
                  </a:defRPr>
                </a:pPr>
                <a:endParaRPr dirty="0"/>
              </a:p>
            </p:txBody>
          </p:sp>
          <p:sp>
            <p:nvSpPr>
              <p:cNvPr id="1430" name="Freeform 24"/>
              <p:cNvSpPr/>
              <p:nvPr/>
            </p:nvSpPr>
            <p:spPr>
              <a:xfrm>
                <a:off x="0" y="3236211"/>
                <a:ext cx="740461" cy="4065924"/>
              </a:xfrm>
              <a:custGeom>
                <a:avLst/>
                <a:gdLst/>
                <a:ahLst/>
                <a:cxnLst>
                  <a:cxn ang="0">
                    <a:pos x="wd2" y="hd2"/>
                  </a:cxn>
                  <a:cxn ang="5400000">
                    <a:pos x="wd2" y="hd2"/>
                  </a:cxn>
                  <a:cxn ang="10800000">
                    <a:pos x="wd2" y="hd2"/>
                  </a:cxn>
                  <a:cxn ang="16200000">
                    <a:pos x="wd2" y="hd2"/>
                  </a:cxn>
                </a:cxnLst>
                <a:rect l="0" t="0" r="r" b="b"/>
                <a:pathLst>
                  <a:path w="21600" h="21600" extrusionOk="0">
                    <a:moveTo>
                      <a:pt x="21600" y="21115"/>
                    </a:moveTo>
                    <a:cubicBezTo>
                      <a:pt x="13310" y="17834"/>
                      <a:pt x="8670" y="14178"/>
                      <a:pt x="8670" y="10315"/>
                    </a:cubicBezTo>
                    <a:cubicBezTo>
                      <a:pt x="8670" y="6965"/>
                      <a:pt x="12169" y="3752"/>
                      <a:pt x="18634" y="803"/>
                    </a:cubicBezTo>
                    <a:cubicBezTo>
                      <a:pt x="16048" y="540"/>
                      <a:pt x="13462" y="277"/>
                      <a:pt x="10952" y="0"/>
                    </a:cubicBezTo>
                    <a:cubicBezTo>
                      <a:pt x="3727" y="3226"/>
                      <a:pt x="0" y="6729"/>
                      <a:pt x="0" y="10315"/>
                    </a:cubicBezTo>
                    <a:cubicBezTo>
                      <a:pt x="0" y="14275"/>
                      <a:pt x="4563" y="18097"/>
                      <a:pt x="13158" y="21600"/>
                    </a:cubicBezTo>
                    <a:cubicBezTo>
                      <a:pt x="15972" y="21434"/>
                      <a:pt x="18786" y="21268"/>
                      <a:pt x="21600" y="21115"/>
                    </a:cubicBezTo>
                    <a:close/>
                  </a:path>
                </a:pathLst>
              </a:custGeom>
              <a:solidFill>
                <a:schemeClr val="accent3"/>
              </a:solidFill>
              <a:ln w="12700" cap="flat">
                <a:noFill/>
                <a:miter lim="400000"/>
              </a:ln>
              <a:effectLst>
                <a:outerShdw blurRad="25400" dist="12700" dir="5400000" rotWithShape="0">
                  <a:srgbClr val="000000">
                    <a:alpha val="53938"/>
                  </a:srgbClr>
                </a:outerShdw>
              </a:effectLst>
            </p:spPr>
            <p:txBody>
              <a:bodyPr wrap="square" lIns="45719" tIns="45719" rIns="45719" bIns="45719" numCol="1" anchor="t">
                <a:noAutofit/>
              </a:bodyPr>
              <a:lstStyle/>
              <a:p>
                <a:pPr algn="l" defTabSz="685800">
                  <a:defRPr sz="1300" b="0" cap="none">
                    <a:solidFill>
                      <a:srgbClr val="000000"/>
                    </a:solidFill>
                    <a:effectLst/>
                    <a:latin typeface="open sans"/>
                    <a:ea typeface="open sans"/>
                    <a:cs typeface="open sans"/>
                    <a:sym typeface="open sans"/>
                  </a:defRPr>
                </a:pPr>
                <a:endParaRPr dirty="0"/>
              </a:p>
            </p:txBody>
          </p:sp>
          <p:sp>
            <p:nvSpPr>
              <p:cNvPr id="1431" name="Freeform 25"/>
              <p:cNvSpPr/>
              <p:nvPr/>
            </p:nvSpPr>
            <p:spPr>
              <a:xfrm>
                <a:off x="535511" y="135531"/>
                <a:ext cx="3560165" cy="2902343"/>
              </a:xfrm>
              <a:custGeom>
                <a:avLst/>
                <a:gdLst/>
                <a:ahLst/>
                <a:cxnLst>
                  <a:cxn ang="0">
                    <a:pos x="wd2" y="hd2"/>
                  </a:cxn>
                  <a:cxn ang="5400000">
                    <a:pos x="wd2" y="hd2"/>
                  </a:cxn>
                  <a:cxn ang="10800000">
                    <a:pos x="wd2" y="hd2"/>
                  </a:cxn>
                  <a:cxn ang="16200000">
                    <a:pos x="wd2" y="hd2"/>
                  </a:cxn>
                </a:cxnLst>
                <a:rect l="0" t="0" r="r" b="b"/>
                <a:pathLst>
                  <a:path w="21600" h="21600" extrusionOk="0">
                    <a:moveTo>
                      <a:pt x="20984" y="0"/>
                    </a:moveTo>
                    <a:cubicBezTo>
                      <a:pt x="15327" y="1611"/>
                      <a:pt x="10160" y="5123"/>
                      <a:pt x="5957" y="10286"/>
                    </a:cubicBezTo>
                    <a:cubicBezTo>
                      <a:pt x="3492" y="13313"/>
                      <a:pt x="1501" y="16729"/>
                      <a:pt x="0" y="20455"/>
                    </a:cubicBezTo>
                    <a:cubicBezTo>
                      <a:pt x="521" y="20843"/>
                      <a:pt x="1043" y="21231"/>
                      <a:pt x="1580" y="21600"/>
                    </a:cubicBezTo>
                    <a:cubicBezTo>
                      <a:pt x="5467" y="11858"/>
                      <a:pt x="12799" y="4580"/>
                      <a:pt x="21600" y="2115"/>
                    </a:cubicBezTo>
                    <a:cubicBezTo>
                      <a:pt x="21395" y="1417"/>
                      <a:pt x="21189" y="699"/>
                      <a:pt x="20984" y="0"/>
                    </a:cubicBezTo>
                    <a:close/>
                  </a:path>
                </a:pathLst>
              </a:custGeom>
              <a:solidFill>
                <a:schemeClr val="accent3"/>
              </a:solidFill>
              <a:ln w="12700" cap="flat">
                <a:noFill/>
                <a:miter lim="400000"/>
              </a:ln>
              <a:effectLst>
                <a:outerShdw blurRad="25400" dist="12700" dir="5400000" rotWithShape="0">
                  <a:srgbClr val="000000">
                    <a:alpha val="53938"/>
                  </a:srgbClr>
                </a:outerShdw>
              </a:effectLst>
            </p:spPr>
            <p:txBody>
              <a:bodyPr wrap="square" lIns="45719" tIns="45719" rIns="45719" bIns="45719" numCol="1" anchor="t">
                <a:noAutofit/>
              </a:bodyPr>
              <a:lstStyle/>
              <a:p>
                <a:pPr algn="l" defTabSz="685800">
                  <a:defRPr sz="1300" b="0" cap="none">
                    <a:solidFill>
                      <a:srgbClr val="000000"/>
                    </a:solidFill>
                    <a:effectLst/>
                    <a:latin typeface="open sans"/>
                    <a:ea typeface="open sans"/>
                    <a:cs typeface="open sans"/>
                    <a:sym typeface="open sans"/>
                  </a:defRPr>
                </a:pPr>
                <a:endParaRPr dirty="0"/>
              </a:p>
            </p:txBody>
          </p:sp>
          <p:sp>
            <p:nvSpPr>
              <p:cNvPr id="1432" name="Freeform 26"/>
              <p:cNvSpPr/>
              <p:nvPr/>
            </p:nvSpPr>
            <p:spPr>
              <a:xfrm>
                <a:off x="4376654" y="0"/>
                <a:ext cx="5361731" cy="2902342"/>
              </a:xfrm>
              <a:custGeom>
                <a:avLst/>
                <a:gdLst/>
                <a:ahLst/>
                <a:cxnLst>
                  <a:cxn ang="0">
                    <a:pos x="wd2" y="hd2"/>
                  </a:cxn>
                  <a:cxn ang="5400000">
                    <a:pos x="wd2" y="hd2"/>
                  </a:cxn>
                  <a:cxn ang="10800000">
                    <a:pos x="wd2" y="hd2"/>
                  </a:cxn>
                  <a:cxn ang="16200000">
                    <a:pos x="wd2" y="hd2"/>
                  </a:cxn>
                </a:cxnLst>
                <a:rect l="0" t="0" r="r" b="b"/>
                <a:pathLst>
                  <a:path w="21600" h="21600" extrusionOk="0">
                    <a:moveTo>
                      <a:pt x="17979" y="11285"/>
                    </a:moveTo>
                    <a:cubicBezTo>
                      <a:pt x="14043" y="4014"/>
                      <a:pt x="8806" y="0"/>
                      <a:pt x="3233" y="0"/>
                    </a:cubicBezTo>
                    <a:cubicBezTo>
                      <a:pt x="2141" y="0"/>
                      <a:pt x="1060" y="155"/>
                      <a:pt x="0" y="465"/>
                    </a:cubicBezTo>
                    <a:cubicBezTo>
                      <a:pt x="147" y="1183"/>
                      <a:pt x="283" y="1881"/>
                      <a:pt x="420" y="2598"/>
                    </a:cubicBezTo>
                    <a:cubicBezTo>
                      <a:pt x="1343" y="2346"/>
                      <a:pt x="2278" y="2230"/>
                      <a:pt x="3233" y="2230"/>
                    </a:cubicBezTo>
                    <a:cubicBezTo>
                      <a:pt x="10758" y="2230"/>
                      <a:pt x="17307" y="10083"/>
                      <a:pt x="20613" y="21600"/>
                    </a:cubicBezTo>
                    <a:cubicBezTo>
                      <a:pt x="20949" y="21173"/>
                      <a:pt x="21275" y="20727"/>
                      <a:pt x="21600" y="20262"/>
                    </a:cubicBezTo>
                    <a:cubicBezTo>
                      <a:pt x="20655" y="17005"/>
                      <a:pt x="19438" y="13980"/>
                      <a:pt x="17979" y="11285"/>
                    </a:cubicBezTo>
                    <a:close/>
                  </a:path>
                </a:pathLst>
              </a:custGeom>
              <a:solidFill>
                <a:schemeClr val="accent3"/>
              </a:solidFill>
              <a:ln w="12700" cap="flat">
                <a:noFill/>
                <a:miter lim="400000"/>
              </a:ln>
              <a:effectLst>
                <a:outerShdw blurRad="25400" dist="12700" dir="5400000" rotWithShape="0">
                  <a:srgbClr val="000000">
                    <a:alpha val="53938"/>
                  </a:srgbClr>
                </a:outerShdw>
              </a:effectLst>
            </p:spPr>
            <p:txBody>
              <a:bodyPr wrap="square" lIns="45719" tIns="45719" rIns="45719" bIns="45719" numCol="1" anchor="t">
                <a:noAutofit/>
              </a:bodyPr>
              <a:lstStyle/>
              <a:p>
                <a:pPr algn="l" defTabSz="685800">
                  <a:defRPr sz="1300" b="0" cap="none">
                    <a:solidFill>
                      <a:srgbClr val="000000"/>
                    </a:solidFill>
                    <a:effectLst/>
                    <a:latin typeface="open sans"/>
                    <a:ea typeface="open sans"/>
                    <a:cs typeface="open sans"/>
                    <a:sym typeface="open sans"/>
                  </a:defRPr>
                </a:pPr>
                <a:endParaRPr dirty="0"/>
              </a:p>
            </p:txBody>
          </p:sp>
          <p:sp>
            <p:nvSpPr>
              <p:cNvPr id="1433" name="Freeform 27"/>
              <p:cNvSpPr/>
              <p:nvPr/>
            </p:nvSpPr>
            <p:spPr>
              <a:xfrm>
                <a:off x="0" y="862767"/>
                <a:ext cx="2485833" cy="8303741"/>
              </a:xfrm>
              <a:custGeom>
                <a:avLst/>
                <a:gdLst/>
                <a:ahLst/>
                <a:cxnLst>
                  <a:cxn ang="0">
                    <a:pos x="wd2" y="hd2"/>
                  </a:cxn>
                  <a:cxn ang="5400000">
                    <a:pos x="wd2" y="hd2"/>
                  </a:cxn>
                  <a:cxn ang="10800000">
                    <a:pos x="wd2" y="hd2"/>
                  </a:cxn>
                  <a:cxn ang="16200000">
                    <a:pos x="wd2" y="hd2"/>
                  </a:cxn>
                </a:cxnLst>
                <a:rect l="0" t="0" r="r" b="b"/>
                <a:pathLst>
                  <a:path w="21600" h="21600" extrusionOk="0">
                    <a:moveTo>
                      <a:pt x="2581" y="11227"/>
                    </a:moveTo>
                    <a:cubicBezTo>
                      <a:pt x="2581" y="6814"/>
                      <a:pt x="10143" y="2922"/>
                      <a:pt x="21600" y="644"/>
                    </a:cubicBezTo>
                    <a:cubicBezTo>
                      <a:pt x="21102" y="434"/>
                      <a:pt x="20604" y="217"/>
                      <a:pt x="20128" y="0"/>
                    </a:cubicBezTo>
                    <a:cubicBezTo>
                      <a:pt x="17660" y="488"/>
                      <a:pt x="15328" y="1058"/>
                      <a:pt x="13177" y="1702"/>
                    </a:cubicBezTo>
                    <a:cubicBezTo>
                      <a:pt x="4664" y="4251"/>
                      <a:pt x="0" y="7634"/>
                      <a:pt x="0" y="11227"/>
                    </a:cubicBezTo>
                    <a:cubicBezTo>
                      <a:pt x="0" y="14827"/>
                      <a:pt x="4664" y="18210"/>
                      <a:pt x="13177" y="20759"/>
                    </a:cubicBezTo>
                    <a:cubicBezTo>
                      <a:pt x="14151" y="21051"/>
                      <a:pt x="15192" y="21336"/>
                      <a:pt x="16257" y="21600"/>
                    </a:cubicBezTo>
                    <a:cubicBezTo>
                      <a:pt x="16257" y="20563"/>
                      <a:pt x="16257" y="20563"/>
                      <a:pt x="16257" y="20563"/>
                    </a:cubicBezTo>
                    <a:cubicBezTo>
                      <a:pt x="7857" y="18237"/>
                      <a:pt x="2581" y="14915"/>
                      <a:pt x="2581" y="11227"/>
                    </a:cubicBezTo>
                    <a:close/>
                  </a:path>
                </a:pathLst>
              </a:custGeom>
              <a:solidFill>
                <a:schemeClr val="accent3"/>
              </a:solidFill>
              <a:ln w="12700" cap="flat">
                <a:noFill/>
                <a:miter lim="400000"/>
              </a:ln>
              <a:effectLst>
                <a:outerShdw blurRad="25400" dist="12700" dir="5400000" rotWithShape="0">
                  <a:srgbClr val="000000">
                    <a:alpha val="53938"/>
                  </a:srgbClr>
                </a:outerShdw>
              </a:effectLst>
            </p:spPr>
            <p:txBody>
              <a:bodyPr wrap="square" lIns="45719" tIns="45719" rIns="45719" bIns="45719" numCol="1" anchor="t">
                <a:noAutofit/>
              </a:bodyPr>
              <a:lstStyle/>
              <a:p>
                <a:pPr algn="l" defTabSz="685800">
                  <a:defRPr sz="1300" b="0" cap="none">
                    <a:solidFill>
                      <a:srgbClr val="000000"/>
                    </a:solidFill>
                    <a:effectLst/>
                    <a:latin typeface="open sans"/>
                    <a:ea typeface="open sans"/>
                    <a:cs typeface="open sans"/>
                    <a:sym typeface="open sans"/>
                  </a:defRPr>
                </a:pPr>
                <a:endParaRPr dirty="0"/>
              </a:p>
            </p:txBody>
          </p:sp>
          <p:sp>
            <p:nvSpPr>
              <p:cNvPr id="1434" name="Freeform 28"/>
              <p:cNvSpPr/>
              <p:nvPr/>
            </p:nvSpPr>
            <p:spPr>
              <a:xfrm>
                <a:off x="198339" y="4165091"/>
                <a:ext cx="2614755" cy="5398095"/>
              </a:xfrm>
              <a:custGeom>
                <a:avLst/>
                <a:gdLst/>
                <a:ahLst/>
                <a:cxnLst>
                  <a:cxn ang="0">
                    <a:pos x="wd2" y="hd2"/>
                  </a:cxn>
                  <a:cxn ang="5400000">
                    <a:pos x="wd2" y="hd2"/>
                  </a:cxn>
                  <a:cxn ang="10800000">
                    <a:pos x="wd2" y="hd2"/>
                  </a:cxn>
                  <a:cxn ang="16200000">
                    <a:pos x="wd2" y="hd2"/>
                  </a:cxn>
                </a:cxnLst>
                <a:rect l="0" t="0" r="r" b="b"/>
                <a:pathLst>
                  <a:path w="21600" h="21600" extrusionOk="0">
                    <a:moveTo>
                      <a:pt x="1076" y="4055"/>
                    </a:moveTo>
                    <a:cubicBezTo>
                      <a:pt x="1076" y="2731"/>
                      <a:pt x="1355" y="1439"/>
                      <a:pt x="1872" y="177"/>
                    </a:cubicBezTo>
                    <a:cubicBezTo>
                      <a:pt x="1527" y="125"/>
                      <a:pt x="1183" y="63"/>
                      <a:pt x="839" y="0"/>
                    </a:cubicBezTo>
                    <a:cubicBezTo>
                      <a:pt x="280" y="1324"/>
                      <a:pt x="0" y="2679"/>
                      <a:pt x="0" y="4055"/>
                    </a:cubicBezTo>
                    <a:cubicBezTo>
                      <a:pt x="0" y="9382"/>
                      <a:pt x="4281" y="14386"/>
                      <a:pt x="12048" y="18149"/>
                    </a:cubicBezTo>
                    <a:cubicBezTo>
                      <a:pt x="14909" y="19536"/>
                      <a:pt x="18115" y="20693"/>
                      <a:pt x="21600" y="21600"/>
                    </a:cubicBezTo>
                    <a:cubicBezTo>
                      <a:pt x="21600" y="20995"/>
                      <a:pt x="21600" y="20995"/>
                      <a:pt x="21600" y="20995"/>
                    </a:cubicBezTo>
                    <a:cubicBezTo>
                      <a:pt x="9359" y="17670"/>
                      <a:pt x="1076" y="11332"/>
                      <a:pt x="1076" y="4055"/>
                    </a:cubicBezTo>
                    <a:close/>
                  </a:path>
                </a:pathLst>
              </a:custGeom>
              <a:solidFill>
                <a:schemeClr val="accent3"/>
              </a:solidFill>
              <a:ln w="12700" cap="flat">
                <a:noFill/>
                <a:miter lim="400000"/>
              </a:ln>
              <a:effectLst>
                <a:outerShdw blurRad="25400" dist="12700" dir="5400000" rotWithShape="0">
                  <a:srgbClr val="000000">
                    <a:alpha val="53938"/>
                  </a:srgbClr>
                </a:outerShdw>
              </a:effectLst>
            </p:spPr>
            <p:txBody>
              <a:bodyPr wrap="square" lIns="45719" tIns="45719" rIns="45719" bIns="45719" numCol="1" anchor="t">
                <a:noAutofit/>
              </a:bodyPr>
              <a:lstStyle/>
              <a:p>
                <a:pPr algn="l" defTabSz="685800">
                  <a:defRPr sz="1300" b="0" cap="none">
                    <a:solidFill>
                      <a:srgbClr val="000000"/>
                    </a:solidFill>
                    <a:effectLst/>
                    <a:latin typeface="open sans"/>
                    <a:ea typeface="open sans"/>
                    <a:cs typeface="open sans"/>
                    <a:sym typeface="open sans"/>
                  </a:defRPr>
                </a:pPr>
                <a:endParaRPr dirty="0"/>
              </a:p>
            </p:txBody>
          </p:sp>
          <p:sp>
            <p:nvSpPr>
              <p:cNvPr id="1435" name="Freeform 29"/>
              <p:cNvSpPr/>
              <p:nvPr/>
            </p:nvSpPr>
            <p:spPr>
              <a:xfrm>
                <a:off x="1289195" y="198339"/>
                <a:ext cx="7232717" cy="1940406"/>
              </a:xfrm>
              <a:custGeom>
                <a:avLst/>
                <a:gdLst/>
                <a:ahLst/>
                <a:cxnLst>
                  <a:cxn ang="0">
                    <a:pos x="wd2" y="hd2"/>
                  </a:cxn>
                  <a:cxn ang="5400000">
                    <a:pos x="wd2" y="hd2"/>
                  </a:cxn>
                  <a:cxn ang="10800000">
                    <a:pos x="wd2" y="hd2"/>
                  </a:cxn>
                  <a:cxn ang="16200000">
                    <a:pos x="wd2" y="hd2"/>
                  </a:cxn>
                </a:cxnLst>
                <a:rect l="0" t="0" r="r" b="b"/>
                <a:pathLst>
                  <a:path w="21600" h="21600" extrusionOk="0">
                    <a:moveTo>
                      <a:pt x="11613" y="0"/>
                    </a:moveTo>
                    <a:cubicBezTo>
                      <a:pt x="7638" y="0"/>
                      <a:pt x="3905" y="5777"/>
                      <a:pt x="1105" y="16258"/>
                    </a:cubicBezTo>
                    <a:cubicBezTo>
                      <a:pt x="708" y="17739"/>
                      <a:pt x="342" y="19248"/>
                      <a:pt x="0" y="20845"/>
                    </a:cubicBezTo>
                    <a:cubicBezTo>
                      <a:pt x="117" y="21106"/>
                      <a:pt x="233" y="21339"/>
                      <a:pt x="350" y="21600"/>
                    </a:cubicBezTo>
                    <a:cubicBezTo>
                      <a:pt x="3002" y="9319"/>
                      <a:pt x="7063" y="1452"/>
                      <a:pt x="11613" y="1452"/>
                    </a:cubicBezTo>
                    <a:cubicBezTo>
                      <a:pt x="15339" y="1452"/>
                      <a:pt x="18738" y="6735"/>
                      <a:pt x="21312" y="15416"/>
                    </a:cubicBezTo>
                    <a:cubicBezTo>
                      <a:pt x="21406" y="15068"/>
                      <a:pt x="21507" y="14748"/>
                      <a:pt x="21600" y="14400"/>
                    </a:cubicBezTo>
                    <a:cubicBezTo>
                      <a:pt x="18862" y="5110"/>
                      <a:pt x="15339" y="0"/>
                      <a:pt x="11613" y="0"/>
                    </a:cubicBezTo>
                    <a:close/>
                  </a:path>
                </a:pathLst>
              </a:custGeom>
              <a:solidFill>
                <a:schemeClr val="accent3"/>
              </a:solidFill>
              <a:ln w="12700" cap="flat">
                <a:noFill/>
                <a:miter lim="400000"/>
              </a:ln>
              <a:effectLst>
                <a:outerShdw blurRad="25400" dist="12700" dir="5400000" rotWithShape="0">
                  <a:srgbClr val="000000">
                    <a:alpha val="53938"/>
                  </a:srgbClr>
                </a:outerShdw>
              </a:effectLst>
            </p:spPr>
            <p:txBody>
              <a:bodyPr wrap="square" lIns="45719" tIns="45719" rIns="45719" bIns="45719" numCol="1" anchor="t">
                <a:noAutofit/>
              </a:bodyPr>
              <a:lstStyle/>
              <a:p>
                <a:pPr algn="l" defTabSz="685800">
                  <a:defRPr sz="1300" b="0" cap="none">
                    <a:solidFill>
                      <a:srgbClr val="000000"/>
                    </a:solidFill>
                    <a:effectLst/>
                    <a:latin typeface="open sans"/>
                    <a:ea typeface="open sans"/>
                    <a:cs typeface="open sans"/>
                    <a:sym typeface="open sans"/>
                  </a:defRPr>
                </a:pPr>
                <a:endParaRPr dirty="0"/>
              </a:p>
            </p:txBody>
          </p:sp>
          <p:sp>
            <p:nvSpPr>
              <p:cNvPr id="1436" name="Freeform 31"/>
              <p:cNvSpPr/>
              <p:nvPr/>
            </p:nvSpPr>
            <p:spPr>
              <a:xfrm>
                <a:off x="1292501" y="4075840"/>
                <a:ext cx="790048" cy="3272574"/>
              </a:xfrm>
              <a:custGeom>
                <a:avLst/>
                <a:gdLst/>
                <a:ahLst/>
                <a:cxnLst>
                  <a:cxn ang="0">
                    <a:pos x="wd2" y="hd2"/>
                  </a:cxn>
                  <a:cxn ang="5400000">
                    <a:pos x="wd2" y="hd2"/>
                  </a:cxn>
                  <a:cxn ang="10800000">
                    <a:pos x="wd2" y="hd2"/>
                  </a:cxn>
                  <a:cxn ang="16200000">
                    <a:pos x="wd2" y="hd2"/>
                  </a:cxn>
                </a:cxnLst>
                <a:rect l="0" t="0" r="r" b="b"/>
                <a:pathLst>
                  <a:path w="21600" h="21600" extrusionOk="0">
                    <a:moveTo>
                      <a:pt x="21600" y="20894"/>
                    </a:moveTo>
                    <a:cubicBezTo>
                      <a:pt x="10764" y="17005"/>
                      <a:pt x="4491" y="12323"/>
                      <a:pt x="4491" y="7280"/>
                    </a:cubicBezTo>
                    <a:cubicBezTo>
                      <a:pt x="4491" y="4922"/>
                      <a:pt x="5917" y="2616"/>
                      <a:pt x="8483" y="447"/>
                    </a:cubicBezTo>
                    <a:cubicBezTo>
                      <a:pt x="7129" y="310"/>
                      <a:pt x="5703" y="155"/>
                      <a:pt x="4277" y="0"/>
                    </a:cubicBezTo>
                    <a:cubicBezTo>
                      <a:pt x="1426" y="2341"/>
                      <a:pt x="0" y="4785"/>
                      <a:pt x="0" y="7280"/>
                    </a:cubicBezTo>
                    <a:cubicBezTo>
                      <a:pt x="0" y="12461"/>
                      <a:pt x="6273" y="17400"/>
                      <a:pt x="17964" y="21600"/>
                    </a:cubicBezTo>
                    <a:cubicBezTo>
                      <a:pt x="19176" y="21359"/>
                      <a:pt x="20388" y="21135"/>
                      <a:pt x="21600" y="20894"/>
                    </a:cubicBezTo>
                    <a:close/>
                  </a:path>
                </a:pathLst>
              </a:custGeom>
              <a:solidFill>
                <a:schemeClr val="accent3"/>
              </a:solidFill>
              <a:ln w="12700" cap="flat">
                <a:noFill/>
                <a:miter lim="400000"/>
              </a:ln>
              <a:effectLst>
                <a:outerShdw blurRad="25400" dist="12700" dir="5400000" rotWithShape="0">
                  <a:srgbClr val="000000">
                    <a:alpha val="53938"/>
                  </a:srgbClr>
                </a:outerShdw>
              </a:effectLst>
            </p:spPr>
            <p:txBody>
              <a:bodyPr wrap="square" lIns="45719" tIns="45719" rIns="45719" bIns="45719" numCol="1" anchor="t">
                <a:noAutofit/>
              </a:bodyPr>
              <a:lstStyle/>
              <a:p>
                <a:pPr algn="l" defTabSz="685800">
                  <a:defRPr sz="1300" b="0" cap="none">
                    <a:solidFill>
                      <a:srgbClr val="000000"/>
                    </a:solidFill>
                    <a:effectLst/>
                    <a:latin typeface="open sans"/>
                    <a:ea typeface="open sans"/>
                    <a:cs typeface="open sans"/>
                    <a:sym typeface="open sans"/>
                  </a:defRPr>
                </a:pPr>
                <a:endParaRPr dirty="0"/>
              </a:p>
            </p:txBody>
          </p:sp>
          <p:sp>
            <p:nvSpPr>
              <p:cNvPr id="1437" name="Freeform 32"/>
              <p:cNvSpPr/>
              <p:nvPr/>
            </p:nvSpPr>
            <p:spPr>
              <a:xfrm>
                <a:off x="2181717" y="7546751"/>
                <a:ext cx="2280885" cy="1451173"/>
              </a:xfrm>
              <a:custGeom>
                <a:avLst/>
                <a:gdLst/>
                <a:ahLst/>
                <a:cxnLst>
                  <a:cxn ang="0">
                    <a:pos x="wd2" y="hd2"/>
                  </a:cxn>
                  <a:cxn ang="5400000">
                    <a:pos x="wd2" y="hd2"/>
                  </a:cxn>
                  <a:cxn ang="10800000">
                    <a:pos x="wd2" y="hd2"/>
                  </a:cxn>
                  <a:cxn ang="16200000">
                    <a:pos x="wd2" y="hd2"/>
                  </a:cxn>
                </a:cxnLst>
                <a:rect l="0" t="0" r="r" b="b"/>
                <a:pathLst>
                  <a:path w="21600" h="21600" extrusionOk="0">
                    <a:moveTo>
                      <a:pt x="21600" y="19580"/>
                    </a:moveTo>
                    <a:cubicBezTo>
                      <a:pt x="21526" y="19424"/>
                      <a:pt x="21477" y="19269"/>
                      <a:pt x="21452" y="19075"/>
                    </a:cubicBezTo>
                    <a:cubicBezTo>
                      <a:pt x="13380" y="16550"/>
                      <a:pt x="6295" y="9635"/>
                      <a:pt x="1210" y="0"/>
                    </a:cubicBezTo>
                    <a:cubicBezTo>
                      <a:pt x="839" y="505"/>
                      <a:pt x="444" y="971"/>
                      <a:pt x="74" y="1476"/>
                    </a:cubicBezTo>
                    <a:cubicBezTo>
                      <a:pt x="49" y="1515"/>
                      <a:pt x="25" y="1554"/>
                      <a:pt x="0" y="1593"/>
                    </a:cubicBezTo>
                    <a:cubicBezTo>
                      <a:pt x="741" y="2991"/>
                      <a:pt x="1531" y="4351"/>
                      <a:pt x="2345" y="5672"/>
                    </a:cubicBezTo>
                    <a:cubicBezTo>
                      <a:pt x="7628" y="13986"/>
                      <a:pt x="14244" y="19463"/>
                      <a:pt x="21427" y="21600"/>
                    </a:cubicBezTo>
                    <a:cubicBezTo>
                      <a:pt x="21501" y="20940"/>
                      <a:pt x="21551" y="20240"/>
                      <a:pt x="21600" y="19580"/>
                    </a:cubicBezTo>
                    <a:close/>
                  </a:path>
                </a:pathLst>
              </a:custGeom>
              <a:solidFill>
                <a:schemeClr val="accent3"/>
              </a:solidFill>
              <a:ln w="12700" cap="flat">
                <a:noFill/>
                <a:miter lim="400000"/>
              </a:ln>
              <a:effectLst>
                <a:outerShdw blurRad="25400" dist="12700" dir="5400000" rotWithShape="0">
                  <a:srgbClr val="000000">
                    <a:alpha val="53938"/>
                  </a:srgbClr>
                </a:outerShdw>
              </a:effectLst>
            </p:spPr>
            <p:txBody>
              <a:bodyPr wrap="square" lIns="45719" tIns="45719" rIns="45719" bIns="45719" numCol="1" anchor="t">
                <a:noAutofit/>
              </a:bodyPr>
              <a:lstStyle/>
              <a:p>
                <a:pPr algn="l" defTabSz="685800">
                  <a:defRPr sz="1300" b="0" cap="none">
                    <a:solidFill>
                      <a:srgbClr val="000000"/>
                    </a:solidFill>
                    <a:effectLst/>
                    <a:latin typeface="open sans"/>
                    <a:ea typeface="open sans"/>
                    <a:cs typeface="open sans"/>
                    <a:sym typeface="open sans"/>
                  </a:defRPr>
                </a:pPr>
                <a:endParaRPr dirty="0"/>
              </a:p>
            </p:txBody>
          </p:sp>
          <p:sp>
            <p:nvSpPr>
              <p:cNvPr id="1438" name="Freeform 33"/>
              <p:cNvSpPr/>
              <p:nvPr/>
            </p:nvSpPr>
            <p:spPr>
              <a:xfrm>
                <a:off x="4822911" y="8763220"/>
                <a:ext cx="1361920" cy="304118"/>
              </a:xfrm>
              <a:custGeom>
                <a:avLst/>
                <a:gdLst/>
                <a:ahLst/>
                <a:cxnLst>
                  <a:cxn ang="0">
                    <a:pos x="wd2" y="hd2"/>
                  </a:cxn>
                  <a:cxn ang="5400000">
                    <a:pos x="wd2" y="hd2"/>
                  </a:cxn>
                  <a:cxn ang="10800000">
                    <a:pos x="wd2" y="hd2"/>
                  </a:cxn>
                  <a:cxn ang="16200000">
                    <a:pos x="wd2" y="hd2"/>
                  </a:cxn>
                </a:cxnLst>
                <a:rect l="0" t="0" r="r" b="b"/>
                <a:pathLst>
                  <a:path w="21600" h="21600" extrusionOk="0">
                    <a:moveTo>
                      <a:pt x="5617" y="9785"/>
                    </a:moveTo>
                    <a:cubicBezTo>
                      <a:pt x="3841" y="9785"/>
                      <a:pt x="2065" y="9415"/>
                      <a:pt x="330" y="8677"/>
                    </a:cubicBezTo>
                    <a:cubicBezTo>
                      <a:pt x="207" y="12554"/>
                      <a:pt x="124" y="16431"/>
                      <a:pt x="0" y="20492"/>
                    </a:cubicBezTo>
                    <a:cubicBezTo>
                      <a:pt x="1859" y="21231"/>
                      <a:pt x="3717" y="21600"/>
                      <a:pt x="5617" y="21600"/>
                    </a:cubicBezTo>
                    <a:cubicBezTo>
                      <a:pt x="11068" y="21600"/>
                      <a:pt x="16437" y="18277"/>
                      <a:pt x="21600" y="12185"/>
                    </a:cubicBezTo>
                    <a:cubicBezTo>
                      <a:pt x="21600" y="0"/>
                      <a:pt x="21600" y="0"/>
                      <a:pt x="21600" y="0"/>
                    </a:cubicBezTo>
                    <a:cubicBezTo>
                      <a:pt x="16520" y="6462"/>
                      <a:pt x="11151" y="9785"/>
                      <a:pt x="5617" y="9785"/>
                    </a:cubicBezTo>
                    <a:close/>
                  </a:path>
                </a:pathLst>
              </a:custGeom>
              <a:solidFill>
                <a:schemeClr val="accent3"/>
              </a:solidFill>
              <a:ln w="12700" cap="flat">
                <a:noFill/>
                <a:miter lim="400000"/>
              </a:ln>
              <a:effectLst>
                <a:outerShdw blurRad="25400" dist="12700" dir="5400000" rotWithShape="0">
                  <a:srgbClr val="000000">
                    <a:alpha val="53938"/>
                  </a:srgbClr>
                </a:outerShdw>
              </a:effectLst>
            </p:spPr>
            <p:txBody>
              <a:bodyPr wrap="square" lIns="45719" tIns="45719" rIns="45719" bIns="45719" numCol="1" anchor="t">
                <a:noAutofit/>
              </a:bodyPr>
              <a:lstStyle/>
              <a:p>
                <a:pPr algn="l" defTabSz="685800">
                  <a:defRPr sz="1300" b="0" cap="none">
                    <a:solidFill>
                      <a:srgbClr val="000000"/>
                    </a:solidFill>
                    <a:effectLst/>
                    <a:latin typeface="open sans"/>
                    <a:ea typeface="open sans"/>
                    <a:cs typeface="open sans"/>
                    <a:sym typeface="open sans"/>
                  </a:defRPr>
                </a:pPr>
                <a:endParaRPr dirty="0"/>
              </a:p>
            </p:txBody>
          </p:sp>
          <p:sp>
            <p:nvSpPr>
              <p:cNvPr id="1439" name="Freeform 34"/>
              <p:cNvSpPr/>
              <p:nvPr/>
            </p:nvSpPr>
            <p:spPr>
              <a:xfrm>
                <a:off x="5289008" y="1295808"/>
                <a:ext cx="3523801" cy="2548642"/>
              </a:xfrm>
              <a:custGeom>
                <a:avLst/>
                <a:gdLst/>
                <a:ahLst/>
                <a:cxnLst>
                  <a:cxn ang="0">
                    <a:pos x="wd2" y="hd2"/>
                  </a:cxn>
                  <a:cxn ang="5400000">
                    <a:pos x="wd2" y="hd2"/>
                  </a:cxn>
                  <a:cxn ang="10800000">
                    <a:pos x="wd2" y="hd2"/>
                  </a:cxn>
                  <a:cxn ang="16200000">
                    <a:pos x="wd2" y="hd2"/>
                  </a:cxn>
                </a:cxnLst>
                <a:rect l="0" t="0" r="r" b="b"/>
                <a:pathLst>
                  <a:path w="21600" h="21600" extrusionOk="0">
                    <a:moveTo>
                      <a:pt x="16156" y="9629"/>
                    </a:moveTo>
                    <a:cubicBezTo>
                      <a:pt x="11830" y="3622"/>
                      <a:pt x="6098" y="221"/>
                      <a:pt x="0" y="0"/>
                    </a:cubicBezTo>
                    <a:cubicBezTo>
                      <a:pt x="128" y="243"/>
                      <a:pt x="208" y="574"/>
                      <a:pt x="208" y="972"/>
                    </a:cubicBezTo>
                    <a:cubicBezTo>
                      <a:pt x="208" y="1126"/>
                      <a:pt x="192" y="1259"/>
                      <a:pt x="192" y="1413"/>
                    </a:cubicBezTo>
                    <a:cubicBezTo>
                      <a:pt x="9499" y="1899"/>
                      <a:pt x="17401" y="10137"/>
                      <a:pt x="20594" y="21600"/>
                    </a:cubicBezTo>
                    <a:cubicBezTo>
                      <a:pt x="20929" y="21490"/>
                      <a:pt x="21265" y="21379"/>
                      <a:pt x="21600" y="21247"/>
                    </a:cubicBezTo>
                    <a:cubicBezTo>
                      <a:pt x="20419" y="16940"/>
                      <a:pt x="18583" y="12987"/>
                      <a:pt x="16156" y="9629"/>
                    </a:cubicBezTo>
                    <a:close/>
                  </a:path>
                </a:pathLst>
              </a:custGeom>
              <a:solidFill>
                <a:schemeClr val="accent3"/>
              </a:solidFill>
              <a:ln w="12700" cap="flat">
                <a:noFill/>
                <a:miter lim="400000"/>
              </a:ln>
              <a:effectLst>
                <a:outerShdw blurRad="25400" dist="12700" dir="5400000" rotWithShape="0">
                  <a:srgbClr val="000000">
                    <a:alpha val="53938"/>
                  </a:srgbClr>
                </a:outerShdw>
              </a:effectLst>
            </p:spPr>
            <p:txBody>
              <a:bodyPr wrap="square" lIns="45719" tIns="45719" rIns="45719" bIns="45719" numCol="1" anchor="t">
                <a:noAutofit/>
              </a:bodyPr>
              <a:lstStyle/>
              <a:p>
                <a:pPr algn="l" defTabSz="685800">
                  <a:defRPr sz="1300" b="0" cap="none">
                    <a:solidFill>
                      <a:srgbClr val="000000"/>
                    </a:solidFill>
                    <a:effectLst/>
                    <a:latin typeface="open sans"/>
                    <a:ea typeface="open sans"/>
                    <a:cs typeface="open sans"/>
                    <a:sym typeface="open sans"/>
                  </a:defRPr>
                </a:pPr>
                <a:endParaRPr dirty="0"/>
              </a:p>
            </p:txBody>
          </p:sp>
          <p:sp>
            <p:nvSpPr>
              <p:cNvPr id="1440" name="Freeform 35"/>
              <p:cNvSpPr/>
              <p:nvPr/>
            </p:nvSpPr>
            <p:spPr>
              <a:xfrm>
                <a:off x="1576785" y="1299113"/>
                <a:ext cx="3394883" cy="2482529"/>
              </a:xfrm>
              <a:custGeom>
                <a:avLst/>
                <a:gdLst/>
                <a:ahLst/>
                <a:cxnLst>
                  <a:cxn ang="0">
                    <a:pos x="wd2" y="hd2"/>
                  </a:cxn>
                  <a:cxn ang="5400000">
                    <a:pos x="wd2" y="hd2"/>
                  </a:cxn>
                  <a:cxn ang="10800000">
                    <a:pos x="wd2" y="hd2"/>
                  </a:cxn>
                  <a:cxn ang="16200000">
                    <a:pos x="wd2" y="hd2"/>
                  </a:cxn>
                </a:cxnLst>
                <a:rect l="0" t="0" r="r" b="b"/>
                <a:pathLst>
                  <a:path w="21600" h="21600" extrusionOk="0">
                    <a:moveTo>
                      <a:pt x="21368" y="975"/>
                    </a:moveTo>
                    <a:cubicBezTo>
                      <a:pt x="21368" y="589"/>
                      <a:pt x="21467" y="249"/>
                      <a:pt x="21600" y="0"/>
                    </a:cubicBezTo>
                    <a:cubicBezTo>
                      <a:pt x="15500" y="431"/>
                      <a:pt x="9781" y="3898"/>
                      <a:pt x="5421" y="9859"/>
                    </a:cubicBezTo>
                    <a:cubicBezTo>
                      <a:pt x="3050" y="13101"/>
                      <a:pt x="1227" y="16886"/>
                      <a:pt x="0" y="21011"/>
                    </a:cubicBezTo>
                    <a:cubicBezTo>
                      <a:pt x="315" y="21215"/>
                      <a:pt x="647" y="21396"/>
                      <a:pt x="978" y="21600"/>
                    </a:cubicBezTo>
                    <a:cubicBezTo>
                      <a:pt x="4310" y="10381"/>
                      <a:pt x="12118" y="2289"/>
                      <a:pt x="21351" y="1473"/>
                    </a:cubicBezTo>
                    <a:cubicBezTo>
                      <a:pt x="21351" y="1292"/>
                      <a:pt x="21368" y="1133"/>
                      <a:pt x="21368" y="975"/>
                    </a:cubicBezTo>
                    <a:close/>
                  </a:path>
                </a:pathLst>
              </a:custGeom>
              <a:solidFill>
                <a:schemeClr val="accent3"/>
              </a:solidFill>
              <a:ln w="12700" cap="flat">
                <a:noFill/>
                <a:miter lim="400000"/>
              </a:ln>
              <a:effectLst>
                <a:outerShdw blurRad="25400" dist="12700" dir="5400000" rotWithShape="0">
                  <a:srgbClr val="000000">
                    <a:alpha val="53938"/>
                  </a:srgbClr>
                </a:outerShdw>
              </a:effectLst>
            </p:spPr>
            <p:txBody>
              <a:bodyPr wrap="square" lIns="45719" tIns="45719" rIns="45719" bIns="45719" numCol="1" anchor="t">
                <a:noAutofit/>
              </a:bodyPr>
              <a:lstStyle/>
              <a:p>
                <a:pPr algn="l" defTabSz="685800">
                  <a:defRPr sz="1300" b="0" cap="none">
                    <a:solidFill>
                      <a:srgbClr val="000000"/>
                    </a:solidFill>
                    <a:effectLst/>
                    <a:latin typeface="open sans"/>
                    <a:ea typeface="open sans"/>
                    <a:cs typeface="open sans"/>
                    <a:sym typeface="open sans"/>
                  </a:defRPr>
                </a:pPr>
                <a:endParaRPr dirty="0"/>
              </a:p>
            </p:txBody>
          </p:sp>
        </p:grpSp>
        <p:grpSp>
          <p:nvGrpSpPr>
            <p:cNvPr id="1445" name="Group"/>
            <p:cNvGrpSpPr/>
            <p:nvPr/>
          </p:nvGrpSpPr>
          <p:grpSpPr>
            <a:xfrm>
              <a:off x="6516964" y="4553949"/>
              <a:ext cx="13686900" cy="1668190"/>
              <a:chOff x="0" y="-50800"/>
              <a:chExt cx="13686898" cy="1668188"/>
            </a:xfrm>
          </p:grpSpPr>
          <p:sp>
            <p:nvSpPr>
              <p:cNvPr id="1442" name="Ministry of Economic Planning and Budget…"/>
              <p:cNvSpPr txBox="1"/>
              <p:nvPr/>
            </p:nvSpPr>
            <p:spPr>
              <a:xfrm>
                <a:off x="0" y="75931"/>
                <a:ext cx="7058481" cy="1414724"/>
              </a:xfrm>
              <a:prstGeom prst="rect">
                <a:avLst/>
              </a:prstGeom>
              <a:noFill/>
              <a:ln w="25400" cap="flat">
                <a:noFill/>
                <a:miter lim="400000"/>
              </a:ln>
              <a:effectLst>
                <a:outerShdw blurRad="25400" dist="12700" dir="5400000" rotWithShape="0">
                  <a:srgbClr val="000000">
                    <a:alpha val="47147"/>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8" tIns="45718" rIns="45718" bIns="45718" numCol="1" anchor="ctr">
                <a:noAutofit/>
              </a:bodyPr>
              <a:lstStyle/>
              <a:p>
                <a:pPr algn="l" defTabSz="2438400">
                  <a:defRPr sz="2900">
                    <a:solidFill>
                      <a:srgbClr val="000000"/>
                    </a:solidFill>
                    <a:effectLst>
                      <a:outerShdw blurRad="12700" dist="12700" dir="18900000" rotWithShape="0">
                        <a:srgbClr val="000000">
                          <a:alpha val="24000"/>
                        </a:srgbClr>
                      </a:outerShdw>
                    </a:effectLst>
                  </a:defRPr>
                </a:pPr>
                <a:r>
                  <a:rPr dirty="0"/>
                  <a:t>Ministry of Economic Planning and Budget</a:t>
                </a:r>
              </a:p>
              <a:p>
                <a:pPr algn="l" defTabSz="2438400">
                  <a:defRPr sz="2900" b="0">
                    <a:solidFill>
                      <a:srgbClr val="000000"/>
                    </a:solidFill>
                    <a:effectLst>
                      <a:outerShdw blurRad="12700" dist="12700" dir="18900000" rotWithShape="0">
                        <a:srgbClr val="000000">
                          <a:alpha val="24000"/>
                        </a:srgbClr>
                      </a:outerShdw>
                    </a:effectLst>
                  </a:defRPr>
                </a:pPr>
                <a:r>
                  <a:rPr dirty="0"/>
                  <a:t>Government Secretariat, Alausa, Ikeja, </a:t>
                </a:r>
              </a:p>
              <a:p>
                <a:pPr algn="l" defTabSz="2438400">
                  <a:defRPr sz="2900" b="0">
                    <a:solidFill>
                      <a:srgbClr val="000000"/>
                    </a:solidFill>
                    <a:effectLst>
                      <a:outerShdw blurRad="12700" dist="12700" dir="18900000" rotWithShape="0">
                        <a:srgbClr val="000000">
                          <a:alpha val="24000"/>
                        </a:srgbClr>
                      </a:outerShdw>
                    </a:effectLst>
                  </a:defRPr>
                </a:pPr>
                <a:r>
                  <a:rPr dirty="0"/>
                  <a:t>Lagos State, Nigeria.</a:t>
                </a:r>
              </a:p>
            </p:txBody>
          </p:sp>
          <p:sp>
            <p:nvSpPr>
              <p:cNvPr id="1443" name="web: http://mepb.lagosstate.gov.ng…"/>
              <p:cNvSpPr txBox="1"/>
              <p:nvPr/>
            </p:nvSpPr>
            <p:spPr>
              <a:xfrm>
                <a:off x="7528342" y="75931"/>
                <a:ext cx="6158556" cy="1414724"/>
              </a:xfrm>
              <a:prstGeom prst="rect">
                <a:avLst/>
              </a:prstGeom>
              <a:noFill/>
              <a:ln w="25400" cap="flat">
                <a:noFill/>
                <a:miter lim="400000"/>
              </a:ln>
              <a:effectLst>
                <a:outerShdw blurRad="25400" dist="12700" dir="5400000" rotWithShape="0">
                  <a:srgbClr val="000000">
                    <a:alpha val="47147"/>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8" tIns="45718" rIns="45718" bIns="45718" numCol="1" anchor="ctr">
                <a:noAutofit/>
              </a:bodyPr>
              <a:lstStyle/>
              <a:p>
                <a:pPr algn="l" defTabSz="2438400">
                  <a:defRPr sz="2900" b="0">
                    <a:solidFill>
                      <a:srgbClr val="000000"/>
                    </a:solidFill>
                    <a:effectLst>
                      <a:outerShdw blurRad="12700" dist="12700" dir="18900000" rotWithShape="0">
                        <a:srgbClr val="000000">
                          <a:alpha val="24000"/>
                        </a:srgbClr>
                      </a:outerShdw>
                    </a:effectLst>
                  </a:defRPr>
                </a:pPr>
                <a:r>
                  <a:rPr dirty="0"/>
                  <a:t>web: </a:t>
                </a:r>
                <a:r>
                  <a:rPr lang="en-US" dirty="0"/>
                  <a:t>   </a:t>
                </a:r>
                <a:r>
                  <a:rPr sz="2400" dirty="0">
                    <a:hlinkClick r:id="rId2"/>
                  </a:rPr>
                  <a:t>http://mepb.lagosstate.gov.ng</a:t>
                </a:r>
                <a:endParaRPr lang="en-US" sz="2400" dirty="0"/>
              </a:p>
              <a:p>
                <a:pPr algn="l" defTabSz="2438400">
                  <a:defRPr sz="2900" b="0">
                    <a:solidFill>
                      <a:srgbClr val="000000"/>
                    </a:solidFill>
                    <a:effectLst>
                      <a:outerShdw blurRad="12700" dist="12700" dir="18900000" rotWithShape="0">
                        <a:srgbClr val="000000">
                          <a:alpha val="24000"/>
                        </a:srgbClr>
                      </a:outerShdw>
                    </a:effectLst>
                  </a:defRPr>
                </a:pPr>
                <a:r>
                  <a:rPr lang="en-NG" sz="2400" dirty="0"/>
                  <a:t>             </a:t>
                </a:r>
                <a:r>
                  <a:rPr lang="en-NG" sz="2000" dirty="0"/>
                  <a:t>HTTPS://LAGOSMEPB.ORG</a:t>
                </a:r>
                <a:endParaRPr sz="2000" dirty="0"/>
              </a:p>
              <a:p>
                <a:pPr algn="l" defTabSz="2438400">
                  <a:defRPr sz="2900" b="0">
                    <a:solidFill>
                      <a:srgbClr val="000000"/>
                    </a:solidFill>
                    <a:effectLst>
                      <a:outerShdw blurRad="12700" dist="12700" dir="18900000" rotWithShape="0">
                        <a:srgbClr val="000000">
                          <a:alpha val="24000"/>
                        </a:srgbClr>
                      </a:outerShdw>
                    </a:effectLst>
                  </a:defRPr>
                </a:pPr>
                <a:r>
                  <a:rPr sz="2400" dirty="0"/>
                  <a:t>email: </a:t>
                </a:r>
                <a:r>
                  <a:rPr lang="en-US" sz="2400" dirty="0"/>
                  <a:t>    </a:t>
                </a:r>
                <a:r>
                  <a:rPr lang="en-GB" sz="2400" dirty="0"/>
                  <a:t>I</a:t>
                </a:r>
                <a:r>
                  <a:rPr sz="2400" dirty="0" err="1"/>
                  <a:t>nfo@lagosstate.gov.ng</a:t>
                </a:r>
                <a:endParaRPr sz="2400" dirty="0"/>
              </a:p>
              <a:p>
                <a:pPr algn="l" defTabSz="2438400">
                  <a:defRPr sz="2900" b="0">
                    <a:solidFill>
                      <a:srgbClr val="000000"/>
                    </a:solidFill>
                    <a:effectLst>
                      <a:outerShdw blurRad="12700" dist="12700" dir="18900000" rotWithShape="0">
                        <a:srgbClr val="000000">
                          <a:alpha val="24000"/>
                        </a:srgbClr>
                      </a:outerShdw>
                    </a:effectLst>
                  </a:defRPr>
                </a:pPr>
                <a:r>
                  <a:rPr sz="2400" dirty="0"/>
                  <a:t>twitter: @</a:t>
                </a:r>
                <a:r>
                  <a:rPr sz="2400" dirty="0" err="1"/>
                  <a:t>followlasg</a:t>
                </a:r>
                <a:endParaRPr lang="en-US" sz="2400" dirty="0"/>
              </a:p>
              <a:p>
                <a:pPr algn="l" defTabSz="2438400">
                  <a:defRPr sz="2900" b="0">
                    <a:solidFill>
                      <a:srgbClr val="000000"/>
                    </a:solidFill>
                    <a:effectLst>
                      <a:outerShdw blurRad="12700" dist="12700" dir="18900000" rotWithShape="0">
                        <a:srgbClr val="000000">
                          <a:alpha val="24000"/>
                        </a:srgbClr>
                      </a:outerShdw>
                    </a:effectLst>
                  </a:defRPr>
                </a:pPr>
                <a:r>
                  <a:rPr lang="en-NG" sz="2400" dirty="0"/>
                  <a:t>             @LAGOSMEPB</a:t>
                </a:r>
                <a:endParaRPr sz="2400" dirty="0"/>
              </a:p>
            </p:txBody>
          </p:sp>
          <p:pic>
            <p:nvPicPr>
              <p:cNvPr id="1444" name="Line Line" descr="Line Line"/>
              <p:cNvPicPr>
                <a:picLocks/>
              </p:cNvPicPr>
              <p:nvPr/>
            </p:nvPicPr>
            <p:blipFill>
              <a:blip r:embed="rId3"/>
              <a:stretch>
                <a:fillRect/>
              </a:stretch>
            </p:blipFill>
            <p:spPr>
              <a:xfrm rot="16200000">
                <a:off x="6384344" y="732493"/>
                <a:ext cx="1668188" cy="101601"/>
              </a:xfrm>
              <a:prstGeom prst="rect">
                <a:avLst/>
              </a:prstGeom>
              <a:effectLst>
                <a:outerShdw blurRad="25400" dist="12700" dir="5400000" rotWithShape="0">
                  <a:srgbClr val="000000">
                    <a:alpha val="91363"/>
                  </a:srgbClr>
                </a:outerShdw>
              </a:effectLst>
            </p:spPr>
          </p:pic>
        </p:grpSp>
        <p:pic>
          <p:nvPicPr>
            <p:cNvPr id="1446" name="LSGv.jpeg" descr="LSGv.jpeg"/>
            <p:cNvPicPr>
              <a:picLocks noChangeAspect="1"/>
            </p:cNvPicPr>
            <p:nvPr/>
          </p:nvPicPr>
          <p:blipFill>
            <a:blip r:embed="rId4"/>
            <a:srcRect l="3588" t="1736" r="1237" b="75"/>
            <a:stretch>
              <a:fillRect/>
            </a:stretch>
          </p:blipFill>
          <p:spPr>
            <a:xfrm>
              <a:off x="3302141" y="3529691"/>
              <a:ext cx="3134102" cy="3233360"/>
            </a:xfrm>
            <a:custGeom>
              <a:avLst/>
              <a:gdLst/>
              <a:ahLst/>
              <a:cxnLst>
                <a:cxn ang="0">
                  <a:pos x="wd2" y="hd2"/>
                </a:cxn>
                <a:cxn ang="5400000">
                  <a:pos x="wd2" y="hd2"/>
                </a:cxn>
                <a:cxn ang="10800000">
                  <a:pos x="wd2" y="hd2"/>
                </a:cxn>
                <a:cxn ang="16200000">
                  <a:pos x="wd2" y="hd2"/>
                </a:cxn>
              </a:cxnLst>
              <a:rect l="0" t="0" r="r" b="b"/>
              <a:pathLst>
                <a:path w="21386" h="21594" extrusionOk="0">
                  <a:moveTo>
                    <a:pt x="4729" y="3"/>
                  </a:moveTo>
                  <a:cubicBezTo>
                    <a:pt x="4545" y="28"/>
                    <a:pt x="4260" y="221"/>
                    <a:pt x="4019" y="503"/>
                  </a:cubicBezTo>
                  <a:cubicBezTo>
                    <a:pt x="3818" y="739"/>
                    <a:pt x="3611" y="907"/>
                    <a:pt x="3561" y="877"/>
                  </a:cubicBezTo>
                  <a:cubicBezTo>
                    <a:pt x="3512" y="847"/>
                    <a:pt x="3376" y="621"/>
                    <a:pt x="3258" y="374"/>
                  </a:cubicBezTo>
                  <a:cubicBezTo>
                    <a:pt x="3131" y="106"/>
                    <a:pt x="3045" y="-1"/>
                    <a:pt x="3044" y="106"/>
                  </a:cubicBezTo>
                  <a:cubicBezTo>
                    <a:pt x="3044" y="205"/>
                    <a:pt x="3080" y="323"/>
                    <a:pt x="3125" y="368"/>
                  </a:cubicBezTo>
                  <a:cubicBezTo>
                    <a:pt x="3171" y="414"/>
                    <a:pt x="3234" y="626"/>
                    <a:pt x="3263" y="843"/>
                  </a:cubicBezTo>
                  <a:cubicBezTo>
                    <a:pt x="3293" y="1060"/>
                    <a:pt x="3338" y="1343"/>
                    <a:pt x="3364" y="1471"/>
                  </a:cubicBezTo>
                  <a:cubicBezTo>
                    <a:pt x="3451" y="1902"/>
                    <a:pt x="3238" y="1815"/>
                    <a:pt x="2960" y="1307"/>
                  </a:cubicBezTo>
                  <a:cubicBezTo>
                    <a:pt x="2489" y="442"/>
                    <a:pt x="2335" y="304"/>
                    <a:pt x="1804" y="254"/>
                  </a:cubicBezTo>
                  <a:cubicBezTo>
                    <a:pt x="1176" y="195"/>
                    <a:pt x="983" y="357"/>
                    <a:pt x="983" y="946"/>
                  </a:cubicBezTo>
                  <a:cubicBezTo>
                    <a:pt x="983" y="957"/>
                    <a:pt x="983" y="960"/>
                    <a:pt x="983" y="970"/>
                  </a:cubicBezTo>
                  <a:cubicBezTo>
                    <a:pt x="1040" y="831"/>
                    <a:pt x="1210" y="694"/>
                    <a:pt x="1487" y="578"/>
                  </a:cubicBezTo>
                  <a:cubicBezTo>
                    <a:pt x="1667" y="502"/>
                    <a:pt x="1775" y="461"/>
                    <a:pt x="1855" y="453"/>
                  </a:cubicBezTo>
                  <a:cubicBezTo>
                    <a:pt x="1935" y="446"/>
                    <a:pt x="1986" y="472"/>
                    <a:pt x="2048" y="525"/>
                  </a:cubicBezTo>
                  <a:cubicBezTo>
                    <a:pt x="2127" y="592"/>
                    <a:pt x="2240" y="630"/>
                    <a:pt x="2297" y="609"/>
                  </a:cubicBezTo>
                  <a:cubicBezTo>
                    <a:pt x="2493" y="539"/>
                    <a:pt x="2503" y="736"/>
                    <a:pt x="2316" y="970"/>
                  </a:cubicBezTo>
                  <a:cubicBezTo>
                    <a:pt x="2136" y="1193"/>
                    <a:pt x="2122" y="1197"/>
                    <a:pt x="1958" y="1052"/>
                  </a:cubicBezTo>
                  <a:cubicBezTo>
                    <a:pt x="1791" y="904"/>
                    <a:pt x="1673" y="950"/>
                    <a:pt x="1614" y="1169"/>
                  </a:cubicBezTo>
                  <a:cubicBezTo>
                    <a:pt x="1676" y="1111"/>
                    <a:pt x="1733" y="1126"/>
                    <a:pt x="1872" y="1209"/>
                  </a:cubicBezTo>
                  <a:cubicBezTo>
                    <a:pt x="2096" y="1342"/>
                    <a:pt x="2726" y="2550"/>
                    <a:pt x="2641" y="2685"/>
                  </a:cubicBezTo>
                  <a:cubicBezTo>
                    <a:pt x="2608" y="2737"/>
                    <a:pt x="2448" y="2700"/>
                    <a:pt x="2237" y="2595"/>
                  </a:cubicBezTo>
                  <a:cubicBezTo>
                    <a:pt x="1860" y="2406"/>
                    <a:pt x="1231" y="2367"/>
                    <a:pt x="853" y="2507"/>
                  </a:cubicBezTo>
                  <a:cubicBezTo>
                    <a:pt x="622" y="2593"/>
                    <a:pt x="1" y="3187"/>
                    <a:pt x="0" y="3324"/>
                  </a:cubicBezTo>
                  <a:cubicBezTo>
                    <a:pt x="0" y="3363"/>
                    <a:pt x="36" y="3373"/>
                    <a:pt x="81" y="3345"/>
                  </a:cubicBezTo>
                  <a:cubicBezTo>
                    <a:pt x="127" y="3317"/>
                    <a:pt x="191" y="3336"/>
                    <a:pt x="222" y="3385"/>
                  </a:cubicBezTo>
                  <a:cubicBezTo>
                    <a:pt x="306" y="3517"/>
                    <a:pt x="588" y="3492"/>
                    <a:pt x="715" y="3342"/>
                  </a:cubicBezTo>
                  <a:cubicBezTo>
                    <a:pt x="842" y="3192"/>
                    <a:pt x="1303" y="3165"/>
                    <a:pt x="1389" y="3302"/>
                  </a:cubicBezTo>
                  <a:cubicBezTo>
                    <a:pt x="1421" y="3353"/>
                    <a:pt x="1522" y="3368"/>
                    <a:pt x="1614" y="3340"/>
                  </a:cubicBezTo>
                  <a:cubicBezTo>
                    <a:pt x="1814" y="3278"/>
                    <a:pt x="2177" y="3446"/>
                    <a:pt x="2102" y="3565"/>
                  </a:cubicBezTo>
                  <a:cubicBezTo>
                    <a:pt x="2073" y="3611"/>
                    <a:pt x="1937" y="3650"/>
                    <a:pt x="1801" y="3650"/>
                  </a:cubicBezTo>
                  <a:cubicBezTo>
                    <a:pt x="1305" y="3650"/>
                    <a:pt x="741" y="3906"/>
                    <a:pt x="596" y="4198"/>
                  </a:cubicBezTo>
                  <a:cubicBezTo>
                    <a:pt x="521" y="4350"/>
                    <a:pt x="480" y="4505"/>
                    <a:pt x="504" y="4543"/>
                  </a:cubicBezTo>
                  <a:cubicBezTo>
                    <a:pt x="580" y="4664"/>
                    <a:pt x="945" y="4620"/>
                    <a:pt x="1408" y="4432"/>
                  </a:cubicBezTo>
                  <a:cubicBezTo>
                    <a:pt x="1771" y="4284"/>
                    <a:pt x="1935" y="4262"/>
                    <a:pt x="2251" y="4323"/>
                  </a:cubicBezTo>
                  <a:cubicBezTo>
                    <a:pt x="2466" y="4365"/>
                    <a:pt x="2638" y="4438"/>
                    <a:pt x="2635" y="4485"/>
                  </a:cubicBezTo>
                  <a:cubicBezTo>
                    <a:pt x="2632" y="4531"/>
                    <a:pt x="2477" y="4654"/>
                    <a:pt x="2289" y="4758"/>
                  </a:cubicBezTo>
                  <a:cubicBezTo>
                    <a:pt x="1429" y="5229"/>
                    <a:pt x="865" y="6061"/>
                    <a:pt x="1046" y="6592"/>
                  </a:cubicBezTo>
                  <a:cubicBezTo>
                    <a:pt x="1153" y="6906"/>
                    <a:pt x="1286" y="6887"/>
                    <a:pt x="1400" y="6541"/>
                  </a:cubicBezTo>
                  <a:cubicBezTo>
                    <a:pt x="1456" y="6373"/>
                    <a:pt x="1555" y="6234"/>
                    <a:pt x="1622" y="6234"/>
                  </a:cubicBezTo>
                  <a:cubicBezTo>
                    <a:pt x="1690" y="6234"/>
                    <a:pt x="1940" y="6043"/>
                    <a:pt x="2178" y="5810"/>
                  </a:cubicBezTo>
                  <a:cubicBezTo>
                    <a:pt x="2415" y="5577"/>
                    <a:pt x="2631" y="5408"/>
                    <a:pt x="2660" y="5436"/>
                  </a:cubicBezTo>
                  <a:cubicBezTo>
                    <a:pt x="2688" y="5464"/>
                    <a:pt x="2706" y="5762"/>
                    <a:pt x="2695" y="6096"/>
                  </a:cubicBezTo>
                  <a:cubicBezTo>
                    <a:pt x="2659" y="7173"/>
                    <a:pt x="2988" y="8233"/>
                    <a:pt x="3399" y="8365"/>
                  </a:cubicBezTo>
                  <a:cubicBezTo>
                    <a:pt x="3504" y="8399"/>
                    <a:pt x="3497" y="8361"/>
                    <a:pt x="3372" y="8174"/>
                  </a:cubicBezTo>
                  <a:cubicBezTo>
                    <a:pt x="3248" y="7989"/>
                    <a:pt x="3240" y="7928"/>
                    <a:pt x="3334" y="7893"/>
                  </a:cubicBezTo>
                  <a:cubicBezTo>
                    <a:pt x="3473" y="7841"/>
                    <a:pt x="3518" y="7529"/>
                    <a:pt x="3396" y="7456"/>
                  </a:cubicBezTo>
                  <a:cubicBezTo>
                    <a:pt x="3280" y="7385"/>
                    <a:pt x="3290" y="6685"/>
                    <a:pt x="3410" y="6568"/>
                  </a:cubicBezTo>
                  <a:cubicBezTo>
                    <a:pt x="3480" y="6499"/>
                    <a:pt x="3481" y="6422"/>
                    <a:pt x="3410" y="6292"/>
                  </a:cubicBezTo>
                  <a:cubicBezTo>
                    <a:pt x="3288" y="6070"/>
                    <a:pt x="3417" y="5968"/>
                    <a:pt x="3662" y="6096"/>
                  </a:cubicBezTo>
                  <a:cubicBezTo>
                    <a:pt x="3896" y="6219"/>
                    <a:pt x="3913" y="6290"/>
                    <a:pt x="4071" y="7846"/>
                  </a:cubicBezTo>
                  <a:cubicBezTo>
                    <a:pt x="4327" y="10377"/>
                    <a:pt x="4207" y="13123"/>
                    <a:pt x="3748" y="15172"/>
                  </a:cubicBezTo>
                  <a:cubicBezTo>
                    <a:pt x="3551" y="16053"/>
                    <a:pt x="3478" y="16175"/>
                    <a:pt x="3261" y="15999"/>
                  </a:cubicBezTo>
                  <a:cubicBezTo>
                    <a:pt x="3134" y="15895"/>
                    <a:pt x="3095" y="15901"/>
                    <a:pt x="2993" y="16038"/>
                  </a:cubicBezTo>
                  <a:cubicBezTo>
                    <a:pt x="2831" y="16255"/>
                    <a:pt x="2440" y="16446"/>
                    <a:pt x="2280" y="16386"/>
                  </a:cubicBezTo>
                  <a:cubicBezTo>
                    <a:pt x="2197" y="16354"/>
                    <a:pt x="2118" y="16417"/>
                    <a:pt x="2061" y="16563"/>
                  </a:cubicBezTo>
                  <a:cubicBezTo>
                    <a:pt x="2012" y="16689"/>
                    <a:pt x="1918" y="16791"/>
                    <a:pt x="1850" y="16791"/>
                  </a:cubicBezTo>
                  <a:cubicBezTo>
                    <a:pt x="1782" y="16791"/>
                    <a:pt x="1629" y="16886"/>
                    <a:pt x="1511" y="17001"/>
                  </a:cubicBezTo>
                  <a:cubicBezTo>
                    <a:pt x="1394" y="17115"/>
                    <a:pt x="1171" y="17233"/>
                    <a:pt x="1016" y="17266"/>
                  </a:cubicBezTo>
                  <a:cubicBezTo>
                    <a:pt x="861" y="17299"/>
                    <a:pt x="664" y="17405"/>
                    <a:pt x="577" y="17499"/>
                  </a:cubicBezTo>
                  <a:cubicBezTo>
                    <a:pt x="426" y="17662"/>
                    <a:pt x="428" y="17694"/>
                    <a:pt x="634" y="18289"/>
                  </a:cubicBezTo>
                  <a:cubicBezTo>
                    <a:pt x="752" y="18630"/>
                    <a:pt x="971" y="19132"/>
                    <a:pt x="1119" y="19405"/>
                  </a:cubicBezTo>
                  <a:cubicBezTo>
                    <a:pt x="1345" y="19822"/>
                    <a:pt x="1465" y="19939"/>
                    <a:pt x="1880" y="20141"/>
                  </a:cubicBezTo>
                  <a:cubicBezTo>
                    <a:pt x="2855" y="20617"/>
                    <a:pt x="3645" y="20760"/>
                    <a:pt x="5324" y="20762"/>
                  </a:cubicBezTo>
                  <a:cubicBezTo>
                    <a:pt x="6330" y="20763"/>
                    <a:pt x="7135" y="20715"/>
                    <a:pt x="7697" y="20621"/>
                  </a:cubicBezTo>
                  <a:cubicBezTo>
                    <a:pt x="8164" y="20543"/>
                    <a:pt x="8576" y="20506"/>
                    <a:pt x="8612" y="20542"/>
                  </a:cubicBezTo>
                  <a:cubicBezTo>
                    <a:pt x="8648" y="20577"/>
                    <a:pt x="8732" y="20761"/>
                    <a:pt x="8799" y="20950"/>
                  </a:cubicBezTo>
                  <a:cubicBezTo>
                    <a:pt x="8866" y="21139"/>
                    <a:pt x="8978" y="21319"/>
                    <a:pt x="9048" y="21350"/>
                  </a:cubicBezTo>
                  <a:cubicBezTo>
                    <a:pt x="9118" y="21382"/>
                    <a:pt x="9258" y="21451"/>
                    <a:pt x="9357" y="21504"/>
                  </a:cubicBezTo>
                  <a:cubicBezTo>
                    <a:pt x="9452" y="21555"/>
                    <a:pt x="9958" y="21582"/>
                    <a:pt x="10502" y="21594"/>
                  </a:cubicBezTo>
                  <a:cubicBezTo>
                    <a:pt x="11442" y="21585"/>
                    <a:pt x="11905" y="21573"/>
                    <a:pt x="12019" y="21557"/>
                  </a:cubicBezTo>
                  <a:cubicBezTo>
                    <a:pt x="12075" y="21548"/>
                    <a:pt x="12133" y="21539"/>
                    <a:pt x="12154" y="21528"/>
                  </a:cubicBezTo>
                  <a:cubicBezTo>
                    <a:pt x="12240" y="21482"/>
                    <a:pt x="12421" y="21424"/>
                    <a:pt x="12560" y="21395"/>
                  </a:cubicBezTo>
                  <a:cubicBezTo>
                    <a:pt x="12752" y="21356"/>
                    <a:pt x="12857" y="21246"/>
                    <a:pt x="12991" y="20950"/>
                  </a:cubicBezTo>
                  <a:cubicBezTo>
                    <a:pt x="13049" y="20822"/>
                    <a:pt x="13103" y="20727"/>
                    <a:pt x="13151" y="20656"/>
                  </a:cubicBezTo>
                  <a:lnTo>
                    <a:pt x="13153" y="20650"/>
                  </a:lnTo>
                  <a:lnTo>
                    <a:pt x="13170" y="20608"/>
                  </a:lnTo>
                  <a:lnTo>
                    <a:pt x="13189" y="20611"/>
                  </a:lnTo>
                  <a:cubicBezTo>
                    <a:pt x="13202" y="20595"/>
                    <a:pt x="13222" y="20560"/>
                    <a:pt x="13229" y="20560"/>
                  </a:cubicBezTo>
                  <a:cubicBezTo>
                    <a:pt x="13264" y="20561"/>
                    <a:pt x="13837" y="20621"/>
                    <a:pt x="14502" y="20695"/>
                  </a:cubicBezTo>
                  <a:cubicBezTo>
                    <a:pt x="16266" y="20893"/>
                    <a:pt x="17758" y="20885"/>
                    <a:pt x="18821" y="20666"/>
                  </a:cubicBezTo>
                  <a:cubicBezTo>
                    <a:pt x="20206" y="20382"/>
                    <a:pt x="20278" y="20329"/>
                    <a:pt x="20880" y="19179"/>
                  </a:cubicBezTo>
                  <a:cubicBezTo>
                    <a:pt x="21600" y="17802"/>
                    <a:pt x="21561" y="17400"/>
                    <a:pt x="20701" y="17266"/>
                  </a:cubicBezTo>
                  <a:cubicBezTo>
                    <a:pt x="20686" y="17263"/>
                    <a:pt x="20675" y="17259"/>
                    <a:pt x="20663" y="17255"/>
                  </a:cubicBezTo>
                  <a:cubicBezTo>
                    <a:pt x="20636" y="17254"/>
                    <a:pt x="20621" y="17250"/>
                    <a:pt x="20598" y="17247"/>
                  </a:cubicBezTo>
                  <a:cubicBezTo>
                    <a:pt x="20592" y="17246"/>
                    <a:pt x="20585" y="17246"/>
                    <a:pt x="20579" y="17244"/>
                  </a:cubicBezTo>
                  <a:cubicBezTo>
                    <a:pt x="20492" y="17232"/>
                    <a:pt x="20423" y="17209"/>
                    <a:pt x="20381" y="17162"/>
                  </a:cubicBezTo>
                  <a:cubicBezTo>
                    <a:pt x="20301" y="17120"/>
                    <a:pt x="20234" y="17068"/>
                    <a:pt x="20189" y="17001"/>
                  </a:cubicBezTo>
                  <a:cubicBezTo>
                    <a:pt x="20112" y="16886"/>
                    <a:pt x="19987" y="16791"/>
                    <a:pt x="19913" y="16791"/>
                  </a:cubicBezTo>
                  <a:cubicBezTo>
                    <a:pt x="19839" y="16791"/>
                    <a:pt x="19757" y="16734"/>
                    <a:pt x="19729" y="16661"/>
                  </a:cubicBezTo>
                  <a:cubicBezTo>
                    <a:pt x="19700" y="16589"/>
                    <a:pt x="19615" y="16529"/>
                    <a:pt x="19542" y="16529"/>
                  </a:cubicBezTo>
                  <a:cubicBezTo>
                    <a:pt x="19469" y="16529"/>
                    <a:pt x="19388" y="16454"/>
                    <a:pt x="19363" y="16362"/>
                  </a:cubicBezTo>
                  <a:cubicBezTo>
                    <a:pt x="19338" y="16269"/>
                    <a:pt x="19212" y="16166"/>
                    <a:pt x="19081" y="16134"/>
                  </a:cubicBezTo>
                  <a:cubicBezTo>
                    <a:pt x="18951" y="16102"/>
                    <a:pt x="18789" y="16031"/>
                    <a:pt x="18721" y="15975"/>
                  </a:cubicBezTo>
                  <a:cubicBezTo>
                    <a:pt x="18653" y="15918"/>
                    <a:pt x="18432" y="15829"/>
                    <a:pt x="18231" y="15779"/>
                  </a:cubicBezTo>
                  <a:cubicBezTo>
                    <a:pt x="18189" y="15768"/>
                    <a:pt x="18164" y="15759"/>
                    <a:pt x="18131" y="15750"/>
                  </a:cubicBezTo>
                  <a:cubicBezTo>
                    <a:pt x="18113" y="15749"/>
                    <a:pt x="18087" y="15748"/>
                    <a:pt x="18071" y="15747"/>
                  </a:cubicBezTo>
                  <a:cubicBezTo>
                    <a:pt x="18070" y="15747"/>
                    <a:pt x="18067" y="15747"/>
                    <a:pt x="18066" y="15747"/>
                  </a:cubicBezTo>
                  <a:cubicBezTo>
                    <a:pt x="18037" y="15745"/>
                    <a:pt x="18006" y="15721"/>
                    <a:pt x="17977" y="15686"/>
                  </a:cubicBezTo>
                  <a:cubicBezTo>
                    <a:pt x="17866" y="15621"/>
                    <a:pt x="17815" y="15525"/>
                    <a:pt x="17746" y="15299"/>
                  </a:cubicBezTo>
                  <a:cubicBezTo>
                    <a:pt x="17681" y="15084"/>
                    <a:pt x="17544" y="14393"/>
                    <a:pt x="17440" y="13767"/>
                  </a:cubicBezTo>
                  <a:cubicBezTo>
                    <a:pt x="17111" y="11782"/>
                    <a:pt x="17167" y="8601"/>
                    <a:pt x="17565" y="6735"/>
                  </a:cubicBezTo>
                  <a:cubicBezTo>
                    <a:pt x="17624" y="6458"/>
                    <a:pt x="17698" y="6275"/>
                    <a:pt x="17773" y="6194"/>
                  </a:cubicBezTo>
                  <a:cubicBezTo>
                    <a:pt x="17781" y="6178"/>
                    <a:pt x="17792" y="6134"/>
                    <a:pt x="17798" y="6128"/>
                  </a:cubicBezTo>
                  <a:cubicBezTo>
                    <a:pt x="17799" y="6127"/>
                    <a:pt x="17799" y="6129"/>
                    <a:pt x="17801" y="6128"/>
                  </a:cubicBezTo>
                  <a:cubicBezTo>
                    <a:pt x="17801" y="6128"/>
                    <a:pt x="17800" y="6125"/>
                    <a:pt x="17801" y="6125"/>
                  </a:cubicBezTo>
                  <a:cubicBezTo>
                    <a:pt x="17802" y="6124"/>
                    <a:pt x="17805" y="6126"/>
                    <a:pt x="17806" y="6125"/>
                  </a:cubicBezTo>
                  <a:cubicBezTo>
                    <a:pt x="17816" y="6120"/>
                    <a:pt x="17826" y="6123"/>
                    <a:pt x="17838" y="6131"/>
                  </a:cubicBezTo>
                  <a:cubicBezTo>
                    <a:pt x="17849" y="6135"/>
                    <a:pt x="17859" y="6138"/>
                    <a:pt x="17871" y="6152"/>
                  </a:cubicBezTo>
                  <a:cubicBezTo>
                    <a:pt x="17907" y="6158"/>
                    <a:pt x="17944" y="6188"/>
                    <a:pt x="17977" y="6250"/>
                  </a:cubicBezTo>
                  <a:cubicBezTo>
                    <a:pt x="18054" y="6398"/>
                    <a:pt x="18114" y="6712"/>
                    <a:pt x="18123" y="6918"/>
                  </a:cubicBezTo>
                  <a:cubicBezTo>
                    <a:pt x="18124" y="6919"/>
                    <a:pt x="18122" y="6921"/>
                    <a:pt x="18123" y="6923"/>
                  </a:cubicBezTo>
                  <a:cubicBezTo>
                    <a:pt x="18126" y="6936"/>
                    <a:pt x="18131" y="6952"/>
                    <a:pt x="18128" y="6966"/>
                  </a:cubicBezTo>
                  <a:cubicBezTo>
                    <a:pt x="18128" y="6967"/>
                    <a:pt x="18129" y="6969"/>
                    <a:pt x="18128" y="6971"/>
                  </a:cubicBezTo>
                  <a:cubicBezTo>
                    <a:pt x="18128" y="7038"/>
                    <a:pt x="18121" y="7086"/>
                    <a:pt x="18104" y="7103"/>
                  </a:cubicBezTo>
                  <a:cubicBezTo>
                    <a:pt x="18073" y="7133"/>
                    <a:pt x="18040" y="7404"/>
                    <a:pt x="18031" y="7702"/>
                  </a:cubicBezTo>
                  <a:lnTo>
                    <a:pt x="18014" y="8225"/>
                  </a:lnTo>
                  <a:cubicBezTo>
                    <a:pt x="18015" y="8226"/>
                    <a:pt x="18014" y="8226"/>
                    <a:pt x="18014" y="8227"/>
                  </a:cubicBezTo>
                  <a:cubicBezTo>
                    <a:pt x="18018" y="8230"/>
                    <a:pt x="18022" y="8233"/>
                    <a:pt x="18025" y="8235"/>
                  </a:cubicBezTo>
                  <a:lnTo>
                    <a:pt x="18207" y="8007"/>
                  </a:lnTo>
                  <a:cubicBezTo>
                    <a:pt x="18313" y="7876"/>
                    <a:pt x="18455" y="7582"/>
                    <a:pt x="18518" y="7353"/>
                  </a:cubicBezTo>
                  <a:cubicBezTo>
                    <a:pt x="18659" y="6843"/>
                    <a:pt x="18736" y="6689"/>
                    <a:pt x="18849" y="6698"/>
                  </a:cubicBezTo>
                  <a:cubicBezTo>
                    <a:pt x="18983" y="6708"/>
                    <a:pt x="19237" y="7250"/>
                    <a:pt x="19325" y="7710"/>
                  </a:cubicBezTo>
                  <a:cubicBezTo>
                    <a:pt x="19417" y="8191"/>
                    <a:pt x="19492" y="8295"/>
                    <a:pt x="19610" y="8113"/>
                  </a:cubicBezTo>
                  <a:cubicBezTo>
                    <a:pt x="19723" y="7938"/>
                    <a:pt x="19717" y="6873"/>
                    <a:pt x="19601" y="6576"/>
                  </a:cubicBezTo>
                  <a:cubicBezTo>
                    <a:pt x="19528" y="6387"/>
                    <a:pt x="19537" y="6305"/>
                    <a:pt x="19645" y="6200"/>
                  </a:cubicBezTo>
                  <a:cubicBezTo>
                    <a:pt x="19814" y="6034"/>
                    <a:pt x="19921" y="6127"/>
                    <a:pt x="20027" y="6533"/>
                  </a:cubicBezTo>
                  <a:cubicBezTo>
                    <a:pt x="20137" y="6956"/>
                    <a:pt x="20294" y="6965"/>
                    <a:pt x="20365" y="6552"/>
                  </a:cubicBezTo>
                  <a:cubicBezTo>
                    <a:pt x="20412" y="6279"/>
                    <a:pt x="20377" y="6105"/>
                    <a:pt x="20205" y="5754"/>
                  </a:cubicBezTo>
                  <a:cubicBezTo>
                    <a:pt x="20072" y="5482"/>
                    <a:pt x="20031" y="5374"/>
                    <a:pt x="20056" y="5309"/>
                  </a:cubicBezTo>
                  <a:cubicBezTo>
                    <a:pt x="20057" y="5303"/>
                    <a:pt x="20051" y="5292"/>
                    <a:pt x="20054" y="5288"/>
                  </a:cubicBezTo>
                  <a:cubicBezTo>
                    <a:pt x="20071" y="5261"/>
                    <a:pt x="20097" y="5247"/>
                    <a:pt x="20124" y="5240"/>
                  </a:cubicBezTo>
                  <a:cubicBezTo>
                    <a:pt x="20131" y="5236"/>
                    <a:pt x="20133" y="5231"/>
                    <a:pt x="20140" y="5227"/>
                  </a:cubicBezTo>
                  <a:cubicBezTo>
                    <a:pt x="20241" y="5174"/>
                    <a:pt x="20330" y="5182"/>
                    <a:pt x="20398" y="5248"/>
                  </a:cubicBezTo>
                  <a:cubicBezTo>
                    <a:pt x="20454" y="5304"/>
                    <a:pt x="20501" y="5314"/>
                    <a:pt x="20501" y="5274"/>
                  </a:cubicBezTo>
                  <a:cubicBezTo>
                    <a:pt x="20501" y="5249"/>
                    <a:pt x="20528" y="5255"/>
                    <a:pt x="20563" y="5272"/>
                  </a:cubicBezTo>
                  <a:cubicBezTo>
                    <a:pt x="20578" y="5265"/>
                    <a:pt x="20600" y="5262"/>
                    <a:pt x="20612" y="5269"/>
                  </a:cubicBezTo>
                  <a:cubicBezTo>
                    <a:pt x="20628" y="5277"/>
                    <a:pt x="20643" y="5295"/>
                    <a:pt x="20663" y="5327"/>
                  </a:cubicBezTo>
                  <a:cubicBezTo>
                    <a:pt x="20667" y="5335"/>
                    <a:pt x="20670" y="5332"/>
                    <a:pt x="20674" y="5338"/>
                  </a:cubicBezTo>
                  <a:cubicBezTo>
                    <a:pt x="20741" y="5377"/>
                    <a:pt x="20773" y="5349"/>
                    <a:pt x="20812" y="5229"/>
                  </a:cubicBezTo>
                  <a:cubicBezTo>
                    <a:pt x="20899" y="4961"/>
                    <a:pt x="20784" y="4553"/>
                    <a:pt x="20536" y="4265"/>
                  </a:cubicBezTo>
                  <a:cubicBezTo>
                    <a:pt x="20332" y="4028"/>
                    <a:pt x="20368" y="3823"/>
                    <a:pt x="20590" y="3957"/>
                  </a:cubicBezTo>
                  <a:cubicBezTo>
                    <a:pt x="20742" y="4049"/>
                    <a:pt x="20791" y="3759"/>
                    <a:pt x="20679" y="3430"/>
                  </a:cubicBezTo>
                  <a:cubicBezTo>
                    <a:pt x="20514" y="2941"/>
                    <a:pt x="19579" y="2569"/>
                    <a:pt x="19271" y="2870"/>
                  </a:cubicBezTo>
                  <a:cubicBezTo>
                    <a:pt x="19116" y="3022"/>
                    <a:pt x="18896" y="2900"/>
                    <a:pt x="18951" y="2693"/>
                  </a:cubicBezTo>
                  <a:cubicBezTo>
                    <a:pt x="19028" y="2407"/>
                    <a:pt x="19205" y="2306"/>
                    <a:pt x="19412" y="2433"/>
                  </a:cubicBezTo>
                  <a:cubicBezTo>
                    <a:pt x="19556" y="2521"/>
                    <a:pt x="19618" y="2520"/>
                    <a:pt x="19731" y="2428"/>
                  </a:cubicBezTo>
                  <a:cubicBezTo>
                    <a:pt x="20023" y="2191"/>
                    <a:pt x="19813" y="1059"/>
                    <a:pt x="19452" y="925"/>
                  </a:cubicBezTo>
                  <a:cubicBezTo>
                    <a:pt x="18972" y="746"/>
                    <a:pt x="18723" y="823"/>
                    <a:pt x="18291" y="1283"/>
                  </a:cubicBezTo>
                  <a:cubicBezTo>
                    <a:pt x="17828" y="1775"/>
                    <a:pt x="17730" y="1762"/>
                    <a:pt x="17557" y="1195"/>
                  </a:cubicBezTo>
                  <a:cubicBezTo>
                    <a:pt x="17498" y="1002"/>
                    <a:pt x="17409" y="843"/>
                    <a:pt x="17362" y="843"/>
                  </a:cubicBezTo>
                  <a:cubicBezTo>
                    <a:pt x="17328" y="843"/>
                    <a:pt x="17310" y="860"/>
                    <a:pt x="17297" y="882"/>
                  </a:cubicBezTo>
                  <a:cubicBezTo>
                    <a:pt x="17295" y="890"/>
                    <a:pt x="17295" y="902"/>
                    <a:pt x="17294" y="912"/>
                  </a:cubicBezTo>
                  <a:cubicBezTo>
                    <a:pt x="17296" y="933"/>
                    <a:pt x="17304" y="941"/>
                    <a:pt x="17305" y="962"/>
                  </a:cubicBezTo>
                  <a:cubicBezTo>
                    <a:pt x="17306" y="1005"/>
                    <a:pt x="17317" y="1036"/>
                    <a:pt x="17321" y="1081"/>
                  </a:cubicBezTo>
                  <a:cubicBezTo>
                    <a:pt x="17331" y="1121"/>
                    <a:pt x="17333" y="1150"/>
                    <a:pt x="17356" y="1211"/>
                  </a:cubicBezTo>
                  <a:cubicBezTo>
                    <a:pt x="17401" y="1327"/>
                    <a:pt x="17399" y="1501"/>
                    <a:pt x="17354" y="1619"/>
                  </a:cubicBezTo>
                  <a:cubicBezTo>
                    <a:pt x="17278" y="1817"/>
                    <a:pt x="17266" y="1820"/>
                    <a:pt x="17056" y="1686"/>
                  </a:cubicBezTo>
                  <a:cubicBezTo>
                    <a:pt x="16904" y="1589"/>
                    <a:pt x="16633" y="1545"/>
                    <a:pt x="16184" y="1545"/>
                  </a:cubicBezTo>
                  <a:cubicBezTo>
                    <a:pt x="15879" y="1545"/>
                    <a:pt x="15699" y="1561"/>
                    <a:pt x="15566" y="1617"/>
                  </a:cubicBezTo>
                  <a:cubicBezTo>
                    <a:pt x="15511" y="1649"/>
                    <a:pt x="15459" y="1692"/>
                    <a:pt x="15409" y="1749"/>
                  </a:cubicBezTo>
                  <a:cubicBezTo>
                    <a:pt x="15335" y="1835"/>
                    <a:pt x="15317" y="1873"/>
                    <a:pt x="15282" y="1924"/>
                  </a:cubicBezTo>
                  <a:cubicBezTo>
                    <a:pt x="15256" y="1975"/>
                    <a:pt x="15231" y="2017"/>
                    <a:pt x="15203" y="2083"/>
                  </a:cubicBezTo>
                  <a:cubicBezTo>
                    <a:pt x="15205" y="2120"/>
                    <a:pt x="15218" y="2156"/>
                    <a:pt x="15250" y="2200"/>
                  </a:cubicBezTo>
                  <a:lnTo>
                    <a:pt x="15263" y="2218"/>
                  </a:lnTo>
                  <a:cubicBezTo>
                    <a:pt x="15296" y="2220"/>
                    <a:pt x="15327" y="2223"/>
                    <a:pt x="15393" y="2213"/>
                  </a:cubicBezTo>
                  <a:lnTo>
                    <a:pt x="15401" y="2200"/>
                  </a:lnTo>
                  <a:cubicBezTo>
                    <a:pt x="15442" y="2125"/>
                    <a:pt x="15496" y="2095"/>
                    <a:pt x="15539" y="2123"/>
                  </a:cubicBezTo>
                  <a:cubicBezTo>
                    <a:pt x="15578" y="2147"/>
                    <a:pt x="15673" y="2165"/>
                    <a:pt x="15753" y="2165"/>
                  </a:cubicBezTo>
                  <a:cubicBezTo>
                    <a:pt x="15839" y="2165"/>
                    <a:pt x="15894" y="2195"/>
                    <a:pt x="15886" y="2237"/>
                  </a:cubicBezTo>
                  <a:cubicBezTo>
                    <a:pt x="15881" y="2261"/>
                    <a:pt x="15908" y="2281"/>
                    <a:pt x="15951" y="2293"/>
                  </a:cubicBezTo>
                  <a:cubicBezTo>
                    <a:pt x="15954" y="2273"/>
                    <a:pt x="15961" y="2256"/>
                    <a:pt x="15975" y="2242"/>
                  </a:cubicBezTo>
                  <a:cubicBezTo>
                    <a:pt x="15993" y="2224"/>
                    <a:pt x="16011" y="2218"/>
                    <a:pt x="16027" y="2218"/>
                  </a:cubicBezTo>
                  <a:cubicBezTo>
                    <a:pt x="16028" y="2154"/>
                    <a:pt x="16072" y="2113"/>
                    <a:pt x="16135" y="2123"/>
                  </a:cubicBezTo>
                  <a:cubicBezTo>
                    <a:pt x="16165" y="2128"/>
                    <a:pt x="16198" y="2145"/>
                    <a:pt x="16233" y="2176"/>
                  </a:cubicBezTo>
                  <a:cubicBezTo>
                    <a:pt x="16259" y="2200"/>
                    <a:pt x="16267" y="2218"/>
                    <a:pt x="16279" y="2237"/>
                  </a:cubicBezTo>
                  <a:cubicBezTo>
                    <a:pt x="16312" y="2211"/>
                    <a:pt x="16340" y="2213"/>
                    <a:pt x="16365" y="2250"/>
                  </a:cubicBezTo>
                  <a:cubicBezTo>
                    <a:pt x="16369" y="2247"/>
                    <a:pt x="16381" y="2245"/>
                    <a:pt x="16384" y="2242"/>
                  </a:cubicBezTo>
                  <a:cubicBezTo>
                    <a:pt x="16450" y="2178"/>
                    <a:pt x="16611" y="2257"/>
                    <a:pt x="16690" y="2354"/>
                  </a:cubicBezTo>
                  <a:cubicBezTo>
                    <a:pt x="16706" y="2339"/>
                    <a:pt x="16721" y="2332"/>
                    <a:pt x="16736" y="2340"/>
                  </a:cubicBezTo>
                  <a:cubicBezTo>
                    <a:pt x="16759" y="2353"/>
                    <a:pt x="16784" y="2394"/>
                    <a:pt x="16823" y="2470"/>
                  </a:cubicBezTo>
                  <a:cubicBezTo>
                    <a:pt x="16828" y="2479"/>
                    <a:pt x="16830" y="2485"/>
                    <a:pt x="16834" y="2494"/>
                  </a:cubicBezTo>
                  <a:cubicBezTo>
                    <a:pt x="16838" y="2479"/>
                    <a:pt x="16846" y="2466"/>
                    <a:pt x="16861" y="2457"/>
                  </a:cubicBezTo>
                  <a:cubicBezTo>
                    <a:pt x="16891" y="2438"/>
                    <a:pt x="16931" y="2446"/>
                    <a:pt x="16950" y="2475"/>
                  </a:cubicBezTo>
                  <a:cubicBezTo>
                    <a:pt x="16969" y="2505"/>
                    <a:pt x="16959" y="2545"/>
                    <a:pt x="16929" y="2563"/>
                  </a:cubicBezTo>
                  <a:cubicBezTo>
                    <a:pt x="16904" y="2578"/>
                    <a:pt x="16876" y="2572"/>
                    <a:pt x="16855" y="2555"/>
                  </a:cubicBezTo>
                  <a:cubicBezTo>
                    <a:pt x="16857" y="2560"/>
                    <a:pt x="16856" y="2561"/>
                    <a:pt x="16858" y="2566"/>
                  </a:cubicBezTo>
                  <a:cubicBezTo>
                    <a:pt x="16892" y="2594"/>
                    <a:pt x="16912" y="2628"/>
                    <a:pt x="16891" y="2661"/>
                  </a:cubicBezTo>
                  <a:cubicBezTo>
                    <a:pt x="16887" y="2667"/>
                    <a:pt x="16882" y="2664"/>
                    <a:pt x="16877" y="2669"/>
                  </a:cubicBezTo>
                  <a:cubicBezTo>
                    <a:pt x="16876" y="2670"/>
                    <a:pt x="16878" y="2679"/>
                    <a:pt x="16877" y="2680"/>
                  </a:cubicBezTo>
                  <a:cubicBezTo>
                    <a:pt x="16865" y="2691"/>
                    <a:pt x="16849" y="2693"/>
                    <a:pt x="16834" y="2695"/>
                  </a:cubicBezTo>
                  <a:cubicBezTo>
                    <a:pt x="16828" y="2697"/>
                    <a:pt x="16822" y="2704"/>
                    <a:pt x="16818" y="2703"/>
                  </a:cubicBezTo>
                  <a:cubicBezTo>
                    <a:pt x="16817" y="2703"/>
                    <a:pt x="16813" y="2701"/>
                    <a:pt x="16812" y="2701"/>
                  </a:cubicBezTo>
                  <a:cubicBezTo>
                    <a:pt x="16809" y="2700"/>
                    <a:pt x="16775" y="2697"/>
                    <a:pt x="16766" y="2695"/>
                  </a:cubicBezTo>
                  <a:cubicBezTo>
                    <a:pt x="16725" y="2688"/>
                    <a:pt x="16658" y="2674"/>
                    <a:pt x="16558" y="2658"/>
                  </a:cubicBezTo>
                  <a:cubicBezTo>
                    <a:pt x="16412" y="2635"/>
                    <a:pt x="16336" y="2595"/>
                    <a:pt x="16333" y="2558"/>
                  </a:cubicBezTo>
                  <a:cubicBezTo>
                    <a:pt x="16266" y="2558"/>
                    <a:pt x="16246" y="2564"/>
                    <a:pt x="16151" y="2563"/>
                  </a:cubicBezTo>
                  <a:cubicBezTo>
                    <a:pt x="16046" y="2562"/>
                    <a:pt x="15989" y="2566"/>
                    <a:pt x="15913" y="2568"/>
                  </a:cubicBezTo>
                  <a:cubicBezTo>
                    <a:pt x="15829" y="2607"/>
                    <a:pt x="15754" y="2644"/>
                    <a:pt x="15621" y="2685"/>
                  </a:cubicBezTo>
                  <a:cubicBezTo>
                    <a:pt x="15349" y="2768"/>
                    <a:pt x="15161" y="2869"/>
                    <a:pt x="15055" y="2987"/>
                  </a:cubicBezTo>
                  <a:cubicBezTo>
                    <a:pt x="15054" y="2988"/>
                    <a:pt x="15055" y="2991"/>
                    <a:pt x="15055" y="2992"/>
                  </a:cubicBezTo>
                  <a:cubicBezTo>
                    <a:pt x="15020" y="3041"/>
                    <a:pt x="14989" y="3091"/>
                    <a:pt x="14965" y="3146"/>
                  </a:cubicBezTo>
                  <a:cubicBezTo>
                    <a:pt x="14939" y="3245"/>
                    <a:pt x="14959" y="3353"/>
                    <a:pt x="15033" y="3467"/>
                  </a:cubicBezTo>
                  <a:cubicBezTo>
                    <a:pt x="15090" y="3555"/>
                    <a:pt x="15136" y="3554"/>
                    <a:pt x="15217" y="3499"/>
                  </a:cubicBezTo>
                  <a:cubicBezTo>
                    <a:pt x="15286" y="3369"/>
                    <a:pt x="15317" y="3340"/>
                    <a:pt x="15374" y="3416"/>
                  </a:cubicBezTo>
                  <a:cubicBezTo>
                    <a:pt x="15388" y="3415"/>
                    <a:pt x="15398" y="3420"/>
                    <a:pt x="15398" y="3432"/>
                  </a:cubicBezTo>
                  <a:cubicBezTo>
                    <a:pt x="15398" y="3470"/>
                    <a:pt x="15475" y="3430"/>
                    <a:pt x="15572" y="3345"/>
                  </a:cubicBezTo>
                  <a:cubicBezTo>
                    <a:pt x="15578" y="3339"/>
                    <a:pt x="15585" y="3339"/>
                    <a:pt x="15591" y="3334"/>
                  </a:cubicBezTo>
                  <a:cubicBezTo>
                    <a:pt x="15631" y="3287"/>
                    <a:pt x="15679" y="3259"/>
                    <a:pt x="15729" y="3249"/>
                  </a:cubicBezTo>
                  <a:cubicBezTo>
                    <a:pt x="15730" y="3249"/>
                    <a:pt x="15728" y="3247"/>
                    <a:pt x="15729" y="3247"/>
                  </a:cubicBezTo>
                  <a:cubicBezTo>
                    <a:pt x="15732" y="3246"/>
                    <a:pt x="15737" y="3247"/>
                    <a:pt x="15740" y="3247"/>
                  </a:cubicBezTo>
                  <a:cubicBezTo>
                    <a:pt x="15762" y="3244"/>
                    <a:pt x="15781" y="3233"/>
                    <a:pt x="15807" y="3236"/>
                  </a:cubicBezTo>
                  <a:cubicBezTo>
                    <a:pt x="15818" y="3237"/>
                    <a:pt x="15822" y="3240"/>
                    <a:pt x="15832" y="3242"/>
                  </a:cubicBezTo>
                  <a:cubicBezTo>
                    <a:pt x="15849" y="3243"/>
                    <a:pt x="15866" y="3246"/>
                    <a:pt x="15881" y="3252"/>
                  </a:cubicBezTo>
                  <a:cubicBezTo>
                    <a:pt x="15905" y="3260"/>
                    <a:pt x="15921" y="3276"/>
                    <a:pt x="15932" y="3295"/>
                  </a:cubicBezTo>
                  <a:cubicBezTo>
                    <a:pt x="15965" y="3334"/>
                    <a:pt x="15989" y="3386"/>
                    <a:pt x="15983" y="3464"/>
                  </a:cubicBezTo>
                  <a:cubicBezTo>
                    <a:pt x="15965" y="3704"/>
                    <a:pt x="15930" y="3728"/>
                    <a:pt x="15588" y="3753"/>
                  </a:cubicBezTo>
                  <a:cubicBezTo>
                    <a:pt x="15428" y="3765"/>
                    <a:pt x="15171" y="3879"/>
                    <a:pt x="15014" y="4008"/>
                  </a:cubicBezTo>
                  <a:lnTo>
                    <a:pt x="14730" y="4238"/>
                  </a:lnTo>
                  <a:lnTo>
                    <a:pt x="15458" y="4241"/>
                  </a:lnTo>
                  <a:cubicBezTo>
                    <a:pt x="16271" y="4242"/>
                    <a:pt x="16450" y="4294"/>
                    <a:pt x="16287" y="4487"/>
                  </a:cubicBezTo>
                  <a:cubicBezTo>
                    <a:pt x="16162" y="4634"/>
                    <a:pt x="14192" y="4670"/>
                    <a:pt x="14101" y="4527"/>
                  </a:cubicBezTo>
                  <a:cubicBezTo>
                    <a:pt x="14071" y="4480"/>
                    <a:pt x="14089" y="4362"/>
                    <a:pt x="14142" y="4265"/>
                  </a:cubicBezTo>
                  <a:cubicBezTo>
                    <a:pt x="14230" y="4103"/>
                    <a:pt x="14213" y="4087"/>
                    <a:pt x="13942" y="4087"/>
                  </a:cubicBezTo>
                  <a:cubicBezTo>
                    <a:pt x="13777" y="4087"/>
                    <a:pt x="13600" y="4127"/>
                    <a:pt x="13549" y="4177"/>
                  </a:cubicBezTo>
                  <a:cubicBezTo>
                    <a:pt x="13488" y="4236"/>
                    <a:pt x="13302" y="4245"/>
                    <a:pt x="13021" y="4198"/>
                  </a:cubicBezTo>
                  <a:lnTo>
                    <a:pt x="12582" y="4129"/>
                  </a:lnTo>
                  <a:lnTo>
                    <a:pt x="12609" y="3732"/>
                  </a:lnTo>
                  <a:cubicBezTo>
                    <a:pt x="12628" y="3438"/>
                    <a:pt x="12565" y="3193"/>
                    <a:pt x="12363" y="2775"/>
                  </a:cubicBezTo>
                  <a:cubicBezTo>
                    <a:pt x="12213" y="2466"/>
                    <a:pt x="12042" y="1993"/>
                    <a:pt x="11984" y="1725"/>
                  </a:cubicBezTo>
                  <a:cubicBezTo>
                    <a:pt x="11925" y="1458"/>
                    <a:pt x="11846" y="1203"/>
                    <a:pt x="11808" y="1161"/>
                  </a:cubicBezTo>
                  <a:cubicBezTo>
                    <a:pt x="11772" y="1121"/>
                    <a:pt x="11275" y="1091"/>
                    <a:pt x="10695" y="1087"/>
                  </a:cubicBezTo>
                  <a:cubicBezTo>
                    <a:pt x="10692" y="1087"/>
                    <a:pt x="10689" y="1087"/>
                    <a:pt x="10686" y="1087"/>
                  </a:cubicBezTo>
                  <a:cubicBezTo>
                    <a:pt x="10665" y="1087"/>
                    <a:pt x="10642" y="1087"/>
                    <a:pt x="10619" y="1087"/>
                  </a:cubicBezTo>
                  <a:cubicBezTo>
                    <a:pt x="10570" y="1086"/>
                    <a:pt x="10520" y="1086"/>
                    <a:pt x="10475" y="1084"/>
                  </a:cubicBezTo>
                  <a:lnTo>
                    <a:pt x="9443" y="1084"/>
                  </a:lnTo>
                  <a:lnTo>
                    <a:pt x="9319" y="1423"/>
                  </a:lnTo>
                  <a:cubicBezTo>
                    <a:pt x="9250" y="1610"/>
                    <a:pt x="9033" y="2174"/>
                    <a:pt x="8837" y="2674"/>
                  </a:cubicBezTo>
                  <a:cubicBezTo>
                    <a:pt x="8524" y="3473"/>
                    <a:pt x="8491" y="3620"/>
                    <a:pt x="8574" y="3883"/>
                  </a:cubicBezTo>
                  <a:cubicBezTo>
                    <a:pt x="8661" y="4161"/>
                    <a:pt x="8653" y="4188"/>
                    <a:pt x="8447" y="4265"/>
                  </a:cubicBezTo>
                  <a:cubicBezTo>
                    <a:pt x="8129" y="4383"/>
                    <a:pt x="7692" y="4363"/>
                    <a:pt x="7431" y="4217"/>
                  </a:cubicBezTo>
                  <a:cubicBezTo>
                    <a:pt x="7308" y="4148"/>
                    <a:pt x="7134" y="4091"/>
                    <a:pt x="7047" y="4090"/>
                  </a:cubicBezTo>
                  <a:cubicBezTo>
                    <a:pt x="6900" y="4087"/>
                    <a:pt x="6897" y="4107"/>
                    <a:pt x="7020" y="4339"/>
                  </a:cubicBezTo>
                  <a:cubicBezTo>
                    <a:pt x="7093" y="4477"/>
                    <a:pt x="7129" y="4616"/>
                    <a:pt x="7098" y="4646"/>
                  </a:cubicBezTo>
                  <a:cubicBezTo>
                    <a:pt x="6972" y="4770"/>
                    <a:pt x="6704" y="4688"/>
                    <a:pt x="6632" y="4503"/>
                  </a:cubicBezTo>
                  <a:cubicBezTo>
                    <a:pt x="6525" y="4227"/>
                    <a:pt x="6281" y="4041"/>
                    <a:pt x="5863" y="3912"/>
                  </a:cubicBezTo>
                  <a:cubicBezTo>
                    <a:pt x="5666" y="3852"/>
                    <a:pt x="5454" y="3764"/>
                    <a:pt x="5392" y="3716"/>
                  </a:cubicBezTo>
                  <a:cubicBezTo>
                    <a:pt x="5298" y="3643"/>
                    <a:pt x="5283" y="3520"/>
                    <a:pt x="5311" y="3414"/>
                  </a:cubicBezTo>
                  <a:cubicBezTo>
                    <a:pt x="5311" y="3409"/>
                    <a:pt x="5308" y="3403"/>
                    <a:pt x="5308" y="3398"/>
                  </a:cubicBezTo>
                  <a:cubicBezTo>
                    <a:pt x="5308" y="3383"/>
                    <a:pt x="5315" y="3381"/>
                    <a:pt x="5316" y="3369"/>
                  </a:cubicBezTo>
                  <a:cubicBezTo>
                    <a:pt x="5322" y="3317"/>
                    <a:pt x="5344" y="3287"/>
                    <a:pt x="5381" y="3273"/>
                  </a:cubicBezTo>
                  <a:cubicBezTo>
                    <a:pt x="5392" y="3259"/>
                    <a:pt x="5406" y="3256"/>
                    <a:pt x="5419" y="3252"/>
                  </a:cubicBezTo>
                  <a:cubicBezTo>
                    <a:pt x="5425" y="3246"/>
                    <a:pt x="5430" y="3239"/>
                    <a:pt x="5438" y="3236"/>
                  </a:cubicBezTo>
                  <a:cubicBezTo>
                    <a:pt x="5524" y="3205"/>
                    <a:pt x="5635" y="3125"/>
                    <a:pt x="5685" y="3061"/>
                  </a:cubicBezTo>
                  <a:cubicBezTo>
                    <a:pt x="5734" y="2997"/>
                    <a:pt x="5908" y="2928"/>
                    <a:pt x="6072" y="2908"/>
                  </a:cubicBezTo>
                  <a:cubicBezTo>
                    <a:pt x="6235" y="2887"/>
                    <a:pt x="6423" y="2825"/>
                    <a:pt x="6492" y="2770"/>
                  </a:cubicBezTo>
                  <a:cubicBezTo>
                    <a:pt x="6560" y="2714"/>
                    <a:pt x="6657" y="2696"/>
                    <a:pt x="6708" y="2727"/>
                  </a:cubicBezTo>
                  <a:cubicBezTo>
                    <a:pt x="6870" y="2825"/>
                    <a:pt x="6812" y="2699"/>
                    <a:pt x="6608" y="2513"/>
                  </a:cubicBezTo>
                  <a:cubicBezTo>
                    <a:pt x="6457" y="2375"/>
                    <a:pt x="6291" y="2335"/>
                    <a:pt x="5885" y="2335"/>
                  </a:cubicBezTo>
                  <a:cubicBezTo>
                    <a:pt x="5596" y="2335"/>
                    <a:pt x="5279" y="2378"/>
                    <a:pt x="5178" y="2430"/>
                  </a:cubicBezTo>
                  <a:cubicBezTo>
                    <a:pt x="5110" y="2466"/>
                    <a:pt x="5049" y="2474"/>
                    <a:pt x="4997" y="2470"/>
                  </a:cubicBezTo>
                  <a:cubicBezTo>
                    <a:pt x="4935" y="2499"/>
                    <a:pt x="4876" y="2529"/>
                    <a:pt x="4818" y="2563"/>
                  </a:cubicBezTo>
                  <a:cubicBezTo>
                    <a:pt x="4752" y="2604"/>
                    <a:pt x="4686" y="2645"/>
                    <a:pt x="4626" y="2695"/>
                  </a:cubicBezTo>
                  <a:cubicBezTo>
                    <a:pt x="4571" y="2741"/>
                    <a:pt x="4497" y="2763"/>
                    <a:pt x="4460" y="2741"/>
                  </a:cubicBezTo>
                  <a:cubicBezTo>
                    <a:pt x="4438" y="2727"/>
                    <a:pt x="4431" y="2704"/>
                    <a:pt x="4439" y="2677"/>
                  </a:cubicBezTo>
                  <a:cubicBezTo>
                    <a:pt x="4447" y="2651"/>
                    <a:pt x="4470" y="2618"/>
                    <a:pt x="4501" y="2584"/>
                  </a:cubicBezTo>
                  <a:cubicBezTo>
                    <a:pt x="4502" y="2583"/>
                    <a:pt x="4503" y="2585"/>
                    <a:pt x="4504" y="2584"/>
                  </a:cubicBezTo>
                  <a:cubicBezTo>
                    <a:pt x="4513" y="2574"/>
                    <a:pt x="4530" y="2563"/>
                    <a:pt x="4542" y="2552"/>
                  </a:cubicBezTo>
                  <a:cubicBezTo>
                    <a:pt x="4571" y="2526"/>
                    <a:pt x="4597" y="2499"/>
                    <a:pt x="4636" y="2470"/>
                  </a:cubicBezTo>
                  <a:cubicBezTo>
                    <a:pt x="4691" y="2431"/>
                    <a:pt x="4757" y="2391"/>
                    <a:pt x="4829" y="2351"/>
                  </a:cubicBezTo>
                  <a:cubicBezTo>
                    <a:pt x="4884" y="2321"/>
                    <a:pt x="4940" y="2276"/>
                    <a:pt x="4991" y="2232"/>
                  </a:cubicBezTo>
                  <a:cubicBezTo>
                    <a:pt x="5036" y="2172"/>
                    <a:pt x="5089" y="2109"/>
                    <a:pt x="5162" y="2038"/>
                  </a:cubicBezTo>
                  <a:cubicBezTo>
                    <a:pt x="5163" y="2037"/>
                    <a:pt x="5161" y="2034"/>
                    <a:pt x="5162" y="2033"/>
                  </a:cubicBezTo>
                  <a:cubicBezTo>
                    <a:pt x="5190" y="1987"/>
                    <a:pt x="5215" y="1959"/>
                    <a:pt x="5235" y="1945"/>
                  </a:cubicBezTo>
                  <a:cubicBezTo>
                    <a:pt x="5246" y="1935"/>
                    <a:pt x="5252" y="1936"/>
                    <a:pt x="5262" y="1929"/>
                  </a:cubicBezTo>
                  <a:cubicBezTo>
                    <a:pt x="5275" y="1921"/>
                    <a:pt x="5290" y="1908"/>
                    <a:pt x="5300" y="1908"/>
                  </a:cubicBezTo>
                  <a:cubicBezTo>
                    <a:pt x="5305" y="1908"/>
                    <a:pt x="5318" y="1900"/>
                    <a:pt x="5324" y="1898"/>
                  </a:cubicBezTo>
                  <a:cubicBezTo>
                    <a:pt x="5514" y="1736"/>
                    <a:pt x="5736" y="1572"/>
                    <a:pt x="5966" y="1444"/>
                  </a:cubicBezTo>
                  <a:cubicBezTo>
                    <a:pt x="6235" y="1296"/>
                    <a:pt x="6437" y="1130"/>
                    <a:pt x="6418" y="1076"/>
                  </a:cubicBezTo>
                  <a:cubicBezTo>
                    <a:pt x="6368" y="928"/>
                    <a:pt x="5643" y="838"/>
                    <a:pt x="5284" y="933"/>
                  </a:cubicBezTo>
                  <a:cubicBezTo>
                    <a:pt x="5109" y="979"/>
                    <a:pt x="4757" y="1196"/>
                    <a:pt x="4498" y="1418"/>
                  </a:cubicBezTo>
                  <a:cubicBezTo>
                    <a:pt x="4240" y="1640"/>
                    <a:pt x="4023" y="1807"/>
                    <a:pt x="4016" y="1792"/>
                  </a:cubicBezTo>
                  <a:cubicBezTo>
                    <a:pt x="3958" y="1646"/>
                    <a:pt x="3980" y="1438"/>
                    <a:pt x="4035" y="1251"/>
                  </a:cubicBezTo>
                  <a:cubicBezTo>
                    <a:pt x="4036" y="1246"/>
                    <a:pt x="4031" y="1237"/>
                    <a:pt x="4033" y="1232"/>
                  </a:cubicBezTo>
                  <a:cubicBezTo>
                    <a:pt x="4034" y="1228"/>
                    <a:pt x="4039" y="1226"/>
                    <a:pt x="4041" y="1222"/>
                  </a:cubicBezTo>
                  <a:cubicBezTo>
                    <a:pt x="4108" y="1015"/>
                    <a:pt x="4222" y="843"/>
                    <a:pt x="4344" y="843"/>
                  </a:cubicBezTo>
                  <a:cubicBezTo>
                    <a:pt x="4417" y="843"/>
                    <a:pt x="4474" y="785"/>
                    <a:pt x="4474" y="716"/>
                  </a:cubicBezTo>
                  <a:cubicBezTo>
                    <a:pt x="4474" y="646"/>
                    <a:pt x="4532" y="558"/>
                    <a:pt x="4599" y="519"/>
                  </a:cubicBezTo>
                  <a:cubicBezTo>
                    <a:pt x="4743" y="436"/>
                    <a:pt x="4937" y="98"/>
                    <a:pt x="4875" y="37"/>
                  </a:cubicBezTo>
                  <a:cubicBezTo>
                    <a:pt x="4842" y="5"/>
                    <a:pt x="4790" y="-6"/>
                    <a:pt x="4729" y="3"/>
                  </a:cubicBezTo>
                  <a:close/>
                  <a:moveTo>
                    <a:pt x="989" y="1169"/>
                  </a:moveTo>
                  <a:cubicBezTo>
                    <a:pt x="1001" y="1346"/>
                    <a:pt x="1049" y="1366"/>
                    <a:pt x="1203" y="1368"/>
                  </a:cubicBezTo>
                  <a:cubicBezTo>
                    <a:pt x="1162" y="1348"/>
                    <a:pt x="1121" y="1330"/>
                    <a:pt x="1081" y="1296"/>
                  </a:cubicBezTo>
                  <a:cubicBezTo>
                    <a:pt x="1033" y="1255"/>
                    <a:pt x="1008" y="1213"/>
                    <a:pt x="989" y="1169"/>
                  </a:cubicBezTo>
                  <a:close/>
                  <a:moveTo>
                    <a:pt x="10296" y="2446"/>
                  </a:moveTo>
                  <a:cubicBezTo>
                    <a:pt x="10313" y="2450"/>
                    <a:pt x="10328" y="2461"/>
                    <a:pt x="10337" y="2475"/>
                  </a:cubicBezTo>
                  <a:cubicBezTo>
                    <a:pt x="10356" y="2505"/>
                    <a:pt x="10349" y="2545"/>
                    <a:pt x="10318" y="2563"/>
                  </a:cubicBezTo>
                  <a:cubicBezTo>
                    <a:pt x="10288" y="2581"/>
                    <a:pt x="10248" y="2574"/>
                    <a:pt x="10229" y="2544"/>
                  </a:cubicBezTo>
                  <a:cubicBezTo>
                    <a:pt x="10210" y="2515"/>
                    <a:pt x="10217" y="2475"/>
                    <a:pt x="10248" y="2457"/>
                  </a:cubicBezTo>
                  <a:cubicBezTo>
                    <a:pt x="10263" y="2448"/>
                    <a:pt x="10280" y="2443"/>
                    <a:pt x="10296" y="2446"/>
                  </a:cubicBezTo>
                  <a:close/>
                  <a:moveTo>
                    <a:pt x="16474" y="3435"/>
                  </a:moveTo>
                  <a:cubicBezTo>
                    <a:pt x="16520" y="3444"/>
                    <a:pt x="16554" y="3461"/>
                    <a:pt x="16579" y="3491"/>
                  </a:cubicBezTo>
                  <a:cubicBezTo>
                    <a:pt x="16619" y="3537"/>
                    <a:pt x="16683" y="3564"/>
                    <a:pt x="16723" y="3549"/>
                  </a:cubicBezTo>
                  <a:cubicBezTo>
                    <a:pt x="16807" y="3517"/>
                    <a:pt x="17003" y="3704"/>
                    <a:pt x="16945" y="3761"/>
                  </a:cubicBezTo>
                  <a:cubicBezTo>
                    <a:pt x="16902" y="3803"/>
                    <a:pt x="16782" y="3810"/>
                    <a:pt x="16744" y="3774"/>
                  </a:cubicBezTo>
                  <a:cubicBezTo>
                    <a:pt x="16731" y="3762"/>
                    <a:pt x="16575" y="3740"/>
                    <a:pt x="16400" y="3721"/>
                  </a:cubicBezTo>
                  <a:cubicBezTo>
                    <a:pt x="15902" y="3669"/>
                    <a:pt x="15840" y="3507"/>
                    <a:pt x="16292" y="3440"/>
                  </a:cubicBezTo>
                  <a:cubicBezTo>
                    <a:pt x="16367" y="3429"/>
                    <a:pt x="16427" y="3426"/>
                    <a:pt x="16474" y="3435"/>
                  </a:cubicBezTo>
                  <a:close/>
                  <a:moveTo>
                    <a:pt x="4111" y="5359"/>
                  </a:moveTo>
                  <a:cubicBezTo>
                    <a:pt x="4173" y="5362"/>
                    <a:pt x="4228" y="5411"/>
                    <a:pt x="4195" y="5463"/>
                  </a:cubicBezTo>
                  <a:cubicBezTo>
                    <a:pt x="4190" y="5470"/>
                    <a:pt x="4180" y="5470"/>
                    <a:pt x="4173" y="5476"/>
                  </a:cubicBezTo>
                  <a:cubicBezTo>
                    <a:pt x="4178" y="5476"/>
                    <a:pt x="4183" y="5475"/>
                    <a:pt x="4187" y="5476"/>
                  </a:cubicBezTo>
                  <a:cubicBezTo>
                    <a:pt x="4205" y="5482"/>
                    <a:pt x="4221" y="5503"/>
                    <a:pt x="4236" y="5524"/>
                  </a:cubicBezTo>
                  <a:cubicBezTo>
                    <a:pt x="4255" y="5522"/>
                    <a:pt x="4272" y="5530"/>
                    <a:pt x="4290" y="5540"/>
                  </a:cubicBezTo>
                  <a:cubicBezTo>
                    <a:pt x="4324" y="5548"/>
                    <a:pt x="4348" y="5576"/>
                    <a:pt x="4368" y="5619"/>
                  </a:cubicBezTo>
                  <a:cubicBezTo>
                    <a:pt x="4393" y="5661"/>
                    <a:pt x="4415" y="5710"/>
                    <a:pt x="4428" y="5775"/>
                  </a:cubicBezTo>
                  <a:cubicBezTo>
                    <a:pt x="4450" y="5892"/>
                    <a:pt x="4517" y="6093"/>
                    <a:pt x="4577" y="6223"/>
                  </a:cubicBezTo>
                  <a:cubicBezTo>
                    <a:pt x="4579" y="6227"/>
                    <a:pt x="4578" y="6230"/>
                    <a:pt x="4580" y="6234"/>
                  </a:cubicBezTo>
                  <a:cubicBezTo>
                    <a:pt x="4609" y="6222"/>
                    <a:pt x="4644" y="6228"/>
                    <a:pt x="4661" y="6255"/>
                  </a:cubicBezTo>
                  <a:cubicBezTo>
                    <a:pt x="4680" y="6285"/>
                    <a:pt x="4672" y="6324"/>
                    <a:pt x="4642" y="6343"/>
                  </a:cubicBezTo>
                  <a:cubicBezTo>
                    <a:pt x="4641" y="6343"/>
                    <a:pt x="4640" y="6342"/>
                    <a:pt x="4639" y="6343"/>
                  </a:cubicBezTo>
                  <a:cubicBezTo>
                    <a:pt x="4642" y="6348"/>
                    <a:pt x="4645" y="6356"/>
                    <a:pt x="4647" y="6361"/>
                  </a:cubicBezTo>
                  <a:cubicBezTo>
                    <a:pt x="4656" y="6378"/>
                    <a:pt x="4665" y="6392"/>
                    <a:pt x="4672" y="6412"/>
                  </a:cubicBezTo>
                  <a:cubicBezTo>
                    <a:pt x="4718" y="6414"/>
                    <a:pt x="4753" y="6457"/>
                    <a:pt x="4753" y="6547"/>
                  </a:cubicBezTo>
                  <a:cubicBezTo>
                    <a:pt x="4753" y="6571"/>
                    <a:pt x="4747" y="6585"/>
                    <a:pt x="4742" y="6602"/>
                  </a:cubicBezTo>
                  <a:cubicBezTo>
                    <a:pt x="4763" y="6637"/>
                    <a:pt x="4789" y="6646"/>
                    <a:pt x="4834" y="6610"/>
                  </a:cubicBezTo>
                  <a:cubicBezTo>
                    <a:pt x="4837" y="6607"/>
                    <a:pt x="4837" y="6606"/>
                    <a:pt x="4840" y="6602"/>
                  </a:cubicBezTo>
                  <a:cubicBezTo>
                    <a:pt x="4854" y="6580"/>
                    <a:pt x="4878" y="6575"/>
                    <a:pt x="4902" y="6576"/>
                  </a:cubicBezTo>
                  <a:cubicBezTo>
                    <a:pt x="4912" y="6576"/>
                    <a:pt x="4923" y="6573"/>
                    <a:pt x="4932" y="6579"/>
                  </a:cubicBezTo>
                  <a:cubicBezTo>
                    <a:pt x="4934" y="6580"/>
                    <a:pt x="4935" y="6582"/>
                    <a:pt x="4937" y="6584"/>
                  </a:cubicBezTo>
                  <a:cubicBezTo>
                    <a:pt x="4939" y="6586"/>
                    <a:pt x="4946" y="6584"/>
                    <a:pt x="4948" y="6587"/>
                  </a:cubicBezTo>
                  <a:cubicBezTo>
                    <a:pt x="4948" y="6587"/>
                    <a:pt x="4948" y="6597"/>
                    <a:pt x="4948" y="6597"/>
                  </a:cubicBezTo>
                  <a:cubicBezTo>
                    <a:pt x="4993" y="6651"/>
                    <a:pt x="4993" y="6781"/>
                    <a:pt x="4953" y="6873"/>
                  </a:cubicBezTo>
                  <a:cubicBezTo>
                    <a:pt x="4953" y="6874"/>
                    <a:pt x="4954" y="6874"/>
                    <a:pt x="4953" y="6875"/>
                  </a:cubicBezTo>
                  <a:cubicBezTo>
                    <a:pt x="4966" y="7083"/>
                    <a:pt x="4978" y="7449"/>
                    <a:pt x="4980" y="8105"/>
                  </a:cubicBezTo>
                  <a:cubicBezTo>
                    <a:pt x="4984" y="9026"/>
                    <a:pt x="4963" y="9589"/>
                    <a:pt x="4926" y="9611"/>
                  </a:cubicBezTo>
                  <a:cubicBezTo>
                    <a:pt x="4894" y="9630"/>
                    <a:pt x="4857" y="9615"/>
                    <a:pt x="4845" y="9574"/>
                  </a:cubicBezTo>
                  <a:cubicBezTo>
                    <a:pt x="4826" y="9508"/>
                    <a:pt x="4785" y="9213"/>
                    <a:pt x="4750" y="8930"/>
                  </a:cubicBezTo>
                  <a:cubicBezTo>
                    <a:pt x="4707" y="8596"/>
                    <a:pt x="4633" y="8124"/>
                    <a:pt x="4458" y="7162"/>
                  </a:cubicBezTo>
                  <a:cubicBezTo>
                    <a:pt x="4430" y="7011"/>
                    <a:pt x="4392" y="6840"/>
                    <a:pt x="4374" y="6783"/>
                  </a:cubicBezTo>
                  <a:cubicBezTo>
                    <a:pt x="4373" y="6781"/>
                    <a:pt x="4374" y="6779"/>
                    <a:pt x="4374" y="6777"/>
                  </a:cubicBezTo>
                  <a:cubicBezTo>
                    <a:pt x="4346" y="6675"/>
                    <a:pt x="4318" y="6551"/>
                    <a:pt x="4282" y="6398"/>
                  </a:cubicBezTo>
                  <a:cubicBezTo>
                    <a:pt x="4273" y="6393"/>
                    <a:pt x="4263" y="6390"/>
                    <a:pt x="4255" y="6377"/>
                  </a:cubicBezTo>
                  <a:cubicBezTo>
                    <a:pt x="4238" y="6351"/>
                    <a:pt x="4242" y="6317"/>
                    <a:pt x="4255" y="6287"/>
                  </a:cubicBezTo>
                  <a:cubicBezTo>
                    <a:pt x="4217" y="6124"/>
                    <a:pt x="4190" y="6043"/>
                    <a:pt x="4160" y="5897"/>
                  </a:cubicBezTo>
                  <a:cubicBezTo>
                    <a:pt x="4157" y="5882"/>
                    <a:pt x="4160" y="5874"/>
                    <a:pt x="4157" y="5860"/>
                  </a:cubicBezTo>
                  <a:cubicBezTo>
                    <a:pt x="4157" y="5860"/>
                    <a:pt x="4155" y="5860"/>
                    <a:pt x="4154" y="5860"/>
                  </a:cubicBezTo>
                  <a:cubicBezTo>
                    <a:pt x="4147" y="5859"/>
                    <a:pt x="4137" y="5863"/>
                    <a:pt x="4130" y="5858"/>
                  </a:cubicBezTo>
                  <a:cubicBezTo>
                    <a:pt x="4089" y="5881"/>
                    <a:pt x="4036" y="5870"/>
                    <a:pt x="4011" y="5831"/>
                  </a:cubicBezTo>
                  <a:cubicBezTo>
                    <a:pt x="3986" y="5791"/>
                    <a:pt x="4000" y="5739"/>
                    <a:pt x="4041" y="5714"/>
                  </a:cubicBezTo>
                  <a:cubicBezTo>
                    <a:pt x="4048" y="5710"/>
                    <a:pt x="4057" y="5711"/>
                    <a:pt x="4065" y="5709"/>
                  </a:cubicBezTo>
                  <a:cubicBezTo>
                    <a:pt x="4058" y="5657"/>
                    <a:pt x="4059" y="5601"/>
                    <a:pt x="4079" y="5550"/>
                  </a:cubicBezTo>
                  <a:cubicBezTo>
                    <a:pt x="4086" y="5531"/>
                    <a:pt x="4096" y="5527"/>
                    <a:pt x="4106" y="5516"/>
                  </a:cubicBezTo>
                  <a:cubicBezTo>
                    <a:pt x="4027" y="5512"/>
                    <a:pt x="3985" y="5411"/>
                    <a:pt x="4049" y="5373"/>
                  </a:cubicBezTo>
                  <a:cubicBezTo>
                    <a:pt x="4068" y="5361"/>
                    <a:pt x="4091" y="5359"/>
                    <a:pt x="4111" y="5359"/>
                  </a:cubicBezTo>
                  <a:close/>
                  <a:moveTo>
                    <a:pt x="17018" y="6934"/>
                  </a:moveTo>
                  <a:cubicBezTo>
                    <a:pt x="17144" y="6916"/>
                    <a:pt x="17209" y="6977"/>
                    <a:pt x="17110" y="7074"/>
                  </a:cubicBezTo>
                  <a:cubicBezTo>
                    <a:pt x="17071" y="7112"/>
                    <a:pt x="17042" y="7189"/>
                    <a:pt x="17042" y="7244"/>
                  </a:cubicBezTo>
                  <a:cubicBezTo>
                    <a:pt x="17042" y="7387"/>
                    <a:pt x="16974" y="7406"/>
                    <a:pt x="16823" y="7307"/>
                  </a:cubicBezTo>
                  <a:cubicBezTo>
                    <a:pt x="16641" y="7188"/>
                    <a:pt x="16658" y="7089"/>
                    <a:pt x="16877" y="6981"/>
                  </a:cubicBezTo>
                  <a:cubicBezTo>
                    <a:pt x="16928" y="6956"/>
                    <a:pt x="16976" y="6940"/>
                    <a:pt x="17018" y="6934"/>
                  </a:cubicBezTo>
                  <a:close/>
                  <a:moveTo>
                    <a:pt x="16674" y="7371"/>
                  </a:moveTo>
                  <a:cubicBezTo>
                    <a:pt x="16691" y="7373"/>
                    <a:pt x="16706" y="7386"/>
                    <a:pt x="16720" y="7408"/>
                  </a:cubicBezTo>
                  <a:cubicBezTo>
                    <a:pt x="16743" y="7445"/>
                    <a:pt x="16736" y="7501"/>
                    <a:pt x="16704" y="7533"/>
                  </a:cubicBezTo>
                  <a:cubicBezTo>
                    <a:pt x="16665" y="7571"/>
                    <a:pt x="16632" y="7567"/>
                    <a:pt x="16604" y="7522"/>
                  </a:cubicBezTo>
                  <a:cubicBezTo>
                    <a:pt x="16580" y="7485"/>
                    <a:pt x="16588" y="7426"/>
                    <a:pt x="16620" y="7395"/>
                  </a:cubicBezTo>
                  <a:cubicBezTo>
                    <a:pt x="16639" y="7376"/>
                    <a:pt x="16657" y="7369"/>
                    <a:pt x="16674" y="7371"/>
                  </a:cubicBezTo>
                  <a:close/>
                  <a:moveTo>
                    <a:pt x="16617" y="7546"/>
                  </a:moveTo>
                  <a:cubicBezTo>
                    <a:pt x="16633" y="7550"/>
                    <a:pt x="16648" y="7558"/>
                    <a:pt x="16658" y="7573"/>
                  </a:cubicBezTo>
                  <a:cubicBezTo>
                    <a:pt x="16665" y="7584"/>
                    <a:pt x="16657" y="7597"/>
                    <a:pt x="16655" y="7610"/>
                  </a:cubicBezTo>
                  <a:cubicBezTo>
                    <a:pt x="16685" y="7621"/>
                    <a:pt x="16718" y="7637"/>
                    <a:pt x="16747" y="7663"/>
                  </a:cubicBezTo>
                  <a:cubicBezTo>
                    <a:pt x="16767" y="7680"/>
                    <a:pt x="16777" y="7712"/>
                    <a:pt x="16790" y="7740"/>
                  </a:cubicBezTo>
                  <a:cubicBezTo>
                    <a:pt x="16793" y="7742"/>
                    <a:pt x="16794" y="7745"/>
                    <a:pt x="16796" y="7747"/>
                  </a:cubicBezTo>
                  <a:cubicBezTo>
                    <a:pt x="16829" y="7787"/>
                    <a:pt x="16851" y="7828"/>
                    <a:pt x="16842" y="7859"/>
                  </a:cubicBezTo>
                  <a:cubicBezTo>
                    <a:pt x="16839" y="7868"/>
                    <a:pt x="16834" y="7928"/>
                    <a:pt x="16831" y="7946"/>
                  </a:cubicBezTo>
                  <a:cubicBezTo>
                    <a:pt x="16836" y="8120"/>
                    <a:pt x="16807" y="8375"/>
                    <a:pt x="16739" y="8768"/>
                  </a:cubicBezTo>
                  <a:cubicBezTo>
                    <a:pt x="16725" y="8851"/>
                    <a:pt x="16712" y="8876"/>
                    <a:pt x="16698" y="8932"/>
                  </a:cubicBezTo>
                  <a:cubicBezTo>
                    <a:pt x="16702" y="8997"/>
                    <a:pt x="16705" y="9050"/>
                    <a:pt x="16698" y="9181"/>
                  </a:cubicBezTo>
                  <a:cubicBezTo>
                    <a:pt x="16678" y="9605"/>
                    <a:pt x="16609" y="9802"/>
                    <a:pt x="16541" y="9629"/>
                  </a:cubicBezTo>
                  <a:cubicBezTo>
                    <a:pt x="16523" y="9582"/>
                    <a:pt x="16515" y="9367"/>
                    <a:pt x="16525" y="9150"/>
                  </a:cubicBezTo>
                  <a:cubicBezTo>
                    <a:pt x="16527" y="9094"/>
                    <a:pt x="16532" y="9061"/>
                    <a:pt x="16536" y="9020"/>
                  </a:cubicBezTo>
                  <a:cubicBezTo>
                    <a:pt x="16516" y="8870"/>
                    <a:pt x="16509" y="8585"/>
                    <a:pt x="16517" y="8270"/>
                  </a:cubicBezTo>
                  <a:cubicBezTo>
                    <a:pt x="16507" y="7991"/>
                    <a:pt x="16514" y="7702"/>
                    <a:pt x="16547" y="7641"/>
                  </a:cubicBezTo>
                  <a:cubicBezTo>
                    <a:pt x="16528" y="7612"/>
                    <a:pt x="16538" y="7572"/>
                    <a:pt x="16568" y="7554"/>
                  </a:cubicBezTo>
                  <a:cubicBezTo>
                    <a:pt x="16584" y="7545"/>
                    <a:pt x="16601" y="7542"/>
                    <a:pt x="16617" y="7546"/>
                  </a:cubicBezTo>
                  <a:close/>
                  <a:moveTo>
                    <a:pt x="4899" y="13831"/>
                  </a:moveTo>
                  <a:cubicBezTo>
                    <a:pt x="4914" y="13833"/>
                    <a:pt x="4929" y="13850"/>
                    <a:pt x="4945" y="13873"/>
                  </a:cubicBezTo>
                  <a:cubicBezTo>
                    <a:pt x="4974" y="13913"/>
                    <a:pt x="5003" y="14001"/>
                    <a:pt x="5032" y="14096"/>
                  </a:cubicBezTo>
                  <a:cubicBezTo>
                    <a:pt x="5032" y="14096"/>
                    <a:pt x="5032" y="14097"/>
                    <a:pt x="5032" y="14098"/>
                  </a:cubicBezTo>
                  <a:cubicBezTo>
                    <a:pt x="5033" y="14101"/>
                    <a:pt x="5034" y="14104"/>
                    <a:pt x="5035" y="14106"/>
                  </a:cubicBezTo>
                  <a:cubicBezTo>
                    <a:pt x="5059" y="14187"/>
                    <a:pt x="5084" y="14264"/>
                    <a:pt x="5105" y="14377"/>
                  </a:cubicBezTo>
                  <a:cubicBezTo>
                    <a:pt x="5110" y="14405"/>
                    <a:pt x="5108" y="14401"/>
                    <a:pt x="5113" y="14427"/>
                  </a:cubicBezTo>
                  <a:cubicBezTo>
                    <a:pt x="5187" y="14751"/>
                    <a:pt x="5248" y="15095"/>
                    <a:pt x="5213" y="15116"/>
                  </a:cubicBezTo>
                  <a:cubicBezTo>
                    <a:pt x="5188" y="15131"/>
                    <a:pt x="5113" y="15109"/>
                    <a:pt x="5045" y="15068"/>
                  </a:cubicBezTo>
                  <a:cubicBezTo>
                    <a:pt x="4941" y="15006"/>
                    <a:pt x="4914" y="15009"/>
                    <a:pt x="4864" y="15095"/>
                  </a:cubicBezTo>
                  <a:cubicBezTo>
                    <a:pt x="4854" y="15111"/>
                    <a:pt x="4844" y="15112"/>
                    <a:pt x="4834" y="15124"/>
                  </a:cubicBezTo>
                  <a:cubicBezTo>
                    <a:pt x="4815" y="15160"/>
                    <a:pt x="4788" y="15183"/>
                    <a:pt x="4761" y="15190"/>
                  </a:cubicBezTo>
                  <a:cubicBezTo>
                    <a:pt x="4744" y="15195"/>
                    <a:pt x="4728" y="15193"/>
                    <a:pt x="4712" y="15185"/>
                  </a:cubicBezTo>
                  <a:cubicBezTo>
                    <a:pt x="4712" y="15185"/>
                    <a:pt x="4710" y="15185"/>
                    <a:pt x="4710" y="15185"/>
                  </a:cubicBezTo>
                  <a:cubicBezTo>
                    <a:pt x="4705" y="15183"/>
                    <a:pt x="4703" y="15175"/>
                    <a:pt x="4699" y="15172"/>
                  </a:cubicBezTo>
                  <a:cubicBezTo>
                    <a:pt x="4691" y="15165"/>
                    <a:pt x="4683" y="15163"/>
                    <a:pt x="4677" y="15153"/>
                  </a:cubicBezTo>
                  <a:cubicBezTo>
                    <a:pt x="4677" y="15153"/>
                    <a:pt x="4677" y="15151"/>
                    <a:pt x="4677" y="15150"/>
                  </a:cubicBezTo>
                  <a:cubicBezTo>
                    <a:pt x="4675" y="15147"/>
                    <a:pt x="4671" y="15149"/>
                    <a:pt x="4669" y="15145"/>
                  </a:cubicBezTo>
                  <a:cubicBezTo>
                    <a:pt x="4644" y="15105"/>
                    <a:pt x="4737" y="14444"/>
                    <a:pt x="4807" y="14098"/>
                  </a:cubicBezTo>
                  <a:cubicBezTo>
                    <a:pt x="4819" y="14036"/>
                    <a:pt x="4837" y="13909"/>
                    <a:pt x="4845" y="13886"/>
                  </a:cubicBezTo>
                  <a:cubicBezTo>
                    <a:pt x="4847" y="13880"/>
                    <a:pt x="4848" y="13883"/>
                    <a:pt x="4850" y="13878"/>
                  </a:cubicBezTo>
                  <a:cubicBezTo>
                    <a:pt x="4861" y="13851"/>
                    <a:pt x="4875" y="13837"/>
                    <a:pt x="4891" y="13838"/>
                  </a:cubicBezTo>
                  <a:cubicBezTo>
                    <a:pt x="4894" y="13838"/>
                    <a:pt x="4896" y="13830"/>
                    <a:pt x="4899" y="13831"/>
                  </a:cubicBezTo>
                  <a:close/>
                  <a:moveTo>
                    <a:pt x="16655" y="14175"/>
                  </a:moveTo>
                  <a:cubicBezTo>
                    <a:pt x="16709" y="14185"/>
                    <a:pt x="16782" y="14378"/>
                    <a:pt x="16861" y="14732"/>
                  </a:cubicBezTo>
                  <a:cubicBezTo>
                    <a:pt x="16929" y="15037"/>
                    <a:pt x="16943" y="15170"/>
                    <a:pt x="16915" y="15249"/>
                  </a:cubicBezTo>
                  <a:cubicBezTo>
                    <a:pt x="16916" y="15263"/>
                    <a:pt x="16907" y="15279"/>
                    <a:pt x="16896" y="15294"/>
                  </a:cubicBezTo>
                  <a:cubicBezTo>
                    <a:pt x="16891" y="15300"/>
                    <a:pt x="16892" y="15306"/>
                    <a:pt x="16885" y="15312"/>
                  </a:cubicBezTo>
                  <a:cubicBezTo>
                    <a:pt x="16878" y="15319"/>
                    <a:pt x="16871" y="15316"/>
                    <a:pt x="16864" y="15320"/>
                  </a:cubicBezTo>
                  <a:cubicBezTo>
                    <a:pt x="16832" y="15350"/>
                    <a:pt x="16805" y="15356"/>
                    <a:pt x="16780" y="15315"/>
                  </a:cubicBezTo>
                  <a:cubicBezTo>
                    <a:pt x="16755" y="15276"/>
                    <a:pt x="16670" y="15255"/>
                    <a:pt x="16593" y="15270"/>
                  </a:cubicBezTo>
                  <a:cubicBezTo>
                    <a:pt x="16515" y="15284"/>
                    <a:pt x="16438" y="15272"/>
                    <a:pt x="16419" y="15243"/>
                  </a:cubicBezTo>
                  <a:cubicBezTo>
                    <a:pt x="16391" y="15198"/>
                    <a:pt x="16529" y="14464"/>
                    <a:pt x="16609" y="14228"/>
                  </a:cubicBezTo>
                  <a:cubicBezTo>
                    <a:pt x="16622" y="14189"/>
                    <a:pt x="16637" y="14172"/>
                    <a:pt x="16655" y="14175"/>
                  </a:cubicBezTo>
                  <a:close/>
                </a:path>
              </a:pathLst>
            </a:custGeom>
            <a:ln w="12700" cap="flat">
              <a:noFill/>
              <a:miter lim="400000"/>
            </a:ln>
            <a:effectLst>
              <a:outerShdw blurRad="25400" dist="12700" dir="5400000" rotWithShape="0">
                <a:srgbClr val="000000"/>
              </a:outerShdw>
            </a:effectLst>
          </p:spPr>
        </p:pic>
      </p:grpSp>
    </p:spTree>
    <p:extLst>
      <p:ext uri="{BB962C8B-B14F-4D97-AF65-F5344CB8AC3E}">
        <p14:creationId xmlns:p14="http://schemas.microsoft.com/office/powerpoint/2010/main" val="2879966176"/>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Oval 23">
            <a:extLst>
              <a:ext uri="{FF2B5EF4-FFF2-40B4-BE49-F238E27FC236}">
                <a16:creationId xmlns:a16="http://schemas.microsoft.com/office/drawing/2014/main" id="{F2695BE2-89E7-4F1F-BD0E-B53174A04BFC}"/>
              </a:ext>
            </a:extLst>
          </p:cNvPr>
          <p:cNvSpPr/>
          <p:nvPr/>
        </p:nvSpPr>
        <p:spPr>
          <a:xfrm>
            <a:off x="16733706" y="3722597"/>
            <a:ext cx="2108216" cy="2108216"/>
          </a:xfrm>
          <a:prstGeom prst="ellipse">
            <a:avLst/>
          </a:prstGeom>
          <a:solidFill>
            <a:srgbClr val="FFC000"/>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27" name="Oval 26">
            <a:extLst>
              <a:ext uri="{FF2B5EF4-FFF2-40B4-BE49-F238E27FC236}">
                <a16:creationId xmlns:a16="http://schemas.microsoft.com/office/drawing/2014/main" id="{F4F3A448-172F-4020-A7E1-A231505511F6}"/>
              </a:ext>
            </a:extLst>
          </p:cNvPr>
          <p:cNvSpPr/>
          <p:nvPr/>
        </p:nvSpPr>
        <p:spPr>
          <a:xfrm>
            <a:off x="16851972" y="3840863"/>
            <a:ext cx="1871684" cy="1871684"/>
          </a:xfrm>
          <a:prstGeom prst="ellipse">
            <a:avLst/>
          </a:prstGeom>
          <a:noFill/>
          <a:ln w="57150" cap="flat">
            <a:solidFill>
              <a:schemeClr val="bg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29" name="Isosceles Triangle 28">
            <a:extLst>
              <a:ext uri="{FF2B5EF4-FFF2-40B4-BE49-F238E27FC236}">
                <a16:creationId xmlns:a16="http://schemas.microsoft.com/office/drawing/2014/main" id="{C0DE2052-44CF-44BD-9234-7C2A06614DB4}"/>
              </a:ext>
            </a:extLst>
          </p:cNvPr>
          <p:cNvSpPr/>
          <p:nvPr/>
        </p:nvSpPr>
        <p:spPr>
          <a:xfrm>
            <a:off x="17486062" y="7210065"/>
            <a:ext cx="603504" cy="284526"/>
          </a:xfrm>
          <a:prstGeom prst="triangle">
            <a:avLst/>
          </a:prstGeom>
          <a:solidFill>
            <a:srgbClr val="FFC000"/>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30" name="Rectangle 29">
            <a:extLst>
              <a:ext uri="{FF2B5EF4-FFF2-40B4-BE49-F238E27FC236}">
                <a16:creationId xmlns:a16="http://schemas.microsoft.com/office/drawing/2014/main" id="{FF9870A7-83BA-48F1-ABB4-CE9D1B174A00}"/>
              </a:ext>
            </a:extLst>
          </p:cNvPr>
          <p:cNvSpPr/>
          <p:nvPr/>
        </p:nvSpPr>
        <p:spPr>
          <a:xfrm>
            <a:off x="14486276" y="7494591"/>
            <a:ext cx="6603076" cy="91440"/>
          </a:xfrm>
          <a:prstGeom prst="rect">
            <a:avLst/>
          </a:prstGeom>
          <a:solidFill>
            <a:srgbClr val="FFC000"/>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9" name="Oval 18">
            <a:extLst>
              <a:ext uri="{FF2B5EF4-FFF2-40B4-BE49-F238E27FC236}">
                <a16:creationId xmlns:a16="http://schemas.microsoft.com/office/drawing/2014/main" id="{B9F081E6-7F3B-438A-8366-3527FDFD5317}"/>
              </a:ext>
            </a:extLst>
          </p:cNvPr>
          <p:cNvSpPr/>
          <p:nvPr/>
        </p:nvSpPr>
        <p:spPr>
          <a:xfrm>
            <a:off x="5124380" y="3744374"/>
            <a:ext cx="2108216" cy="2108216"/>
          </a:xfrm>
          <a:prstGeom prst="ellipse">
            <a:avLst/>
          </a:prstGeom>
          <a:solidFill>
            <a:srgbClr val="1A77B9"/>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60" name="Text Box 3"/>
          <p:cNvSpPr txBox="1"/>
          <p:nvPr/>
        </p:nvSpPr>
        <p:spPr>
          <a:xfrm>
            <a:off x="8417271" y="856183"/>
            <a:ext cx="7549458" cy="6858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38100" tIns="38100" rIns="38100" bIns="38100" anchor="ctr">
            <a:spAutoFit/>
          </a:bodyPr>
          <a:lstStyle/>
          <a:p>
            <a:r>
              <a:rPr dirty="0"/>
              <a:t>Vision &amp; Mission</a:t>
            </a:r>
          </a:p>
        </p:txBody>
      </p:sp>
      <p:sp>
        <p:nvSpPr>
          <p:cNvPr id="163" name="CuadroTexto 629"/>
          <p:cNvSpPr txBox="1"/>
          <p:nvPr/>
        </p:nvSpPr>
        <p:spPr>
          <a:xfrm>
            <a:off x="15984066" y="6176269"/>
            <a:ext cx="3607495" cy="688339"/>
          </a:xfrm>
          <a:prstGeom prst="rect">
            <a:avLst/>
          </a:prstGeom>
          <a:noFill/>
          <a:ln w="12700" cap="flat">
            <a:noFill/>
            <a:miter lim="400000"/>
          </a:ln>
          <a:effectLst>
            <a:outerShdw blurRad="12700" dir="5400000" rotWithShape="0">
              <a:srgbClr val="000000">
                <a:alpha val="61211"/>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8" tIns="45718" rIns="45718" bIns="45718" numCol="1" anchor="ctr">
            <a:spAutoFit/>
          </a:bodyPr>
          <a:lstStyle>
            <a:lvl1pPr>
              <a:lnSpc>
                <a:spcPct val="120000"/>
              </a:lnSpc>
              <a:defRPr sz="4000">
                <a:solidFill>
                  <a:srgbClr val="000000"/>
                </a:solidFill>
              </a:defRPr>
            </a:lvl1pPr>
          </a:lstStyle>
          <a:p>
            <a:pPr>
              <a:defRPr>
                <a:effectLst/>
              </a:defRPr>
            </a:pPr>
            <a:r>
              <a:rPr dirty="0"/>
              <a:t>Mission</a:t>
            </a:r>
          </a:p>
        </p:txBody>
      </p:sp>
      <p:sp>
        <p:nvSpPr>
          <p:cNvPr id="165" name="Rectángulo 630"/>
          <p:cNvSpPr txBox="1"/>
          <p:nvPr/>
        </p:nvSpPr>
        <p:spPr>
          <a:xfrm>
            <a:off x="14442371" y="6864608"/>
            <a:ext cx="6872624" cy="4457370"/>
          </a:xfrm>
          <a:prstGeom prst="rect">
            <a:avLst/>
          </a:prstGeom>
          <a:noFill/>
          <a:ln w="12700" cap="flat">
            <a:noFill/>
            <a:miter lim="400000"/>
          </a:ln>
          <a:effectLst>
            <a:outerShdw blurRad="12700" dir="5400000" rotWithShape="0">
              <a:srgbClr val="000000">
                <a:alpha val="61211"/>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8" tIns="45718" rIns="45718" bIns="45718" numCol="1" anchor="ctr">
            <a:spAutoFit/>
          </a:bodyPr>
          <a:lstStyle>
            <a:lvl1pPr>
              <a:lnSpc>
                <a:spcPct val="120000"/>
              </a:lnSpc>
              <a:defRPr sz="4000">
                <a:solidFill>
                  <a:srgbClr val="000000"/>
                </a:solidFill>
              </a:defRPr>
            </a:lvl1pPr>
          </a:lstStyle>
          <a:p>
            <a:pPr>
              <a:defRPr>
                <a:effectLst/>
              </a:defRPr>
            </a:pPr>
            <a:endParaRPr lang="en-US" dirty="0"/>
          </a:p>
          <a:p>
            <a:pPr>
              <a:defRPr>
                <a:effectLst/>
              </a:defRPr>
            </a:pPr>
            <a:r>
              <a:rPr lang="en-US" dirty="0"/>
              <a:t>Poverty e</a:t>
            </a:r>
            <a:r>
              <a:rPr dirty="0"/>
              <a:t>radicat</a:t>
            </a:r>
            <a:r>
              <a:rPr lang="en-US" dirty="0"/>
              <a:t>ion and sustainable economic growth through infrastructure </a:t>
            </a:r>
            <a:r>
              <a:rPr dirty="0" err="1"/>
              <a:t>infrastructure</a:t>
            </a:r>
            <a:r>
              <a:rPr dirty="0"/>
              <a:t> renewal and development</a:t>
            </a:r>
          </a:p>
        </p:txBody>
      </p:sp>
      <p:sp>
        <p:nvSpPr>
          <p:cNvPr id="169" name="CuadroTexto 629"/>
          <p:cNvSpPr txBox="1"/>
          <p:nvPr/>
        </p:nvSpPr>
        <p:spPr>
          <a:xfrm>
            <a:off x="4374741" y="6137450"/>
            <a:ext cx="3607494" cy="688339"/>
          </a:xfrm>
          <a:prstGeom prst="rect">
            <a:avLst/>
          </a:prstGeom>
          <a:noFill/>
          <a:ln w="12700" cap="flat">
            <a:noFill/>
            <a:miter lim="400000"/>
          </a:ln>
          <a:effectLst>
            <a:outerShdw blurRad="12700" dir="5400000" rotWithShape="0">
              <a:srgbClr val="000000">
                <a:alpha val="61211"/>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8" tIns="45718" rIns="45718" bIns="45718" numCol="1" anchor="ctr">
            <a:spAutoFit/>
          </a:bodyPr>
          <a:lstStyle>
            <a:lvl1pPr>
              <a:lnSpc>
                <a:spcPct val="120000"/>
              </a:lnSpc>
              <a:defRPr sz="4000">
                <a:solidFill>
                  <a:srgbClr val="000000"/>
                </a:solidFill>
              </a:defRPr>
            </a:lvl1pPr>
          </a:lstStyle>
          <a:p>
            <a:pPr>
              <a:defRPr>
                <a:effectLst/>
              </a:defRPr>
            </a:pPr>
            <a:r>
              <a:rPr dirty="0"/>
              <a:t>Vision</a:t>
            </a:r>
          </a:p>
        </p:txBody>
      </p:sp>
      <p:sp>
        <p:nvSpPr>
          <p:cNvPr id="170" name="Rectángulo 630"/>
          <p:cNvSpPr txBox="1"/>
          <p:nvPr/>
        </p:nvSpPr>
        <p:spPr>
          <a:xfrm>
            <a:off x="2742178" y="7670754"/>
            <a:ext cx="6872621" cy="2837179"/>
          </a:xfrm>
          <a:prstGeom prst="rect">
            <a:avLst/>
          </a:prstGeom>
          <a:noFill/>
          <a:ln w="12700" cap="flat">
            <a:noFill/>
            <a:miter lim="400000"/>
          </a:ln>
          <a:effectLst>
            <a:outerShdw blurRad="12700" dir="5400000" rotWithShape="0">
              <a:srgbClr val="000000">
                <a:alpha val="61211"/>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8" tIns="45718" rIns="45718" bIns="45718" numCol="1" anchor="ctr">
            <a:spAutoFit/>
          </a:bodyPr>
          <a:lstStyle>
            <a:lvl1pPr>
              <a:lnSpc>
                <a:spcPct val="120000"/>
              </a:lnSpc>
              <a:defRPr sz="4000">
                <a:solidFill>
                  <a:srgbClr val="000000"/>
                </a:solidFill>
              </a:defRPr>
            </a:lvl1pPr>
          </a:lstStyle>
          <a:p>
            <a:pPr>
              <a:defRPr>
                <a:effectLst/>
              </a:defRPr>
            </a:pPr>
            <a:r>
              <a:rPr dirty="0"/>
              <a:t>Africa’s model megacity, a global economic and financial hub that is safe, secure, functional and productive</a:t>
            </a:r>
          </a:p>
        </p:txBody>
      </p:sp>
      <p:sp>
        <p:nvSpPr>
          <p:cNvPr id="2" name="Oval 1">
            <a:extLst>
              <a:ext uri="{FF2B5EF4-FFF2-40B4-BE49-F238E27FC236}">
                <a16:creationId xmlns:a16="http://schemas.microsoft.com/office/drawing/2014/main" id="{6782893B-DB7F-4C74-8E73-A65B4F04D9D0}"/>
              </a:ext>
            </a:extLst>
          </p:cNvPr>
          <p:cNvSpPr/>
          <p:nvPr/>
        </p:nvSpPr>
        <p:spPr>
          <a:xfrm>
            <a:off x="5242646" y="3862640"/>
            <a:ext cx="1871684" cy="1871684"/>
          </a:xfrm>
          <a:prstGeom prst="ellipse">
            <a:avLst/>
          </a:prstGeom>
          <a:noFill/>
          <a:ln w="57150" cap="flat">
            <a:solidFill>
              <a:schemeClr val="bg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pic>
        <p:nvPicPr>
          <p:cNvPr id="4" name="Graphic 3">
            <a:extLst>
              <a:ext uri="{FF2B5EF4-FFF2-40B4-BE49-F238E27FC236}">
                <a16:creationId xmlns:a16="http://schemas.microsoft.com/office/drawing/2014/main" id="{8B3D6349-8B81-4245-9B80-227AD4A3D18A}"/>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14608" y="4316081"/>
            <a:ext cx="1127760" cy="1127760"/>
          </a:xfrm>
          <a:prstGeom prst="rect">
            <a:avLst/>
          </a:prstGeom>
        </p:spPr>
      </p:pic>
      <p:sp>
        <p:nvSpPr>
          <p:cNvPr id="5" name="Isosceles Triangle 4">
            <a:extLst>
              <a:ext uri="{FF2B5EF4-FFF2-40B4-BE49-F238E27FC236}">
                <a16:creationId xmlns:a16="http://schemas.microsoft.com/office/drawing/2014/main" id="{52F20662-A196-40E6-884E-4086F188EF78}"/>
              </a:ext>
            </a:extLst>
          </p:cNvPr>
          <p:cNvSpPr/>
          <p:nvPr/>
        </p:nvSpPr>
        <p:spPr>
          <a:xfrm>
            <a:off x="5876736" y="7231842"/>
            <a:ext cx="603504" cy="284526"/>
          </a:xfrm>
          <a:prstGeom prst="triangle">
            <a:avLst/>
          </a:prstGeom>
          <a:solidFill>
            <a:srgbClr val="1A77B9"/>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6" name="Rectangle 5">
            <a:extLst>
              <a:ext uri="{FF2B5EF4-FFF2-40B4-BE49-F238E27FC236}">
                <a16:creationId xmlns:a16="http://schemas.microsoft.com/office/drawing/2014/main" id="{FDFC2D9F-F777-487A-8611-674C6BA38915}"/>
              </a:ext>
            </a:extLst>
          </p:cNvPr>
          <p:cNvSpPr/>
          <p:nvPr/>
        </p:nvSpPr>
        <p:spPr>
          <a:xfrm>
            <a:off x="2876950" y="7516368"/>
            <a:ext cx="6603076" cy="91440"/>
          </a:xfrm>
          <a:prstGeom prst="rect">
            <a:avLst/>
          </a:prstGeom>
          <a:solidFill>
            <a:srgbClr val="1A77B9"/>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pic>
        <p:nvPicPr>
          <p:cNvPr id="8" name="Graphic 7">
            <a:extLst>
              <a:ext uri="{FF2B5EF4-FFF2-40B4-BE49-F238E27FC236}">
                <a16:creationId xmlns:a16="http://schemas.microsoft.com/office/drawing/2014/main" id="{8818C837-3A70-43F7-8DE0-DF20B47071F7}"/>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7314803" y="4169638"/>
            <a:ext cx="1127760" cy="1127760"/>
          </a:xfrm>
          <a:prstGeom prst="rect">
            <a:avLst/>
          </a:prstGeom>
        </p:spPr>
      </p:pic>
    </p:spTree>
    <p:extLst>
      <p:ext uri="{BB962C8B-B14F-4D97-AF65-F5344CB8AC3E}">
        <p14:creationId xmlns:p14="http://schemas.microsoft.com/office/powerpoint/2010/main" val="2432980343"/>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 name="Text Box 3"/>
          <p:cNvSpPr txBox="1"/>
          <p:nvPr/>
        </p:nvSpPr>
        <p:spPr>
          <a:xfrm>
            <a:off x="8417271" y="856183"/>
            <a:ext cx="7549458" cy="6858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8100" tIns="38100" rIns="38100" bIns="38100" anchor="ctr">
            <a:spAutoFit/>
          </a:bodyPr>
          <a:lstStyle/>
          <a:p>
            <a:r>
              <a:rPr dirty="0"/>
              <a:t>Memo From The Commissioner</a:t>
            </a:r>
          </a:p>
        </p:txBody>
      </p:sp>
      <p:sp>
        <p:nvSpPr>
          <p:cNvPr id="180" name="Text Box 3"/>
          <p:cNvSpPr txBox="1"/>
          <p:nvPr/>
        </p:nvSpPr>
        <p:spPr>
          <a:xfrm>
            <a:off x="748566" y="10855395"/>
            <a:ext cx="8834073" cy="9232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8100" tIns="38100" rIns="38100" bIns="38100">
            <a:spAutoFit/>
          </a:bodyPr>
          <a:lstStyle/>
          <a:p>
            <a:pPr>
              <a:lnSpc>
                <a:spcPct val="120000"/>
              </a:lnSpc>
              <a:defRPr sz="3000" cap="all">
                <a:solidFill>
                  <a:srgbClr val="000000"/>
                </a:solidFill>
                <a:effectLst/>
              </a:defRPr>
            </a:pPr>
            <a:r>
              <a:rPr lang="en-GB" sz="2400" dirty="0"/>
              <a:t>Honourable</a:t>
            </a:r>
            <a:r>
              <a:rPr sz="2400" dirty="0"/>
              <a:t> Commissioner,</a:t>
            </a:r>
          </a:p>
          <a:p>
            <a:pPr>
              <a:lnSpc>
                <a:spcPct val="120000"/>
              </a:lnSpc>
              <a:defRPr sz="3000" cap="all">
                <a:solidFill>
                  <a:srgbClr val="000000"/>
                </a:solidFill>
                <a:effectLst/>
              </a:defRPr>
            </a:pPr>
            <a:r>
              <a:rPr sz="2400" dirty="0"/>
              <a:t>Ministry of Economic Planning and Budget</a:t>
            </a:r>
          </a:p>
        </p:txBody>
      </p:sp>
      <p:sp>
        <p:nvSpPr>
          <p:cNvPr id="181" name="Text Box 3"/>
          <p:cNvSpPr txBox="1"/>
          <p:nvPr/>
        </p:nvSpPr>
        <p:spPr>
          <a:xfrm>
            <a:off x="2175750" y="10065547"/>
            <a:ext cx="5979704" cy="74866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8100" tIns="38100" rIns="38100" bIns="38100">
            <a:spAutoFit/>
          </a:bodyPr>
          <a:lstStyle>
            <a:lvl1pPr>
              <a:lnSpc>
                <a:spcPct val="120000"/>
              </a:lnSpc>
              <a:defRPr sz="3000" cap="all">
                <a:solidFill>
                  <a:srgbClr val="000000"/>
                </a:solidFill>
              </a:defRPr>
            </a:lvl1pPr>
          </a:lstStyle>
          <a:p>
            <a:pPr>
              <a:defRPr>
                <a:effectLst/>
              </a:defRPr>
            </a:pPr>
            <a:r>
              <a:rPr sz="4000" dirty="0"/>
              <a:t>Mr. Samuel Egube</a:t>
            </a:r>
          </a:p>
        </p:txBody>
      </p:sp>
      <p:graphicFrame>
        <p:nvGraphicFramePr>
          <p:cNvPr id="182" name="Диаграмма 11"/>
          <p:cNvGraphicFramePr/>
          <p:nvPr/>
        </p:nvGraphicFramePr>
        <p:xfrm>
          <a:off x="2114362" y="4064432"/>
          <a:ext cx="5587137" cy="5587137"/>
        </p:xfrm>
        <a:graphic>
          <a:graphicData uri="http://schemas.openxmlformats.org/drawingml/2006/chart">
            <c:chart xmlns:c="http://schemas.openxmlformats.org/drawingml/2006/chart" xmlns:r="http://schemas.openxmlformats.org/officeDocument/2006/relationships" r:id="rId2"/>
          </a:graphicData>
        </a:graphic>
      </p:graphicFrame>
      <p:sp>
        <p:nvSpPr>
          <p:cNvPr id="183" name="Фигура"/>
          <p:cNvSpPr/>
          <p:nvPr/>
        </p:nvSpPr>
        <p:spPr>
          <a:xfrm>
            <a:off x="4222975" y="5847591"/>
            <a:ext cx="1369911" cy="854203"/>
          </a:xfrm>
          <a:custGeom>
            <a:avLst/>
            <a:gdLst/>
            <a:ahLst/>
            <a:cxnLst>
              <a:cxn ang="0">
                <a:pos x="wd2" y="hd2"/>
              </a:cxn>
              <a:cxn ang="5400000">
                <a:pos x="wd2" y="hd2"/>
              </a:cxn>
              <a:cxn ang="10800000">
                <a:pos x="wd2" y="hd2"/>
              </a:cxn>
              <a:cxn ang="16200000">
                <a:pos x="wd2" y="hd2"/>
              </a:cxn>
            </a:cxnLst>
            <a:rect l="0" t="0" r="r" b="b"/>
            <a:pathLst>
              <a:path w="21598" h="21526" extrusionOk="0">
                <a:moveTo>
                  <a:pt x="439" y="0"/>
                </a:moveTo>
                <a:cubicBezTo>
                  <a:pt x="323" y="6"/>
                  <a:pt x="212" y="83"/>
                  <a:pt x="130" y="214"/>
                </a:cubicBezTo>
                <a:cubicBezTo>
                  <a:pt x="55" y="334"/>
                  <a:pt x="10" y="493"/>
                  <a:pt x="0" y="662"/>
                </a:cubicBezTo>
                <a:lnTo>
                  <a:pt x="0" y="13670"/>
                </a:lnTo>
                <a:cubicBezTo>
                  <a:pt x="0" y="13833"/>
                  <a:pt x="38" y="13990"/>
                  <a:pt x="107" y="14110"/>
                </a:cubicBezTo>
                <a:cubicBezTo>
                  <a:pt x="178" y="14231"/>
                  <a:pt x="275" y="14304"/>
                  <a:pt x="378" y="14315"/>
                </a:cubicBezTo>
                <a:lnTo>
                  <a:pt x="3117" y="14315"/>
                </a:lnTo>
                <a:cubicBezTo>
                  <a:pt x="3222" y="14323"/>
                  <a:pt x="3325" y="14277"/>
                  <a:pt x="3411" y="14181"/>
                </a:cubicBezTo>
                <a:cubicBezTo>
                  <a:pt x="3482" y="14101"/>
                  <a:pt x="3538" y="13991"/>
                  <a:pt x="3572" y="13862"/>
                </a:cubicBezTo>
                <a:lnTo>
                  <a:pt x="3692" y="13306"/>
                </a:lnTo>
                <a:cubicBezTo>
                  <a:pt x="4500" y="14571"/>
                  <a:pt x="5335" y="15792"/>
                  <a:pt x="6196" y="16967"/>
                </a:cubicBezTo>
                <a:cubicBezTo>
                  <a:pt x="7073" y="18163"/>
                  <a:pt x="7965" y="19339"/>
                  <a:pt x="8929" y="20351"/>
                </a:cubicBezTo>
                <a:cubicBezTo>
                  <a:pt x="9278" y="20718"/>
                  <a:pt x="9655" y="21092"/>
                  <a:pt x="10050" y="21320"/>
                </a:cubicBezTo>
                <a:cubicBezTo>
                  <a:pt x="10439" y="21545"/>
                  <a:pt x="10852" y="21600"/>
                  <a:pt x="11270" y="21415"/>
                </a:cubicBezTo>
                <a:cubicBezTo>
                  <a:pt x="11463" y="21330"/>
                  <a:pt x="11649" y="21205"/>
                  <a:pt x="11821" y="21042"/>
                </a:cubicBezTo>
                <a:cubicBezTo>
                  <a:pt x="12181" y="21220"/>
                  <a:pt x="12569" y="21190"/>
                  <a:pt x="12917" y="20956"/>
                </a:cubicBezTo>
                <a:cubicBezTo>
                  <a:pt x="13290" y="20705"/>
                  <a:pt x="13590" y="20239"/>
                  <a:pt x="13758" y="19651"/>
                </a:cubicBezTo>
                <a:cubicBezTo>
                  <a:pt x="14158" y="19762"/>
                  <a:pt x="14570" y="19651"/>
                  <a:pt x="14925" y="19336"/>
                </a:cubicBezTo>
                <a:cubicBezTo>
                  <a:pt x="15245" y="19052"/>
                  <a:pt x="15502" y="18617"/>
                  <a:pt x="15661" y="18090"/>
                </a:cubicBezTo>
                <a:cubicBezTo>
                  <a:pt x="16150" y="18130"/>
                  <a:pt x="16618" y="17774"/>
                  <a:pt x="16907" y="17143"/>
                </a:cubicBezTo>
                <a:cubicBezTo>
                  <a:pt x="17142" y="16630"/>
                  <a:pt x="17234" y="15983"/>
                  <a:pt x="17159" y="15359"/>
                </a:cubicBezTo>
                <a:lnTo>
                  <a:pt x="17867" y="14615"/>
                </a:lnTo>
                <a:lnTo>
                  <a:pt x="18039" y="15338"/>
                </a:lnTo>
                <a:cubicBezTo>
                  <a:pt x="18073" y="15472"/>
                  <a:pt x="18132" y="15585"/>
                  <a:pt x="18208" y="15663"/>
                </a:cubicBezTo>
                <a:cubicBezTo>
                  <a:pt x="18288" y="15745"/>
                  <a:pt x="18382" y="15782"/>
                  <a:pt x="18476" y="15771"/>
                </a:cubicBezTo>
                <a:lnTo>
                  <a:pt x="21125" y="15771"/>
                </a:lnTo>
                <a:cubicBezTo>
                  <a:pt x="21265" y="15780"/>
                  <a:pt x="21399" y="15688"/>
                  <a:pt x="21490" y="15518"/>
                </a:cubicBezTo>
                <a:cubicBezTo>
                  <a:pt x="21562" y="15385"/>
                  <a:pt x="21600" y="15214"/>
                  <a:pt x="21598" y="15038"/>
                </a:cubicBezTo>
                <a:lnTo>
                  <a:pt x="21598" y="2153"/>
                </a:lnTo>
                <a:cubicBezTo>
                  <a:pt x="21585" y="1952"/>
                  <a:pt x="21527" y="1765"/>
                  <a:pt x="21433" y="1629"/>
                </a:cubicBezTo>
                <a:cubicBezTo>
                  <a:pt x="21335" y="1487"/>
                  <a:pt x="21206" y="1413"/>
                  <a:pt x="21074" y="1420"/>
                </a:cubicBezTo>
                <a:cubicBezTo>
                  <a:pt x="20084" y="1399"/>
                  <a:pt x="19095" y="1526"/>
                  <a:pt x="18121" y="1801"/>
                </a:cubicBezTo>
                <a:cubicBezTo>
                  <a:pt x="17282" y="2037"/>
                  <a:pt x="16457" y="2381"/>
                  <a:pt x="15653" y="2829"/>
                </a:cubicBezTo>
                <a:cubicBezTo>
                  <a:pt x="15517" y="2893"/>
                  <a:pt x="15408" y="3055"/>
                  <a:pt x="15359" y="3268"/>
                </a:cubicBezTo>
                <a:cubicBezTo>
                  <a:pt x="15327" y="3406"/>
                  <a:pt x="15323" y="3555"/>
                  <a:pt x="15347" y="3696"/>
                </a:cubicBezTo>
                <a:lnTo>
                  <a:pt x="15375" y="3905"/>
                </a:lnTo>
                <a:lnTo>
                  <a:pt x="12048" y="1737"/>
                </a:lnTo>
                <a:cubicBezTo>
                  <a:pt x="11428" y="1417"/>
                  <a:pt x="10760" y="1419"/>
                  <a:pt x="10141" y="1743"/>
                </a:cubicBezTo>
                <a:cubicBezTo>
                  <a:pt x="9702" y="1972"/>
                  <a:pt x="9301" y="2357"/>
                  <a:pt x="8968" y="2868"/>
                </a:cubicBezTo>
                <a:lnTo>
                  <a:pt x="5339" y="2868"/>
                </a:lnTo>
                <a:lnTo>
                  <a:pt x="5417" y="2266"/>
                </a:lnTo>
                <a:cubicBezTo>
                  <a:pt x="5438" y="2111"/>
                  <a:pt x="5425" y="1950"/>
                  <a:pt x="5382" y="1807"/>
                </a:cubicBezTo>
                <a:cubicBezTo>
                  <a:pt x="5337" y="1663"/>
                  <a:pt x="5264" y="1548"/>
                  <a:pt x="5173" y="1480"/>
                </a:cubicBezTo>
                <a:cubicBezTo>
                  <a:pt x="4819" y="1207"/>
                  <a:pt x="4452" y="980"/>
                  <a:pt x="4076" y="800"/>
                </a:cubicBezTo>
                <a:cubicBezTo>
                  <a:pt x="3697" y="620"/>
                  <a:pt x="3310" y="487"/>
                  <a:pt x="2920" y="379"/>
                </a:cubicBezTo>
                <a:cubicBezTo>
                  <a:pt x="2101" y="150"/>
                  <a:pt x="1271" y="24"/>
                  <a:pt x="439" y="0"/>
                </a:cubicBezTo>
                <a:close/>
                <a:moveTo>
                  <a:pt x="884" y="1406"/>
                </a:moveTo>
                <a:cubicBezTo>
                  <a:pt x="1509" y="1471"/>
                  <a:pt x="2132" y="1594"/>
                  <a:pt x="2749" y="1773"/>
                </a:cubicBezTo>
                <a:cubicBezTo>
                  <a:pt x="3335" y="1944"/>
                  <a:pt x="3915" y="2165"/>
                  <a:pt x="4486" y="2437"/>
                </a:cubicBezTo>
                <a:cubicBezTo>
                  <a:pt x="4300" y="4188"/>
                  <a:pt x="4069" y="5927"/>
                  <a:pt x="3794" y="7648"/>
                </a:cubicBezTo>
                <a:cubicBezTo>
                  <a:pt x="3512" y="9408"/>
                  <a:pt x="3184" y="11150"/>
                  <a:pt x="2810" y="12866"/>
                </a:cubicBezTo>
                <a:lnTo>
                  <a:pt x="884" y="12866"/>
                </a:lnTo>
                <a:lnTo>
                  <a:pt x="884" y="1406"/>
                </a:lnTo>
                <a:close/>
                <a:moveTo>
                  <a:pt x="20709" y="2829"/>
                </a:moveTo>
                <a:lnTo>
                  <a:pt x="20709" y="14333"/>
                </a:lnTo>
                <a:lnTo>
                  <a:pt x="18778" y="14333"/>
                </a:lnTo>
                <a:cubicBezTo>
                  <a:pt x="18444" y="12590"/>
                  <a:pt x="18079" y="10862"/>
                  <a:pt x="17684" y="9152"/>
                </a:cubicBezTo>
                <a:cubicBezTo>
                  <a:pt x="17279" y="7398"/>
                  <a:pt x="16842" y="5665"/>
                  <a:pt x="16373" y="3952"/>
                </a:cubicBezTo>
                <a:cubicBezTo>
                  <a:pt x="17057" y="3578"/>
                  <a:pt x="17760" y="3295"/>
                  <a:pt x="18474" y="3107"/>
                </a:cubicBezTo>
                <a:cubicBezTo>
                  <a:pt x="19213" y="2912"/>
                  <a:pt x="19961" y="2819"/>
                  <a:pt x="20709" y="2829"/>
                </a:cubicBezTo>
                <a:close/>
                <a:moveTo>
                  <a:pt x="11165" y="2916"/>
                </a:moveTo>
                <a:cubicBezTo>
                  <a:pt x="11421" y="2925"/>
                  <a:pt x="11676" y="3006"/>
                  <a:pt x="11916" y="3155"/>
                </a:cubicBezTo>
                <a:cubicBezTo>
                  <a:pt x="12579" y="3604"/>
                  <a:pt x="13246" y="4039"/>
                  <a:pt x="13915" y="4462"/>
                </a:cubicBezTo>
                <a:cubicBezTo>
                  <a:pt x="14576" y="4880"/>
                  <a:pt x="15239" y="5285"/>
                  <a:pt x="15905" y="5677"/>
                </a:cubicBezTo>
                <a:lnTo>
                  <a:pt x="17619" y="13157"/>
                </a:lnTo>
                <a:lnTo>
                  <a:pt x="16777" y="14033"/>
                </a:lnTo>
                <a:cubicBezTo>
                  <a:pt x="16612" y="13711"/>
                  <a:pt x="16439" y="13400"/>
                  <a:pt x="16260" y="13099"/>
                </a:cubicBezTo>
                <a:cubicBezTo>
                  <a:pt x="15540" y="11893"/>
                  <a:pt x="14716" y="10864"/>
                  <a:pt x="13906" y="9814"/>
                </a:cubicBezTo>
                <a:cubicBezTo>
                  <a:pt x="13088" y="8752"/>
                  <a:pt x="12282" y="7665"/>
                  <a:pt x="11491" y="6553"/>
                </a:cubicBezTo>
                <a:cubicBezTo>
                  <a:pt x="11425" y="6481"/>
                  <a:pt x="11349" y="6438"/>
                  <a:pt x="11270" y="6431"/>
                </a:cubicBezTo>
                <a:cubicBezTo>
                  <a:pt x="11195" y="6424"/>
                  <a:pt x="11120" y="6449"/>
                  <a:pt x="11052" y="6504"/>
                </a:cubicBezTo>
                <a:lnTo>
                  <a:pt x="10169" y="7080"/>
                </a:lnTo>
                <a:lnTo>
                  <a:pt x="9942" y="7108"/>
                </a:lnTo>
                <a:cubicBezTo>
                  <a:pt x="9844" y="7121"/>
                  <a:pt x="9748" y="7169"/>
                  <a:pt x="9664" y="7249"/>
                </a:cubicBezTo>
                <a:cubicBezTo>
                  <a:pt x="9588" y="7321"/>
                  <a:pt x="9523" y="7416"/>
                  <a:pt x="9465" y="7522"/>
                </a:cubicBezTo>
                <a:cubicBezTo>
                  <a:pt x="9349" y="7738"/>
                  <a:pt x="9265" y="8001"/>
                  <a:pt x="9144" y="8208"/>
                </a:cubicBezTo>
                <a:cubicBezTo>
                  <a:pt x="8992" y="8469"/>
                  <a:pt x="8792" y="8628"/>
                  <a:pt x="8572" y="8705"/>
                </a:cubicBezTo>
                <a:cubicBezTo>
                  <a:pt x="8327" y="8792"/>
                  <a:pt x="8071" y="8768"/>
                  <a:pt x="7834" y="8635"/>
                </a:cubicBezTo>
                <a:cubicBezTo>
                  <a:pt x="7756" y="8599"/>
                  <a:pt x="7689" y="8520"/>
                  <a:pt x="7644" y="8411"/>
                </a:cubicBezTo>
                <a:cubicBezTo>
                  <a:pt x="7586" y="8267"/>
                  <a:pt x="7573" y="8089"/>
                  <a:pt x="7609" y="7927"/>
                </a:cubicBezTo>
                <a:cubicBezTo>
                  <a:pt x="7709" y="7369"/>
                  <a:pt x="7833" y="6812"/>
                  <a:pt x="8033" y="6326"/>
                </a:cubicBezTo>
                <a:cubicBezTo>
                  <a:pt x="8547" y="5080"/>
                  <a:pt x="9248" y="4201"/>
                  <a:pt x="9968" y="3428"/>
                </a:cubicBezTo>
                <a:cubicBezTo>
                  <a:pt x="10254" y="3151"/>
                  <a:pt x="10575" y="2981"/>
                  <a:pt x="10908" y="2931"/>
                </a:cubicBezTo>
                <a:cubicBezTo>
                  <a:pt x="10993" y="2918"/>
                  <a:pt x="11079" y="2913"/>
                  <a:pt x="11165" y="2916"/>
                </a:cubicBezTo>
                <a:close/>
                <a:moveTo>
                  <a:pt x="5176" y="4258"/>
                </a:moveTo>
                <a:lnTo>
                  <a:pt x="7953" y="4258"/>
                </a:lnTo>
                <a:cubicBezTo>
                  <a:pt x="7533" y="5138"/>
                  <a:pt x="6961" y="6144"/>
                  <a:pt x="6749" y="7483"/>
                </a:cubicBezTo>
                <a:cubicBezTo>
                  <a:pt x="6603" y="8409"/>
                  <a:pt x="6791" y="9625"/>
                  <a:pt x="7446" y="9946"/>
                </a:cubicBezTo>
                <a:cubicBezTo>
                  <a:pt x="8107" y="10271"/>
                  <a:pt x="9194" y="10534"/>
                  <a:pt x="10152" y="8477"/>
                </a:cubicBezTo>
                <a:cubicBezTo>
                  <a:pt x="10292" y="8463"/>
                  <a:pt x="10430" y="8418"/>
                  <a:pt x="10562" y="8343"/>
                </a:cubicBezTo>
                <a:cubicBezTo>
                  <a:pt x="10670" y="8282"/>
                  <a:pt x="10773" y="8202"/>
                  <a:pt x="10878" y="8129"/>
                </a:cubicBezTo>
                <a:cubicBezTo>
                  <a:pt x="10971" y="8065"/>
                  <a:pt x="11065" y="8006"/>
                  <a:pt x="11160" y="7954"/>
                </a:cubicBezTo>
                <a:cubicBezTo>
                  <a:pt x="11908" y="8931"/>
                  <a:pt x="12652" y="9916"/>
                  <a:pt x="13384" y="10923"/>
                </a:cubicBezTo>
                <a:cubicBezTo>
                  <a:pt x="14111" y="11922"/>
                  <a:pt x="14893" y="12845"/>
                  <a:pt x="15554" y="13939"/>
                </a:cubicBezTo>
                <a:cubicBezTo>
                  <a:pt x="15678" y="14138"/>
                  <a:pt x="15795" y="14348"/>
                  <a:pt x="15904" y="14568"/>
                </a:cubicBezTo>
                <a:cubicBezTo>
                  <a:pt x="16011" y="14782"/>
                  <a:pt x="16109" y="15005"/>
                  <a:pt x="16200" y="15236"/>
                </a:cubicBezTo>
                <a:cubicBezTo>
                  <a:pt x="16351" y="15580"/>
                  <a:pt x="16326" y="16048"/>
                  <a:pt x="16140" y="16345"/>
                </a:cubicBezTo>
                <a:cubicBezTo>
                  <a:pt x="15912" y="16710"/>
                  <a:pt x="15538" y="16690"/>
                  <a:pt x="15326" y="16302"/>
                </a:cubicBezTo>
                <a:lnTo>
                  <a:pt x="12837" y="12288"/>
                </a:lnTo>
                <a:cubicBezTo>
                  <a:pt x="12669" y="11998"/>
                  <a:pt x="12384" y="11989"/>
                  <a:pt x="12208" y="12268"/>
                </a:cubicBezTo>
                <a:cubicBezTo>
                  <a:pt x="12032" y="12549"/>
                  <a:pt x="12037" y="13007"/>
                  <a:pt x="12219" y="13277"/>
                </a:cubicBezTo>
                <a:lnTo>
                  <a:pt x="14874" y="17520"/>
                </a:lnTo>
                <a:cubicBezTo>
                  <a:pt x="14761" y="17880"/>
                  <a:pt x="14549" y="18132"/>
                  <a:pt x="14301" y="18200"/>
                </a:cubicBezTo>
                <a:cubicBezTo>
                  <a:pt x="14042" y="18270"/>
                  <a:pt x="13778" y="18131"/>
                  <a:pt x="13596" y="17828"/>
                </a:cubicBezTo>
                <a:lnTo>
                  <a:pt x="11515" y="14450"/>
                </a:lnTo>
                <a:cubicBezTo>
                  <a:pt x="11335" y="14188"/>
                  <a:pt x="11059" y="14197"/>
                  <a:pt x="10887" y="14471"/>
                </a:cubicBezTo>
                <a:cubicBezTo>
                  <a:pt x="10714" y="14746"/>
                  <a:pt x="10708" y="15190"/>
                  <a:pt x="10872" y="15478"/>
                </a:cubicBezTo>
                <a:lnTo>
                  <a:pt x="13016" y="18905"/>
                </a:lnTo>
                <a:cubicBezTo>
                  <a:pt x="12942" y="19184"/>
                  <a:pt x="12810" y="19414"/>
                  <a:pt x="12642" y="19554"/>
                </a:cubicBezTo>
                <a:cubicBezTo>
                  <a:pt x="12528" y="19649"/>
                  <a:pt x="12404" y="19699"/>
                  <a:pt x="12279" y="19692"/>
                </a:cubicBezTo>
                <a:cubicBezTo>
                  <a:pt x="12120" y="19682"/>
                  <a:pt x="11965" y="19579"/>
                  <a:pt x="11847" y="19394"/>
                </a:cubicBezTo>
                <a:lnTo>
                  <a:pt x="9710" y="15863"/>
                </a:lnTo>
                <a:cubicBezTo>
                  <a:pt x="9529" y="15596"/>
                  <a:pt x="9249" y="15604"/>
                  <a:pt x="9073" y="15879"/>
                </a:cubicBezTo>
                <a:cubicBezTo>
                  <a:pt x="8907" y="16140"/>
                  <a:pt x="8889" y="16558"/>
                  <a:pt x="9031" y="16852"/>
                </a:cubicBezTo>
                <a:lnTo>
                  <a:pt x="11024" y="20038"/>
                </a:lnTo>
                <a:cubicBezTo>
                  <a:pt x="10912" y="20066"/>
                  <a:pt x="10799" y="20072"/>
                  <a:pt x="10686" y="20058"/>
                </a:cubicBezTo>
                <a:cubicBezTo>
                  <a:pt x="10132" y="19988"/>
                  <a:pt x="9664" y="19454"/>
                  <a:pt x="9218" y="18930"/>
                </a:cubicBezTo>
                <a:cubicBezTo>
                  <a:pt x="8231" y="17770"/>
                  <a:pt x="7247" y="16605"/>
                  <a:pt x="6313" y="15338"/>
                </a:cubicBezTo>
                <a:cubicBezTo>
                  <a:pt x="5484" y="14212"/>
                  <a:pt x="4697" y="13008"/>
                  <a:pt x="3957" y="11732"/>
                </a:cubicBezTo>
                <a:cubicBezTo>
                  <a:pt x="4217" y="10500"/>
                  <a:pt x="4450" y="9254"/>
                  <a:pt x="4655" y="7996"/>
                </a:cubicBezTo>
                <a:cubicBezTo>
                  <a:pt x="4856" y="6760"/>
                  <a:pt x="5030" y="5513"/>
                  <a:pt x="5176" y="4258"/>
                </a:cubicBezTo>
                <a:close/>
              </a:path>
            </a:pathLst>
          </a:custGeom>
          <a:solidFill>
            <a:srgbClr val="535353"/>
          </a:solidFill>
          <a:ln w="12700">
            <a:miter lim="400000"/>
          </a:ln>
          <a:effectLst>
            <a:outerShdw blurRad="38100" dist="12700" dir="5400000" rotWithShape="0">
              <a:srgbClr val="000000">
                <a:alpha val="22316"/>
              </a:srgbClr>
            </a:outerShdw>
          </a:effectLst>
        </p:spPr>
        <p:txBody>
          <a:bodyPr lIns="38100" tIns="38100" rIns="38100" bIns="38100" anchor="ctr"/>
          <a:lstStyle/>
          <a:p>
            <a:pPr algn="l">
              <a:defRPr sz="2000" b="0" cap="none">
                <a:solidFill>
                  <a:srgbClr val="FEFCFF"/>
                </a:solidFill>
                <a:effectLst/>
                <a:latin typeface="Arial"/>
                <a:ea typeface="Arial"/>
                <a:cs typeface="Arial"/>
                <a:sym typeface="Arial"/>
              </a:defRPr>
            </a:pPr>
            <a:endParaRPr dirty="0"/>
          </a:p>
        </p:txBody>
      </p:sp>
      <p:sp>
        <p:nvSpPr>
          <p:cNvPr id="184" name="Text Box 3"/>
          <p:cNvSpPr txBox="1"/>
          <p:nvPr/>
        </p:nvSpPr>
        <p:spPr>
          <a:xfrm>
            <a:off x="3323700" y="7003524"/>
            <a:ext cx="3168462" cy="8632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8100" tIns="38100" rIns="38100" bIns="38100" anchor="ctr"/>
          <a:lstStyle>
            <a:lvl1pPr>
              <a:defRPr sz="5000" cap="all"/>
            </a:lvl1pPr>
          </a:lstStyle>
          <a:p>
            <a:r>
              <a:rPr dirty="0"/>
              <a:t>Welcome</a:t>
            </a:r>
          </a:p>
        </p:txBody>
      </p:sp>
      <p:sp>
        <p:nvSpPr>
          <p:cNvPr id="186" name="Rectangle 111"/>
          <p:cNvSpPr txBox="1"/>
          <p:nvPr/>
        </p:nvSpPr>
        <p:spPr>
          <a:xfrm>
            <a:off x="11660430" y="3505838"/>
            <a:ext cx="10833809" cy="7866637"/>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8" tIns="45718" rIns="45718" bIns="45718" numCol="1" anchor="ctr">
            <a:spAutoFit/>
          </a:bodyPr>
          <a:lstStyle/>
          <a:p>
            <a:pPr algn="l">
              <a:lnSpc>
                <a:spcPct val="140000"/>
              </a:lnSpc>
              <a:spcBef>
                <a:spcPts val="200"/>
              </a:spcBef>
              <a:defRPr sz="2400" cap="none">
                <a:solidFill>
                  <a:srgbClr val="000000"/>
                </a:solidFill>
                <a:effectLst/>
              </a:defRPr>
            </a:pPr>
            <a:r>
              <a:rPr dirty="0"/>
              <a:t>This Budget Performance Report for the </a:t>
            </a:r>
            <a:r>
              <a:rPr lang="en-GB" dirty="0"/>
              <a:t>first</a:t>
            </a:r>
            <a:r>
              <a:rPr dirty="0"/>
              <a:t> quarter, 202</a:t>
            </a:r>
            <a:r>
              <a:rPr lang="en-GB" dirty="0"/>
              <a:t>1</a:t>
            </a:r>
            <a:r>
              <a:rPr dirty="0"/>
              <a:t> provides information on activities and performance of the budget which we trust all stakeholders will find useful. </a:t>
            </a:r>
          </a:p>
          <a:p>
            <a:pPr algn="l">
              <a:lnSpc>
                <a:spcPct val="140000"/>
              </a:lnSpc>
              <a:spcBef>
                <a:spcPts val="200"/>
              </a:spcBef>
              <a:defRPr sz="2400" cap="none">
                <a:solidFill>
                  <a:srgbClr val="000000"/>
                </a:solidFill>
                <a:effectLst/>
              </a:defRPr>
            </a:pPr>
            <a:r>
              <a:rPr dirty="0"/>
              <a:t>The report provides financial information and offers some insights into the contexts and experiences that have aided the achievement of goals or presented challenges to realizing desired outcomes. </a:t>
            </a:r>
          </a:p>
          <a:p>
            <a:pPr algn="l">
              <a:lnSpc>
                <a:spcPct val="140000"/>
              </a:lnSpc>
              <a:spcBef>
                <a:spcPts val="200"/>
              </a:spcBef>
              <a:defRPr sz="2400" cap="none">
                <a:solidFill>
                  <a:srgbClr val="000000"/>
                </a:solidFill>
                <a:effectLst/>
              </a:defRPr>
            </a:pPr>
            <a:r>
              <a:rPr dirty="0"/>
              <a:t>Importantly, the Ministry of Economic Planning and Budget (MEPB) has been working hard to lay the foundations necessary to ensure improvements in our approach and activities. This will ensure optimal performance of the Ministry’s oversight function, and the implementation of sound recommendations informed by a variety of factors including lessons learnt from our engagements and the broader external context. </a:t>
            </a:r>
          </a:p>
          <a:p>
            <a:pPr algn="l">
              <a:lnSpc>
                <a:spcPct val="140000"/>
              </a:lnSpc>
              <a:spcBef>
                <a:spcPts val="200"/>
              </a:spcBef>
              <a:defRPr sz="2400" cap="none">
                <a:solidFill>
                  <a:srgbClr val="000000"/>
                </a:solidFill>
                <a:effectLst/>
              </a:defRPr>
            </a:pPr>
            <a:r>
              <a:rPr dirty="0"/>
              <a:t>The Ministry is committed to providing information to all our stakeholders in a manner that empowers decision makers, increases confidence and promotes active engagement of readers and the larger community.</a:t>
            </a:r>
          </a:p>
        </p:txBody>
      </p:sp>
      <p:sp>
        <p:nvSpPr>
          <p:cNvPr id="27" name="Freeform: Shape 26">
            <a:extLst>
              <a:ext uri="{FF2B5EF4-FFF2-40B4-BE49-F238E27FC236}">
                <a16:creationId xmlns:a16="http://schemas.microsoft.com/office/drawing/2014/main" id="{19282FF7-D137-4A12-8605-D026EB7AB217}"/>
              </a:ext>
            </a:extLst>
          </p:cNvPr>
          <p:cNvSpPr/>
          <p:nvPr/>
        </p:nvSpPr>
        <p:spPr>
          <a:xfrm>
            <a:off x="10949882" y="2343525"/>
            <a:ext cx="12292554" cy="10167369"/>
          </a:xfrm>
          <a:custGeom>
            <a:avLst/>
            <a:gdLst>
              <a:gd name="connsiteX0" fmla="*/ 0 w 8052417"/>
              <a:gd name="connsiteY0" fmla="*/ 0 h 8052416"/>
              <a:gd name="connsiteX1" fmla="*/ 8052417 w 8052417"/>
              <a:gd name="connsiteY1" fmla="*/ 0 h 8052416"/>
              <a:gd name="connsiteX2" fmla="*/ 8052417 w 8052417"/>
              <a:gd name="connsiteY2" fmla="*/ 8052416 h 8052416"/>
              <a:gd name="connsiteX3" fmla="*/ 0 w 8052417"/>
              <a:gd name="connsiteY3" fmla="*/ 8052416 h 8052416"/>
              <a:gd name="connsiteX4" fmla="*/ 0 w 8052417"/>
              <a:gd name="connsiteY4" fmla="*/ 7303750 h 8052416"/>
              <a:gd name="connsiteX5" fmla="*/ 320664 w 8052417"/>
              <a:gd name="connsiteY5" fmla="*/ 7303750 h 8052416"/>
              <a:gd name="connsiteX6" fmla="*/ 320664 w 8052417"/>
              <a:gd name="connsiteY6" fmla="*/ 7731752 h 8052416"/>
              <a:gd name="connsiteX7" fmla="*/ 7731753 w 8052417"/>
              <a:gd name="connsiteY7" fmla="*/ 7731752 h 8052416"/>
              <a:gd name="connsiteX8" fmla="*/ 7731753 w 8052417"/>
              <a:gd name="connsiteY8" fmla="*/ 320664 h 8052416"/>
              <a:gd name="connsiteX9" fmla="*/ 320664 w 8052417"/>
              <a:gd name="connsiteY9" fmla="*/ 320664 h 8052416"/>
              <a:gd name="connsiteX10" fmla="*/ 320664 w 8052417"/>
              <a:gd name="connsiteY10" fmla="*/ 5104927 h 8052416"/>
              <a:gd name="connsiteX11" fmla="*/ 0 w 8052417"/>
              <a:gd name="connsiteY11" fmla="*/ 5104927 h 8052416"/>
              <a:gd name="connsiteX12" fmla="*/ 0 w 8052417"/>
              <a:gd name="connsiteY12" fmla="*/ 0 h 8052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52417" h="8052416">
                <a:moveTo>
                  <a:pt x="0" y="0"/>
                </a:moveTo>
                <a:lnTo>
                  <a:pt x="8052417" y="0"/>
                </a:lnTo>
                <a:lnTo>
                  <a:pt x="8052417" y="8052416"/>
                </a:lnTo>
                <a:lnTo>
                  <a:pt x="0" y="8052416"/>
                </a:lnTo>
                <a:lnTo>
                  <a:pt x="0" y="7303750"/>
                </a:lnTo>
                <a:lnTo>
                  <a:pt x="320664" y="7303750"/>
                </a:lnTo>
                <a:lnTo>
                  <a:pt x="320664" y="7731752"/>
                </a:lnTo>
                <a:lnTo>
                  <a:pt x="7731753" y="7731752"/>
                </a:lnTo>
                <a:lnTo>
                  <a:pt x="7731753" y="320664"/>
                </a:lnTo>
                <a:lnTo>
                  <a:pt x="320664" y="320664"/>
                </a:lnTo>
                <a:lnTo>
                  <a:pt x="320664" y="5104927"/>
                </a:lnTo>
                <a:lnTo>
                  <a:pt x="0" y="5104927"/>
                </a:lnTo>
                <a:lnTo>
                  <a:pt x="0" y="0"/>
                </a:lnTo>
                <a:close/>
              </a:path>
            </a:pathLst>
          </a:custGeom>
          <a:solidFill>
            <a:schemeClr val="bg1">
              <a:lumMod val="95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no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8" name="Isosceles Triangle 7">
            <a:extLst>
              <a:ext uri="{FF2B5EF4-FFF2-40B4-BE49-F238E27FC236}">
                <a16:creationId xmlns:a16="http://schemas.microsoft.com/office/drawing/2014/main" id="{60BFFAAF-E655-479D-9EBB-53DBE2213894}"/>
              </a:ext>
            </a:extLst>
          </p:cNvPr>
          <p:cNvSpPr/>
          <p:nvPr/>
        </p:nvSpPr>
        <p:spPr>
          <a:xfrm rot="16200000">
            <a:off x="9643218" y="9330453"/>
            <a:ext cx="1705418" cy="1470188"/>
          </a:xfrm>
          <a:prstGeom prst="triangle">
            <a:avLst/>
          </a:prstGeom>
          <a:solidFill>
            <a:schemeClr val="bg1">
              <a:lumMod val="95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Tree>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 name="Text Box 3"/>
          <p:cNvSpPr txBox="1"/>
          <p:nvPr/>
        </p:nvSpPr>
        <p:spPr>
          <a:xfrm>
            <a:off x="4511437" y="856183"/>
            <a:ext cx="15361127" cy="6858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8100" tIns="38100" rIns="38100" bIns="38100" anchor="ctr">
            <a:spAutoFit/>
          </a:bodyPr>
          <a:lstStyle/>
          <a:p>
            <a:r>
              <a:rPr dirty="0"/>
              <a:t>Purpose Of The Report</a:t>
            </a:r>
          </a:p>
        </p:txBody>
      </p:sp>
      <p:grpSp>
        <p:nvGrpSpPr>
          <p:cNvPr id="244" name="Group"/>
          <p:cNvGrpSpPr/>
          <p:nvPr/>
        </p:nvGrpSpPr>
        <p:grpSpPr>
          <a:xfrm>
            <a:off x="1685967" y="2178460"/>
            <a:ext cx="21196517" cy="10443158"/>
            <a:chOff x="184447" y="-3"/>
            <a:chExt cx="21196514" cy="10443157"/>
          </a:xfrm>
        </p:grpSpPr>
        <p:grpSp>
          <p:nvGrpSpPr>
            <p:cNvPr id="204" name="Group"/>
            <p:cNvGrpSpPr/>
            <p:nvPr/>
          </p:nvGrpSpPr>
          <p:grpSpPr>
            <a:xfrm>
              <a:off x="13642678" y="652953"/>
              <a:ext cx="7738283" cy="9217540"/>
              <a:chOff x="0" y="-1"/>
              <a:chExt cx="7738281" cy="9217540"/>
            </a:xfrm>
          </p:grpSpPr>
          <p:sp>
            <p:nvSpPr>
              <p:cNvPr id="192" name="Линия"/>
              <p:cNvSpPr/>
              <p:nvPr/>
            </p:nvSpPr>
            <p:spPr>
              <a:xfrm>
                <a:off x="258233" y="1995781"/>
                <a:ext cx="7300209" cy="1"/>
              </a:xfrm>
              <a:prstGeom prst="line">
                <a:avLst/>
              </a:prstGeom>
              <a:noFill/>
              <a:ln w="25400" cap="flat">
                <a:solidFill>
                  <a:srgbClr val="A7A7A7"/>
                </a:solidFill>
                <a:prstDash val="solid"/>
                <a:round/>
              </a:ln>
              <a:effectLst>
                <a:outerShdw blurRad="101600" dist="25400" dir="5400000" rotWithShape="0">
                  <a:srgbClr val="000000">
                    <a:alpha val="75000"/>
                  </a:srgbClr>
                </a:outerShdw>
              </a:effectLst>
            </p:spPr>
            <p:txBody>
              <a:bodyPr wrap="square" lIns="45718" tIns="45718" rIns="45718" bIns="45718" numCol="1" anchor="t">
                <a:noAutofit/>
              </a:bodyPr>
              <a:lstStyle/>
              <a:p>
                <a:pPr algn="l">
                  <a:defRPr sz="2000" b="0" cap="none">
                    <a:solidFill>
                      <a:srgbClr val="252D30"/>
                    </a:solidFill>
                    <a:effectLst/>
                    <a:latin typeface="+mn-lt"/>
                    <a:ea typeface="+mn-ea"/>
                    <a:cs typeface="+mn-cs"/>
                    <a:sym typeface="Helvetica Neue"/>
                  </a:defRPr>
                </a:pPr>
                <a:endParaRPr dirty="0"/>
              </a:p>
            </p:txBody>
          </p:sp>
          <p:sp>
            <p:nvSpPr>
              <p:cNvPr id="193" name="Линия"/>
              <p:cNvSpPr/>
              <p:nvPr/>
            </p:nvSpPr>
            <p:spPr>
              <a:xfrm>
                <a:off x="215517" y="4403033"/>
                <a:ext cx="7300208" cy="1"/>
              </a:xfrm>
              <a:prstGeom prst="line">
                <a:avLst/>
              </a:prstGeom>
              <a:noFill/>
              <a:ln w="25400" cap="flat">
                <a:solidFill>
                  <a:srgbClr val="A7A7A7"/>
                </a:solidFill>
                <a:prstDash val="solid"/>
                <a:round/>
              </a:ln>
              <a:effectLst>
                <a:outerShdw blurRad="101600" dist="25400" dir="5400000" rotWithShape="0">
                  <a:srgbClr val="000000">
                    <a:alpha val="75000"/>
                  </a:srgbClr>
                </a:outerShdw>
              </a:effectLst>
            </p:spPr>
            <p:txBody>
              <a:bodyPr wrap="square" lIns="45718" tIns="45718" rIns="45718" bIns="45718" numCol="1" anchor="t">
                <a:noAutofit/>
              </a:bodyPr>
              <a:lstStyle/>
              <a:p>
                <a:pPr algn="l">
                  <a:defRPr sz="2000" b="0" cap="none">
                    <a:solidFill>
                      <a:srgbClr val="252D30"/>
                    </a:solidFill>
                    <a:effectLst/>
                    <a:latin typeface="+mn-lt"/>
                    <a:ea typeface="+mn-ea"/>
                    <a:cs typeface="+mn-cs"/>
                    <a:sym typeface="Helvetica Neue"/>
                  </a:defRPr>
                </a:pPr>
                <a:endParaRPr dirty="0"/>
              </a:p>
            </p:txBody>
          </p:sp>
          <p:sp>
            <p:nvSpPr>
              <p:cNvPr id="194" name="Линия"/>
              <p:cNvSpPr/>
              <p:nvPr/>
            </p:nvSpPr>
            <p:spPr>
              <a:xfrm>
                <a:off x="258233" y="6810285"/>
                <a:ext cx="7300209" cy="1"/>
              </a:xfrm>
              <a:prstGeom prst="line">
                <a:avLst/>
              </a:prstGeom>
              <a:noFill/>
              <a:ln w="25400" cap="flat">
                <a:solidFill>
                  <a:srgbClr val="A7A7A7"/>
                </a:solidFill>
                <a:prstDash val="solid"/>
                <a:round/>
              </a:ln>
              <a:effectLst>
                <a:outerShdw blurRad="101600" dist="25400" dir="5400000" rotWithShape="0">
                  <a:srgbClr val="000000">
                    <a:alpha val="75000"/>
                  </a:srgbClr>
                </a:outerShdw>
              </a:effectLst>
            </p:spPr>
            <p:txBody>
              <a:bodyPr wrap="square" lIns="45718" tIns="45718" rIns="45718" bIns="45718" numCol="1" anchor="t">
                <a:noAutofit/>
              </a:bodyPr>
              <a:lstStyle/>
              <a:p>
                <a:pPr algn="l">
                  <a:defRPr sz="2000" b="0" cap="none">
                    <a:solidFill>
                      <a:srgbClr val="252D30"/>
                    </a:solidFill>
                    <a:effectLst/>
                    <a:latin typeface="+mn-lt"/>
                    <a:ea typeface="+mn-ea"/>
                    <a:cs typeface="+mn-cs"/>
                    <a:sym typeface="Helvetica Neue"/>
                  </a:defRPr>
                </a:pPr>
                <a:endParaRPr dirty="0"/>
              </a:p>
            </p:txBody>
          </p:sp>
          <p:sp>
            <p:nvSpPr>
              <p:cNvPr id="195" name="Present Budget Performance as at Q3 2020"/>
              <p:cNvSpPr txBox="1"/>
              <p:nvPr/>
            </p:nvSpPr>
            <p:spPr>
              <a:xfrm>
                <a:off x="2018755" y="297960"/>
                <a:ext cx="5710876" cy="98488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121918" tIns="121918" rIns="121918" bIns="121918" numCol="1" anchor="t">
                <a:spAutoFit/>
              </a:bodyPr>
              <a:lstStyle/>
              <a:p>
                <a:pPr algn="l" defTabSz="2438400">
                  <a:defRPr sz="2400">
                    <a:solidFill>
                      <a:srgbClr val="000000"/>
                    </a:solidFill>
                    <a:effectLst>
                      <a:outerShdw blurRad="12700" dist="12700" dir="18900000" rotWithShape="0">
                        <a:srgbClr val="000000">
                          <a:alpha val="24000"/>
                        </a:srgbClr>
                      </a:outerShdw>
                    </a:effectLst>
                  </a:defRPr>
                </a:pPr>
                <a:r>
                  <a:rPr dirty="0"/>
                  <a:t>Present Budget Performance as at Q</a:t>
                </a:r>
                <a:r>
                  <a:rPr lang="en-GB" dirty="0"/>
                  <a:t>1</a:t>
                </a:r>
                <a:r>
                  <a:rPr dirty="0"/>
                  <a:t> 202</a:t>
                </a:r>
                <a:r>
                  <a:rPr lang="en-GB" dirty="0"/>
                  <a:t>1</a:t>
                </a:r>
                <a:endParaRPr dirty="0"/>
              </a:p>
            </p:txBody>
          </p:sp>
          <p:sp>
            <p:nvSpPr>
              <p:cNvPr id="196" name="Proffer Suggestions and Solutions for Improvement"/>
              <p:cNvSpPr txBox="1"/>
              <p:nvPr/>
            </p:nvSpPr>
            <p:spPr>
              <a:xfrm>
                <a:off x="2022803" y="7478241"/>
                <a:ext cx="5715478" cy="955039"/>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121918" tIns="121918" rIns="121918" bIns="121918" numCol="1" anchor="t">
                <a:spAutoFit/>
              </a:bodyPr>
              <a:lstStyle>
                <a:lvl1pPr algn="l" defTabSz="2438400">
                  <a:defRPr sz="2400">
                    <a:solidFill>
                      <a:srgbClr val="000000"/>
                    </a:solidFill>
                    <a:effectLst>
                      <a:outerShdw blurRad="12700" dist="12700" dir="18900000" rotWithShape="0">
                        <a:srgbClr val="000000">
                          <a:alpha val="24000"/>
                        </a:srgbClr>
                      </a:outerShdw>
                    </a:effectLst>
                  </a:defRPr>
                </a:lvl1pPr>
              </a:lstStyle>
              <a:p>
                <a:r>
                  <a:rPr dirty="0"/>
                  <a:t>Proffer Suggestions and Solutions for Improvement</a:t>
                </a:r>
              </a:p>
            </p:txBody>
          </p:sp>
          <p:sp>
            <p:nvSpPr>
              <p:cNvPr id="197" name="Identify Budget Implementation Challenges"/>
              <p:cNvSpPr txBox="1"/>
              <p:nvPr/>
            </p:nvSpPr>
            <p:spPr>
              <a:xfrm>
                <a:off x="2012433" y="2717149"/>
                <a:ext cx="5710875" cy="955039"/>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121918" tIns="121918" rIns="121918" bIns="121918" numCol="1" anchor="t">
                <a:noAutofit/>
              </a:bodyPr>
              <a:lstStyle>
                <a:lvl1pPr algn="l" defTabSz="2438400">
                  <a:defRPr sz="2400">
                    <a:solidFill>
                      <a:srgbClr val="000000"/>
                    </a:solidFill>
                    <a:effectLst>
                      <a:outerShdw blurRad="12700" dist="12700" dir="18900000" rotWithShape="0">
                        <a:srgbClr val="000000">
                          <a:alpha val="24000"/>
                        </a:srgbClr>
                      </a:outerShdw>
                    </a:effectLst>
                  </a:defRPr>
                </a:lvl1pPr>
              </a:lstStyle>
              <a:p>
                <a:r>
                  <a:rPr dirty="0"/>
                  <a:t>Identify Budget Implementation Challenges</a:t>
                </a:r>
              </a:p>
            </p:txBody>
          </p:sp>
          <p:sp>
            <p:nvSpPr>
              <p:cNvPr id="198" name="Apply Lessons Learnt from Q3 in driving subsequent Budget Implementation"/>
              <p:cNvSpPr txBox="1"/>
              <p:nvPr/>
            </p:nvSpPr>
            <p:spPr>
              <a:xfrm>
                <a:off x="2020366" y="5136339"/>
                <a:ext cx="5710875" cy="935233"/>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121918" tIns="121918" rIns="121918" bIns="121918" numCol="1" anchor="t">
                <a:noAutofit/>
              </a:bodyPr>
              <a:lstStyle>
                <a:lvl1pPr algn="l" defTabSz="2438400">
                  <a:defRPr sz="2400">
                    <a:solidFill>
                      <a:srgbClr val="000000"/>
                    </a:solidFill>
                    <a:effectLst>
                      <a:outerShdw blurRad="12700" dist="12700" dir="18900000" rotWithShape="0">
                        <a:srgbClr val="000000">
                          <a:alpha val="24000"/>
                        </a:srgbClr>
                      </a:outerShdw>
                    </a:effectLst>
                  </a:defRPr>
                </a:lvl1pPr>
              </a:lstStyle>
              <a:p>
                <a:r>
                  <a:rPr dirty="0"/>
                  <a:t>Apply Lessons Learnt from Q</a:t>
                </a:r>
                <a:r>
                  <a:rPr lang="en-GB" dirty="0"/>
                  <a:t>1</a:t>
                </a:r>
                <a:r>
                  <a:rPr dirty="0"/>
                  <a:t> in driving subsequent Budget Implementation</a:t>
                </a:r>
              </a:p>
            </p:txBody>
          </p:sp>
          <p:sp>
            <p:nvSpPr>
              <p:cNvPr id="199" name="1"/>
              <p:cNvSpPr txBox="1"/>
              <p:nvPr/>
            </p:nvSpPr>
            <p:spPr>
              <a:xfrm>
                <a:off x="0" y="-1"/>
                <a:ext cx="753310" cy="1653539"/>
              </a:xfrm>
              <a:prstGeom prst="rect">
                <a:avLst/>
              </a:prstGeom>
              <a:noFill/>
              <a:ln w="12700" cap="flat">
                <a:noFill/>
                <a:miter lim="400000"/>
              </a:ln>
              <a:effectLst>
                <a:outerShdw blurRad="38100" dist="12700" dir="5400000" rotWithShape="0">
                  <a:srgbClr val="000000">
                    <a:alpha val="16414"/>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121918" tIns="121918" rIns="121918" bIns="121918" numCol="1" anchor="ctr">
                <a:spAutoFit/>
              </a:bodyPr>
              <a:lstStyle>
                <a:lvl1pPr>
                  <a:defRPr sz="9600">
                    <a:solidFill>
                      <a:srgbClr val="535353"/>
                    </a:solidFill>
                  </a:defRPr>
                </a:lvl1pPr>
              </a:lstStyle>
              <a:p>
                <a:r>
                  <a:rPr dirty="0"/>
                  <a:t>1</a:t>
                </a:r>
              </a:p>
            </p:txBody>
          </p:sp>
          <p:sp>
            <p:nvSpPr>
              <p:cNvPr id="200" name="2"/>
              <p:cNvSpPr txBox="1"/>
              <p:nvPr/>
            </p:nvSpPr>
            <p:spPr>
              <a:xfrm>
                <a:off x="28199" y="2367899"/>
                <a:ext cx="753310" cy="1653539"/>
              </a:xfrm>
              <a:prstGeom prst="rect">
                <a:avLst/>
              </a:prstGeom>
              <a:noFill/>
              <a:ln w="12700" cap="flat">
                <a:noFill/>
                <a:miter lim="400000"/>
              </a:ln>
              <a:effectLst>
                <a:outerShdw blurRad="38100" dist="12700" dir="5400000" rotWithShape="0">
                  <a:srgbClr val="000000">
                    <a:alpha val="16414"/>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121918" tIns="121918" rIns="121918" bIns="121918" numCol="1" anchor="ctr">
                <a:spAutoFit/>
              </a:bodyPr>
              <a:lstStyle>
                <a:lvl1pPr>
                  <a:defRPr sz="9600">
                    <a:solidFill>
                      <a:srgbClr val="535353"/>
                    </a:solidFill>
                  </a:defRPr>
                </a:lvl1pPr>
              </a:lstStyle>
              <a:p>
                <a:r>
                  <a:rPr dirty="0"/>
                  <a:t>2</a:t>
                </a:r>
              </a:p>
            </p:txBody>
          </p:sp>
          <p:sp>
            <p:nvSpPr>
              <p:cNvPr id="201" name="3"/>
              <p:cNvSpPr txBox="1"/>
              <p:nvPr/>
            </p:nvSpPr>
            <p:spPr>
              <a:xfrm>
                <a:off x="28199" y="4744452"/>
                <a:ext cx="753310" cy="1653539"/>
              </a:xfrm>
              <a:prstGeom prst="rect">
                <a:avLst/>
              </a:prstGeom>
              <a:noFill/>
              <a:ln w="12700" cap="flat">
                <a:noFill/>
                <a:miter lim="400000"/>
              </a:ln>
              <a:effectLst>
                <a:outerShdw blurRad="38100" dist="12700" dir="5400000" rotWithShape="0">
                  <a:srgbClr val="000000">
                    <a:alpha val="16414"/>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121918" tIns="121918" rIns="121918" bIns="121918" numCol="1" anchor="ctr">
                <a:spAutoFit/>
              </a:bodyPr>
              <a:lstStyle>
                <a:lvl1pPr>
                  <a:defRPr sz="9600">
                    <a:solidFill>
                      <a:srgbClr val="535353"/>
                    </a:solidFill>
                  </a:defRPr>
                </a:lvl1pPr>
              </a:lstStyle>
              <a:p>
                <a:r>
                  <a:rPr dirty="0"/>
                  <a:t>3</a:t>
                </a:r>
              </a:p>
            </p:txBody>
          </p:sp>
          <p:sp>
            <p:nvSpPr>
              <p:cNvPr id="202" name="4"/>
              <p:cNvSpPr txBox="1"/>
              <p:nvPr/>
            </p:nvSpPr>
            <p:spPr>
              <a:xfrm>
                <a:off x="28199" y="7128991"/>
                <a:ext cx="753310" cy="1653539"/>
              </a:xfrm>
              <a:prstGeom prst="rect">
                <a:avLst/>
              </a:prstGeom>
              <a:noFill/>
              <a:ln w="12700" cap="flat">
                <a:noFill/>
                <a:miter lim="400000"/>
              </a:ln>
              <a:effectLst>
                <a:outerShdw blurRad="38100" dist="12700" dir="5400000" rotWithShape="0">
                  <a:srgbClr val="000000">
                    <a:alpha val="16414"/>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121918" tIns="121918" rIns="121918" bIns="121918" numCol="1" anchor="ctr">
                <a:spAutoFit/>
              </a:bodyPr>
              <a:lstStyle>
                <a:lvl1pPr>
                  <a:defRPr sz="9600">
                    <a:solidFill>
                      <a:srgbClr val="535353"/>
                    </a:solidFill>
                  </a:defRPr>
                </a:lvl1pPr>
              </a:lstStyle>
              <a:p>
                <a:r>
                  <a:rPr dirty="0"/>
                  <a:t>4</a:t>
                </a:r>
              </a:p>
            </p:txBody>
          </p:sp>
          <p:sp>
            <p:nvSpPr>
              <p:cNvPr id="203" name="Линия"/>
              <p:cNvSpPr/>
              <p:nvPr/>
            </p:nvSpPr>
            <p:spPr>
              <a:xfrm>
                <a:off x="258233" y="9217538"/>
                <a:ext cx="7300209" cy="1"/>
              </a:xfrm>
              <a:prstGeom prst="line">
                <a:avLst/>
              </a:prstGeom>
              <a:noFill/>
              <a:ln w="25400" cap="flat">
                <a:solidFill>
                  <a:srgbClr val="A7A7A7"/>
                </a:solidFill>
                <a:prstDash val="solid"/>
                <a:round/>
              </a:ln>
              <a:effectLst>
                <a:outerShdw blurRad="101600" dist="25400" dir="5400000" rotWithShape="0">
                  <a:srgbClr val="000000">
                    <a:alpha val="75000"/>
                  </a:srgbClr>
                </a:outerShdw>
              </a:effectLst>
            </p:spPr>
            <p:txBody>
              <a:bodyPr wrap="square" lIns="45718" tIns="45718" rIns="45718" bIns="45718" numCol="1" anchor="t">
                <a:noAutofit/>
              </a:bodyPr>
              <a:lstStyle/>
              <a:p>
                <a:pPr algn="l">
                  <a:defRPr sz="2000" b="0" cap="none">
                    <a:solidFill>
                      <a:srgbClr val="252D30"/>
                    </a:solidFill>
                    <a:effectLst/>
                    <a:latin typeface="+mn-lt"/>
                    <a:ea typeface="+mn-ea"/>
                    <a:cs typeface="+mn-cs"/>
                    <a:sym typeface="Helvetica Neue"/>
                  </a:defRPr>
                </a:pPr>
                <a:endParaRPr dirty="0"/>
              </a:p>
            </p:txBody>
          </p:sp>
        </p:grpSp>
        <p:grpSp>
          <p:nvGrpSpPr>
            <p:cNvPr id="243" name="Group"/>
            <p:cNvGrpSpPr/>
            <p:nvPr/>
          </p:nvGrpSpPr>
          <p:grpSpPr>
            <a:xfrm>
              <a:off x="184447" y="-3"/>
              <a:ext cx="11375618" cy="10443157"/>
              <a:chOff x="184447" y="-2"/>
              <a:chExt cx="11375617" cy="10443155"/>
            </a:xfrm>
          </p:grpSpPr>
          <p:grpSp>
            <p:nvGrpSpPr>
              <p:cNvPr id="241" name="Group"/>
              <p:cNvGrpSpPr/>
              <p:nvPr/>
            </p:nvGrpSpPr>
            <p:grpSpPr>
              <a:xfrm>
                <a:off x="1006664" y="-2"/>
                <a:ext cx="10553400" cy="10443155"/>
                <a:chOff x="0" y="-1"/>
                <a:chExt cx="10553399" cy="10443154"/>
              </a:xfrm>
            </p:grpSpPr>
            <p:sp>
              <p:nvSpPr>
                <p:cNvPr id="205" name="Circle"/>
                <p:cNvSpPr/>
                <p:nvPr/>
              </p:nvSpPr>
              <p:spPr>
                <a:xfrm>
                  <a:off x="1297723" y="1288874"/>
                  <a:ext cx="7269839" cy="7269839"/>
                </a:xfrm>
                <a:prstGeom prst="ellipse">
                  <a:avLst/>
                </a:prstGeom>
                <a:solidFill>
                  <a:srgbClr val="F7F5F4"/>
                </a:solidFill>
                <a:ln w="12700" cap="flat">
                  <a:noFill/>
                  <a:miter lim="400000"/>
                </a:ln>
                <a:effectLst/>
              </p:spPr>
              <p:txBody>
                <a:bodyPr wrap="square" lIns="0" tIns="0" rIns="0" bIns="0" numCol="1" anchor="ctr">
                  <a:noAutofit/>
                </a:bodyPr>
                <a:lstStyle/>
                <a:p>
                  <a:pPr>
                    <a:defRPr sz="3200" b="0" cap="none">
                      <a:solidFill>
                        <a:srgbClr val="FFFFFF"/>
                      </a:solidFill>
                      <a:effectLst/>
                      <a:latin typeface="Helvetica Neue Medium"/>
                      <a:ea typeface="Helvetica Neue Medium"/>
                      <a:cs typeface="Helvetica Neue Medium"/>
                      <a:sym typeface="Helvetica Neue Medium"/>
                    </a:defRPr>
                  </a:pPr>
                  <a:endParaRPr dirty="0"/>
                </a:p>
              </p:txBody>
            </p:sp>
            <p:sp>
              <p:nvSpPr>
                <p:cNvPr id="206" name="Shape"/>
                <p:cNvSpPr/>
                <p:nvPr/>
              </p:nvSpPr>
              <p:spPr>
                <a:xfrm rot="3571083">
                  <a:off x="4401892" y="2210632"/>
                  <a:ext cx="3743343" cy="3198085"/>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12"/>
                      </a:lnTo>
                      <a:lnTo>
                        <a:pt x="10796" y="21600"/>
                      </a:lnTo>
                      <a:cubicBezTo>
                        <a:pt x="17273" y="17006"/>
                        <a:pt x="21320" y="9040"/>
                        <a:pt x="21591" y="351"/>
                      </a:cubicBezTo>
                      <a:cubicBezTo>
                        <a:pt x="21595" y="234"/>
                        <a:pt x="21598" y="117"/>
                        <a:pt x="21600" y="0"/>
                      </a:cubicBezTo>
                      <a:close/>
                    </a:path>
                  </a:pathLst>
                </a:custGeom>
                <a:solidFill>
                  <a:srgbClr val="DDDDDD"/>
                </a:solidFill>
                <a:ln w="12700" cap="flat">
                  <a:noFill/>
                  <a:miter lim="400000"/>
                </a:ln>
                <a:effectLst/>
              </p:spPr>
              <p:txBody>
                <a:bodyPr wrap="square" lIns="0" tIns="0" rIns="0" bIns="0" numCol="1" anchor="ctr">
                  <a:noAutofit/>
                </a:bodyPr>
                <a:lstStyle/>
                <a:p>
                  <a:pPr>
                    <a:defRPr sz="3000" cap="none">
                      <a:solidFill>
                        <a:srgbClr val="000000"/>
                      </a:solidFill>
                      <a:effectLst/>
                      <a:latin typeface="+mn-lt"/>
                      <a:ea typeface="+mn-ea"/>
                      <a:cs typeface="+mn-cs"/>
                      <a:sym typeface="Helvetica Neue"/>
                    </a:defRPr>
                  </a:pPr>
                  <a:endParaRPr dirty="0"/>
                </a:p>
              </p:txBody>
            </p:sp>
            <p:sp>
              <p:nvSpPr>
                <p:cNvPr id="207" name="Line"/>
                <p:cNvSpPr/>
                <p:nvPr/>
              </p:nvSpPr>
              <p:spPr>
                <a:xfrm flipV="1">
                  <a:off x="4944291" y="1778142"/>
                  <a:ext cx="1" cy="7128108"/>
                </a:xfrm>
                <a:prstGeom prst="line">
                  <a:avLst/>
                </a:prstGeom>
                <a:noFill/>
                <a:ln w="25400" cap="flat">
                  <a:solidFill>
                    <a:srgbClr val="DDDDDD"/>
                  </a:solidFill>
                  <a:custDash>
                    <a:ds d="200000" sp="200000"/>
                  </a:custDash>
                  <a:miter lim="400000"/>
                </a:ln>
                <a:effectLst/>
              </p:spPr>
              <p:txBody>
                <a:bodyPr wrap="square" lIns="45718" tIns="45718" rIns="45718" bIns="45718" numCol="1" anchor="t">
                  <a:noAutofit/>
                </a:bodyPr>
                <a:lstStyle/>
                <a:p>
                  <a:pPr>
                    <a:defRPr sz="3000" b="0" cap="none">
                      <a:solidFill>
                        <a:srgbClr val="1B1E20"/>
                      </a:solidFill>
                      <a:effectLst/>
                      <a:latin typeface="Helvetica Neue Medium"/>
                      <a:ea typeface="Helvetica Neue Medium"/>
                      <a:cs typeface="Helvetica Neue Medium"/>
                      <a:sym typeface="Helvetica Neue Medium"/>
                    </a:defRPr>
                  </a:pPr>
                  <a:endParaRPr dirty="0"/>
                </a:p>
              </p:txBody>
            </p:sp>
            <p:sp>
              <p:nvSpPr>
                <p:cNvPr id="208" name="Line"/>
                <p:cNvSpPr/>
                <p:nvPr/>
              </p:nvSpPr>
              <p:spPr>
                <a:xfrm>
                  <a:off x="964329" y="4935425"/>
                  <a:ext cx="7943416" cy="1"/>
                </a:xfrm>
                <a:prstGeom prst="line">
                  <a:avLst/>
                </a:prstGeom>
                <a:noFill/>
                <a:ln w="25400" cap="flat">
                  <a:solidFill>
                    <a:srgbClr val="E3E3E4"/>
                  </a:solidFill>
                  <a:custDash>
                    <a:ds d="200000" sp="200000"/>
                  </a:custDash>
                  <a:miter lim="400000"/>
                </a:ln>
                <a:effectLst/>
              </p:spPr>
              <p:txBody>
                <a:bodyPr wrap="square" lIns="45718" tIns="45718" rIns="45718" bIns="45718" numCol="1" anchor="t">
                  <a:noAutofit/>
                </a:bodyPr>
                <a:lstStyle/>
                <a:p>
                  <a:pPr>
                    <a:defRPr sz="3000" b="0" cap="none">
                      <a:solidFill>
                        <a:srgbClr val="1B1E20"/>
                      </a:solidFill>
                      <a:effectLst/>
                      <a:latin typeface="Helvetica Neue Medium"/>
                      <a:ea typeface="Helvetica Neue Medium"/>
                      <a:cs typeface="Helvetica Neue Medium"/>
                      <a:sym typeface="Helvetica Neue Medium"/>
                    </a:defRPr>
                  </a:pPr>
                  <a:endParaRPr dirty="0"/>
                </a:p>
              </p:txBody>
            </p:sp>
            <p:sp>
              <p:nvSpPr>
                <p:cNvPr id="209" name="Line"/>
                <p:cNvSpPr/>
                <p:nvPr/>
              </p:nvSpPr>
              <p:spPr>
                <a:xfrm flipV="1">
                  <a:off x="1498826" y="2931224"/>
                  <a:ext cx="6889853" cy="4027094"/>
                </a:xfrm>
                <a:prstGeom prst="line">
                  <a:avLst/>
                </a:prstGeom>
                <a:noFill/>
                <a:ln w="25400" cap="flat">
                  <a:solidFill>
                    <a:srgbClr val="E3E3E4"/>
                  </a:solidFill>
                  <a:custDash>
                    <a:ds d="200000" sp="200000"/>
                  </a:custDash>
                  <a:miter lim="400000"/>
                </a:ln>
                <a:effectLst/>
              </p:spPr>
              <p:txBody>
                <a:bodyPr wrap="square" lIns="45718" tIns="45718" rIns="45718" bIns="45718" numCol="1" anchor="t">
                  <a:noAutofit/>
                </a:bodyPr>
                <a:lstStyle/>
                <a:p>
                  <a:pPr>
                    <a:defRPr sz="3000" b="0" cap="none">
                      <a:solidFill>
                        <a:srgbClr val="1B1E20"/>
                      </a:solidFill>
                      <a:effectLst/>
                      <a:latin typeface="Helvetica Neue Medium"/>
                      <a:ea typeface="Helvetica Neue Medium"/>
                      <a:cs typeface="Helvetica Neue Medium"/>
                      <a:sym typeface="Helvetica Neue Medium"/>
                    </a:defRPr>
                  </a:pPr>
                  <a:endParaRPr dirty="0"/>
                </a:p>
              </p:txBody>
            </p:sp>
            <p:sp>
              <p:nvSpPr>
                <p:cNvPr id="210" name="Line"/>
                <p:cNvSpPr/>
                <p:nvPr/>
              </p:nvSpPr>
              <p:spPr>
                <a:xfrm>
                  <a:off x="1875164" y="3228890"/>
                  <a:ext cx="6510711" cy="3686322"/>
                </a:xfrm>
                <a:prstGeom prst="line">
                  <a:avLst/>
                </a:prstGeom>
                <a:noFill/>
                <a:ln w="25400" cap="flat">
                  <a:solidFill>
                    <a:srgbClr val="DDDDDD"/>
                  </a:solidFill>
                  <a:custDash>
                    <a:ds d="200000" sp="200000"/>
                  </a:custDash>
                  <a:miter lim="400000"/>
                </a:ln>
                <a:effectLst/>
              </p:spPr>
              <p:txBody>
                <a:bodyPr wrap="square" lIns="45718" tIns="45718" rIns="45718" bIns="45718" numCol="1" anchor="t">
                  <a:noAutofit/>
                </a:bodyPr>
                <a:lstStyle/>
                <a:p>
                  <a:pPr>
                    <a:defRPr sz="3000" b="0" cap="none">
                      <a:solidFill>
                        <a:srgbClr val="1B1E20"/>
                      </a:solidFill>
                      <a:effectLst/>
                      <a:latin typeface="Helvetica Neue Medium"/>
                      <a:ea typeface="Helvetica Neue Medium"/>
                      <a:cs typeface="Helvetica Neue Medium"/>
                      <a:sym typeface="Helvetica Neue Medium"/>
                    </a:defRPr>
                  </a:pPr>
                  <a:endParaRPr dirty="0"/>
                </a:p>
              </p:txBody>
            </p:sp>
            <p:sp>
              <p:nvSpPr>
                <p:cNvPr id="211" name="JAN"/>
                <p:cNvSpPr txBox="1"/>
                <p:nvPr/>
              </p:nvSpPr>
              <p:spPr>
                <a:xfrm rot="18013079">
                  <a:off x="6513864" y="779110"/>
                  <a:ext cx="953362" cy="372222"/>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numCol="1" anchor="ctr">
                  <a:noAutofit/>
                </a:bodyPr>
                <a:lstStyle>
                  <a:lvl1pPr>
                    <a:defRPr sz="2000" cap="all" spc="280">
                      <a:solidFill>
                        <a:srgbClr val="1B1E20"/>
                      </a:solidFill>
                      <a:latin typeface="+mj-lt"/>
                      <a:ea typeface="+mj-ea"/>
                      <a:cs typeface="+mj-cs"/>
                      <a:sym typeface="Helvetica"/>
                    </a:defRPr>
                  </a:lvl1pPr>
                </a:lstStyle>
                <a:p>
                  <a:pPr>
                    <a:defRPr>
                      <a:effectLst/>
                    </a:defRPr>
                  </a:pPr>
                  <a:r>
                    <a:rPr dirty="0"/>
                    <a:t>JAN</a:t>
                  </a:r>
                </a:p>
              </p:txBody>
            </p:sp>
            <p:sp>
              <p:nvSpPr>
                <p:cNvPr id="212" name="JUL"/>
                <p:cNvSpPr txBox="1"/>
                <p:nvPr/>
              </p:nvSpPr>
              <p:spPr>
                <a:xfrm rot="18013079">
                  <a:off x="2058846" y="8502691"/>
                  <a:ext cx="953363" cy="372222"/>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numCol="1" anchor="ctr">
                  <a:noAutofit/>
                </a:bodyPr>
                <a:lstStyle>
                  <a:lvl1pPr>
                    <a:defRPr sz="2000" cap="all" spc="280">
                      <a:solidFill>
                        <a:srgbClr val="1B1E20"/>
                      </a:solidFill>
                      <a:latin typeface="+mj-lt"/>
                      <a:ea typeface="+mj-ea"/>
                      <a:cs typeface="+mj-cs"/>
                      <a:sym typeface="Helvetica"/>
                    </a:defRPr>
                  </a:lvl1pPr>
                </a:lstStyle>
                <a:p>
                  <a:pPr>
                    <a:defRPr>
                      <a:effectLst/>
                    </a:defRPr>
                  </a:pPr>
                  <a:r>
                    <a:rPr dirty="0"/>
                    <a:t>JUL</a:t>
                  </a:r>
                </a:p>
              </p:txBody>
            </p:sp>
            <p:sp>
              <p:nvSpPr>
                <p:cNvPr id="213" name="FEB"/>
                <p:cNvSpPr txBox="1"/>
                <p:nvPr/>
              </p:nvSpPr>
              <p:spPr>
                <a:xfrm rot="19759460">
                  <a:off x="8212121" y="2326152"/>
                  <a:ext cx="953363" cy="372222"/>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numCol="1" anchor="ctr">
                  <a:noAutofit/>
                </a:bodyPr>
                <a:lstStyle>
                  <a:lvl1pPr>
                    <a:defRPr sz="2000" cap="all" spc="280">
                      <a:solidFill>
                        <a:srgbClr val="1B1E20"/>
                      </a:solidFill>
                      <a:latin typeface="+mj-lt"/>
                      <a:ea typeface="+mj-ea"/>
                      <a:cs typeface="+mj-cs"/>
                      <a:sym typeface="Helvetica"/>
                    </a:defRPr>
                  </a:lvl1pPr>
                </a:lstStyle>
                <a:p>
                  <a:pPr>
                    <a:defRPr>
                      <a:effectLst/>
                    </a:defRPr>
                  </a:pPr>
                  <a:r>
                    <a:rPr dirty="0"/>
                    <a:t>FEB</a:t>
                  </a:r>
                </a:p>
              </p:txBody>
            </p:sp>
            <p:sp>
              <p:nvSpPr>
                <p:cNvPr id="214" name="AUG"/>
                <p:cNvSpPr txBox="1"/>
                <p:nvPr/>
              </p:nvSpPr>
              <p:spPr>
                <a:xfrm rot="19759460">
                  <a:off x="523435" y="6839329"/>
                  <a:ext cx="953362" cy="372222"/>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numCol="1" anchor="ctr">
                  <a:noAutofit/>
                </a:bodyPr>
                <a:lstStyle>
                  <a:lvl1pPr>
                    <a:defRPr sz="2000" cap="all" spc="280">
                      <a:solidFill>
                        <a:srgbClr val="1B1E20"/>
                      </a:solidFill>
                      <a:latin typeface="+mj-lt"/>
                      <a:ea typeface="+mj-ea"/>
                      <a:cs typeface="+mj-cs"/>
                      <a:sym typeface="Helvetica"/>
                    </a:defRPr>
                  </a:lvl1pPr>
                </a:lstStyle>
                <a:p>
                  <a:pPr>
                    <a:defRPr>
                      <a:effectLst/>
                    </a:defRPr>
                  </a:pPr>
                  <a:r>
                    <a:rPr dirty="0"/>
                    <a:t>AUG</a:t>
                  </a:r>
                </a:p>
              </p:txBody>
            </p:sp>
            <p:sp>
              <p:nvSpPr>
                <p:cNvPr id="215" name="SEP"/>
                <p:cNvSpPr txBox="1"/>
                <p:nvPr/>
              </p:nvSpPr>
              <p:spPr>
                <a:xfrm>
                  <a:off x="0" y="4536213"/>
                  <a:ext cx="953362" cy="372222"/>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numCol="1" anchor="ctr">
                  <a:noAutofit/>
                </a:bodyPr>
                <a:lstStyle>
                  <a:lvl1pPr>
                    <a:defRPr sz="2000" cap="all" spc="280">
                      <a:solidFill>
                        <a:srgbClr val="1B1E20"/>
                      </a:solidFill>
                      <a:latin typeface="+mj-lt"/>
                      <a:ea typeface="+mj-ea"/>
                      <a:cs typeface="+mj-cs"/>
                      <a:sym typeface="Helvetica"/>
                    </a:defRPr>
                  </a:lvl1pPr>
                </a:lstStyle>
                <a:p>
                  <a:pPr>
                    <a:defRPr>
                      <a:effectLst/>
                    </a:defRPr>
                  </a:pPr>
                  <a:r>
                    <a:rPr dirty="0"/>
                    <a:t>SEP</a:t>
                  </a:r>
                </a:p>
              </p:txBody>
            </p:sp>
            <p:sp>
              <p:nvSpPr>
                <p:cNvPr id="216" name="MAR"/>
                <p:cNvSpPr txBox="1"/>
                <p:nvPr/>
              </p:nvSpPr>
              <p:spPr>
                <a:xfrm>
                  <a:off x="8898404" y="4536213"/>
                  <a:ext cx="953362" cy="372222"/>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numCol="1" anchor="ctr">
                  <a:noAutofit/>
                </a:bodyPr>
                <a:lstStyle>
                  <a:lvl1pPr>
                    <a:defRPr sz="2000" cap="all" spc="280">
                      <a:solidFill>
                        <a:srgbClr val="1B1E20"/>
                      </a:solidFill>
                      <a:latin typeface="+mj-lt"/>
                      <a:ea typeface="+mj-ea"/>
                      <a:cs typeface="+mj-cs"/>
                      <a:sym typeface="Helvetica"/>
                    </a:defRPr>
                  </a:lvl1pPr>
                </a:lstStyle>
                <a:p>
                  <a:pPr>
                    <a:defRPr>
                      <a:effectLst/>
                    </a:defRPr>
                  </a:pPr>
                  <a:r>
                    <a:rPr dirty="0"/>
                    <a:t>MAR</a:t>
                  </a:r>
                </a:p>
              </p:txBody>
            </p:sp>
            <p:sp>
              <p:nvSpPr>
                <p:cNvPr id="217" name="DEC"/>
                <p:cNvSpPr txBox="1"/>
                <p:nvPr/>
              </p:nvSpPr>
              <p:spPr>
                <a:xfrm rot="16200000">
                  <a:off x="4268907" y="290570"/>
                  <a:ext cx="953363" cy="372222"/>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numCol="1" anchor="ctr">
                  <a:noAutofit/>
                </a:bodyPr>
                <a:lstStyle>
                  <a:lvl1pPr>
                    <a:defRPr sz="2000" cap="all" spc="280">
                      <a:solidFill>
                        <a:srgbClr val="1B1E20"/>
                      </a:solidFill>
                      <a:latin typeface="+mj-lt"/>
                      <a:ea typeface="+mj-ea"/>
                      <a:cs typeface="+mj-cs"/>
                      <a:sym typeface="Helvetica"/>
                    </a:defRPr>
                  </a:lvl1pPr>
                </a:lstStyle>
                <a:p>
                  <a:pPr>
                    <a:defRPr>
                      <a:effectLst/>
                    </a:defRPr>
                  </a:pPr>
                  <a:r>
                    <a:rPr dirty="0"/>
                    <a:t>DEC</a:t>
                  </a:r>
                </a:p>
              </p:txBody>
            </p:sp>
            <p:sp>
              <p:nvSpPr>
                <p:cNvPr id="218" name="JUN"/>
                <p:cNvSpPr txBox="1"/>
                <p:nvPr/>
              </p:nvSpPr>
              <p:spPr>
                <a:xfrm rot="16200000">
                  <a:off x="4268907" y="9200605"/>
                  <a:ext cx="953363" cy="372222"/>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numCol="1" anchor="ctr">
                  <a:noAutofit/>
                </a:bodyPr>
                <a:lstStyle>
                  <a:lvl1pPr>
                    <a:defRPr sz="2000" cap="all" spc="280">
                      <a:solidFill>
                        <a:srgbClr val="1B1E20"/>
                      </a:solidFill>
                      <a:latin typeface="+mj-lt"/>
                      <a:ea typeface="+mj-ea"/>
                      <a:cs typeface="+mj-cs"/>
                      <a:sym typeface="Helvetica"/>
                    </a:defRPr>
                  </a:lvl1pPr>
                </a:lstStyle>
                <a:p>
                  <a:pPr>
                    <a:defRPr>
                      <a:effectLst/>
                    </a:defRPr>
                  </a:pPr>
                  <a:r>
                    <a:rPr dirty="0"/>
                    <a:t>JUN</a:t>
                  </a:r>
                </a:p>
              </p:txBody>
            </p:sp>
            <p:sp>
              <p:nvSpPr>
                <p:cNvPr id="219" name="OCT"/>
                <p:cNvSpPr txBox="1"/>
                <p:nvPr/>
              </p:nvSpPr>
              <p:spPr>
                <a:xfrm rot="1789460">
                  <a:off x="665892" y="2361048"/>
                  <a:ext cx="953362" cy="37222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numCol="1" anchor="ctr">
                  <a:noAutofit/>
                </a:bodyPr>
                <a:lstStyle>
                  <a:lvl1pPr>
                    <a:defRPr sz="2000" cap="all" spc="280">
                      <a:solidFill>
                        <a:srgbClr val="1B1E20"/>
                      </a:solidFill>
                      <a:latin typeface="+mj-lt"/>
                      <a:ea typeface="+mj-ea"/>
                      <a:cs typeface="+mj-cs"/>
                      <a:sym typeface="Helvetica"/>
                    </a:defRPr>
                  </a:lvl1pPr>
                </a:lstStyle>
                <a:p>
                  <a:pPr>
                    <a:defRPr>
                      <a:effectLst/>
                    </a:defRPr>
                  </a:pPr>
                  <a:r>
                    <a:rPr dirty="0"/>
                    <a:t>OCT</a:t>
                  </a:r>
                </a:p>
              </p:txBody>
            </p:sp>
            <p:sp>
              <p:nvSpPr>
                <p:cNvPr id="220" name="APR"/>
                <p:cNvSpPr txBox="1"/>
                <p:nvPr/>
              </p:nvSpPr>
              <p:spPr>
                <a:xfrm rot="1789460">
                  <a:off x="8412739" y="6781170"/>
                  <a:ext cx="953362" cy="372222"/>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numCol="1" anchor="ctr">
                  <a:noAutofit/>
                </a:bodyPr>
                <a:lstStyle>
                  <a:lvl1pPr>
                    <a:defRPr sz="2000" cap="all" spc="280">
                      <a:solidFill>
                        <a:srgbClr val="1B1E20"/>
                      </a:solidFill>
                      <a:latin typeface="+mj-lt"/>
                      <a:ea typeface="+mj-ea"/>
                      <a:cs typeface="+mj-cs"/>
                      <a:sym typeface="Helvetica"/>
                    </a:defRPr>
                  </a:lvl1pPr>
                </a:lstStyle>
                <a:p>
                  <a:pPr>
                    <a:defRPr>
                      <a:effectLst/>
                    </a:defRPr>
                  </a:pPr>
                  <a:r>
                    <a:rPr dirty="0"/>
                    <a:t>APR</a:t>
                  </a:r>
                </a:p>
              </p:txBody>
            </p:sp>
            <p:sp>
              <p:nvSpPr>
                <p:cNvPr id="221" name="MAY"/>
                <p:cNvSpPr txBox="1"/>
                <p:nvPr/>
              </p:nvSpPr>
              <p:spPr>
                <a:xfrm rot="3604290">
                  <a:off x="6854063" y="8479428"/>
                  <a:ext cx="953363" cy="37222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numCol="1" anchor="ctr">
                  <a:noAutofit/>
                </a:bodyPr>
                <a:lstStyle>
                  <a:lvl1pPr>
                    <a:defRPr sz="2000" cap="all" spc="280">
                      <a:solidFill>
                        <a:srgbClr val="1B1E20"/>
                      </a:solidFill>
                      <a:latin typeface="+mj-lt"/>
                      <a:ea typeface="+mj-ea"/>
                      <a:cs typeface="+mj-cs"/>
                      <a:sym typeface="Helvetica"/>
                    </a:defRPr>
                  </a:lvl1pPr>
                </a:lstStyle>
                <a:p>
                  <a:pPr>
                    <a:defRPr>
                      <a:effectLst/>
                    </a:defRPr>
                  </a:pPr>
                  <a:r>
                    <a:rPr dirty="0"/>
                    <a:t>MAY</a:t>
                  </a:r>
                </a:p>
              </p:txBody>
            </p:sp>
            <p:sp>
              <p:nvSpPr>
                <p:cNvPr id="222" name="NOV"/>
                <p:cNvSpPr txBox="1"/>
                <p:nvPr/>
              </p:nvSpPr>
              <p:spPr>
                <a:xfrm rot="3604290">
                  <a:off x="2387413" y="790741"/>
                  <a:ext cx="953362" cy="372222"/>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numCol="1" anchor="ctr">
                  <a:noAutofit/>
                </a:bodyPr>
                <a:lstStyle>
                  <a:lvl1pPr>
                    <a:defRPr sz="2000" cap="all" spc="280">
                      <a:solidFill>
                        <a:srgbClr val="1B1E20"/>
                      </a:solidFill>
                      <a:latin typeface="+mj-lt"/>
                      <a:ea typeface="+mj-ea"/>
                      <a:cs typeface="+mj-cs"/>
                      <a:sym typeface="Helvetica"/>
                    </a:defRPr>
                  </a:lvl1pPr>
                </a:lstStyle>
                <a:p>
                  <a:pPr>
                    <a:defRPr>
                      <a:effectLst/>
                    </a:defRPr>
                  </a:pPr>
                  <a:r>
                    <a:rPr dirty="0"/>
                    <a:t>NOV</a:t>
                  </a:r>
                </a:p>
              </p:txBody>
            </p:sp>
            <p:sp>
              <p:nvSpPr>
                <p:cNvPr id="223" name="Rounded Rectangle"/>
                <p:cNvSpPr/>
                <p:nvPr/>
              </p:nvSpPr>
              <p:spPr>
                <a:xfrm>
                  <a:off x="4847133" y="1314326"/>
                  <a:ext cx="201117" cy="3374545"/>
                </a:xfrm>
                <a:prstGeom prst="roundRect">
                  <a:avLst>
                    <a:gd name="adj" fmla="val 50000"/>
                  </a:avLst>
                </a:prstGeom>
                <a:solidFill>
                  <a:schemeClr val="accent6"/>
                </a:solidFill>
                <a:ln w="12700" cap="flat">
                  <a:noFill/>
                  <a:miter lim="400000"/>
                </a:ln>
                <a:effectLst/>
              </p:spPr>
              <p:txBody>
                <a:bodyPr wrap="square" lIns="0" tIns="0" rIns="0" bIns="0" numCol="1" anchor="ctr">
                  <a:noAutofit/>
                </a:bodyPr>
                <a:lstStyle/>
                <a:p>
                  <a:pPr>
                    <a:defRPr sz="3200" b="0" cap="none">
                      <a:solidFill>
                        <a:srgbClr val="FFFFFF"/>
                      </a:solidFill>
                      <a:effectLst/>
                      <a:latin typeface="Helvetica Neue Medium"/>
                      <a:ea typeface="Helvetica Neue Medium"/>
                      <a:cs typeface="Helvetica Neue Medium"/>
                      <a:sym typeface="Helvetica Neue Medium"/>
                    </a:defRPr>
                  </a:pPr>
                  <a:endParaRPr dirty="0"/>
                </a:p>
              </p:txBody>
            </p:sp>
            <p:sp>
              <p:nvSpPr>
                <p:cNvPr id="224" name="Rounded Rectangle"/>
                <p:cNvSpPr/>
                <p:nvPr/>
              </p:nvSpPr>
              <p:spPr>
                <a:xfrm>
                  <a:off x="4847133" y="5187749"/>
                  <a:ext cx="201117" cy="2351009"/>
                </a:xfrm>
                <a:prstGeom prst="roundRect">
                  <a:avLst>
                    <a:gd name="adj" fmla="val 50000"/>
                  </a:avLst>
                </a:prstGeom>
                <a:solidFill>
                  <a:schemeClr val="accent6"/>
                </a:solidFill>
                <a:ln w="12700" cap="flat">
                  <a:noFill/>
                  <a:miter lim="400000"/>
                </a:ln>
                <a:effectLst/>
              </p:spPr>
              <p:txBody>
                <a:bodyPr wrap="square" lIns="0" tIns="0" rIns="0" bIns="0" numCol="1" anchor="ctr">
                  <a:noAutofit/>
                </a:bodyPr>
                <a:lstStyle/>
                <a:p>
                  <a:pPr>
                    <a:defRPr sz="3200" b="0" cap="none">
                      <a:solidFill>
                        <a:srgbClr val="FF2600"/>
                      </a:solidFill>
                      <a:effectLst/>
                      <a:latin typeface="Helvetica Neue Medium"/>
                      <a:ea typeface="Helvetica Neue Medium"/>
                      <a:cs typeface="Helvetica Neue Medium"/>
                      <a:sym typeface="Helvetica Neue Medium"/>
                    </a:defRPr>
                  </a:pPr>
                  <a:endParaRPr dirty="0"/>
                </a:p>
              </p:txBody>
            </p:sp>
            <p:sp>
              <p:nvSpPr>
                <p:cNvPr id="225" name="Rounded Rectangle"/>
                <p:cNvSpPr/>
                <p:nvPr/>
              </p:nvSpPr>
              <p:spPr>
                <a:xfrm rot="5400000">
                  <a:off x="3124754" y="3479610"/>
                  <a:ext cx="201118" cy="2907057"/>
                </a:xfrm>
                <a:prstGeom prst="roundRect">
                  <a:avLst>
                    <a:gd name="adj" fmla="val 50000"/>
                  </a:avLst>
                </a:prstGeom>
                <a:solidFill>
                  <a:schemeClr val="accent6"/>
                </a:solidFill>
                <a:ln w="12700" cap="flat">
                  <a:noFill/>
                  <a:miter lim="400000"/>
                </a:ln>
                <a:effectLst/>
              </p:spPr>
              <p:txBody>
                <a:bodyPr wrap="square" lIns="0" tIns="0" rIns="0" bIns="0" numCol="1" anchor="ctr">
                  <a:noAutofit/>
                </a:bodyPr>
                <a:lstStyle/>
                <a:p>
                  <a:endParaRPr sz="3200" b="0" cap="none" dirty="0">
                    <a:solidFill>
                      <a:srgbClr val="FFFFFF"/>
                    </a:solidFill>
                    <a:effectLst/>
                    <a:latin typeface="Helvetica Neue Medium"/>
                    <a:ea typeface="Helvetica Neue Medium"/>
                    <a:cs typeface="Helvetica Neue Medium"/>
                  </a:endParaRPr>
                </a:p>
              </p:txBody>
            </p:sp>
            <p:sp>
              <p:nvSpPr>
                <p:cNvPr id="226" name="Rounded Rectangle"/>
                <p:cNvSpPr/>
                <p:nvPr/>
              </p:nvSpPr>
              <p:spPr>
                <a:xfrm rot="5400000">
                  <a:off x="6215235" y="3818328"/>
                  <a:ext cx="201118" cy="2229622"/>
                </a:xfrm>
                <a:prstGeom prst="roundRect">
                  <a:avLst>
                    <a:gd name="adj" fmla="val 50000"/>
                  </a:avLst>
                </a:prstGeom>
                <a:solidFill>
                  <a:srgbClr val="92D050"/>
                </a:solidFill>
                <a:ln w="12700" cap="flat">
                  <a:noFill/>
                  <a:miter lim="400000"/>
                </a:ln>
                <a:effectLst/>
              </p:spPr>
              <p:txBody>
                <a:bodyPr wrap="square" lIns="0" tIns="0" rIns="0" bIns="0" numCol="1" anchor="ctr">
                  <a:noAutofit/>
                </a:bodyPr>
                <a:lstStyle/>
                <a:p>
                  <a:pPr>
                    <a:defRPr sz="3200" b="0" cap="none">
                      <a:solidFill>
                        <a:srgbClr val="FFFFFF"/>
                      </a:solidFill>
                      <a:effectLst/>
                      <a:latin typeface="Helvetica Neue Medium"/>
                      <a:ea typeface="Helvetica Neue Medium"/>
                      <a:cs typeface="Helvetica Neue Medium"/>
                      <a:sym typeface="Helvetica Neue Medium"/>
                    </a:defRPr>
                  </a:pPr>
                  <a:endParaRPr dirty="0"/>
                </a:p>
              </p:txBody>
            </p:sp>
            <p:sp>
              <p:nvSpPr>
                <p:cNvPr id="227" name="Rounded Rectangle"/>
                <p:cNvSpPr/>
                <p:nvPr/>
              </p:nvSpPr>
              <p:spPr>
                <a:xfrm rot="3593817">
                  <a:off x="6326624" y="2620733"/>
                  <a:ext cx="201117" cy="2905769"/>
                </a:xfrm>
                <a:prstGeom prst="roundRect">
                  <a:avLst>
                    <a:gd name="adj" fmla="val 50000"/>
                  </a:avLst>
                </a:prstGeom>
                <a:solidFill>
                  <a:schemeClr val="accent3"/>
                </a:solidFill>
                <a:ln w="12700" cap="flat">
                  <a:noFill/>
                  <a:miter lim="400000"/>
                </a:ln>
                <a:effectLst/>
              </p:spPr>
              <p:txBody>
                <a:bodyPr wrap="square" lIns="0" tIns="0" rIns="0" bIns="0" numCol="1" anchor="ctr">
                  <a:noAutofit/>
                </a:bodyPr>
                <a:lstStyle/>
                <a:p>
                  <a:pPr>
                    <a:defRPr sz="3200" b="0" cap="none">
                      <a:solidFill>
                        <a:srgbClr val="FFFFFF"/>
                      </a:solidFill>
                      <a:effectLst/>
                      <a:latin typeface="Helvetica Neue Medium"/>
                      <a:ea typeface="Helvetica Neue Medium"/>
                      <a:cs typeface="Helvetica Neue Medium"/>
                      <a:sym typeface="Helvetica Neue Medium"/>
                    </a:defRPr>
                  </a:pPr>
                  <a:endParaRPr dirty="0"/>
                </a:p>
              </p:txBody>
            </p:sp>
            <p:sp>
              <p:nvSpPr>
                <p:cNvPr id="228" name="Rounded Rectangle"/>
                <p:cNvSpPr/>
                <p:nvPr/>
              </p:nvSpPr>
              <p:spPr>
                <a:xfrm rot="3593817">
                  <a:off x="3471523" y="4427914"/>
                  <a:ext cx="201118" cy="2645457"/>
                </a:xfrm>
                <a:prstGeom prst="roundRect">
                  <a:avLst>
                    <a:gd name="adj" fmla="val 50000"/>
                  </a:avLst>
                </a:prstGeom>
                <a:solidFill>
                  <a:schemeClr val="accent6"/>
                </a:solidFill>
                <a:ln w="12700" cap="flat">
                  <a:noFill/>
                  <a:miter lim="400000"/>
                </a:ln>
                <a:effectLst/>
              </p:spPr>
              <p:txBody>
                <a:bodyPr wrap="square" lIns="0" tIns="0" rIns="0" bIns="0" numCol="1" anchor="ctr">
                  <a:noAutofit/>
                </a:bodyPr>
                <a:lstStyle/>
                <a:p>
                  <a:endParaRPr sz="3200" b="0" cap="none" dirty="0">
                    <a:solidFill>
                      <a:srgbClr val="FFFFFF"/>
                    </a:solidFill>
                    <a:effectLst/>
                    <a:latin typeface="Helvetica Neue Medium"/>
                    <a:ea typeface="Helvetica Neue Medium"/>
                    <a:cs typeface="Helvetica Neue Medium"/>
                  </a:endParaRPr>
                </a:p>
              </p:txBody>
            </p:sp>
            <p:sp>
              <p:nvSpPr>
                <p:cNvPr id="229" name="Rounded Rectangle"/>
                <p:cNvSpPr/>
                <p:nvPr/>
              </p:nvSpPr>
              <p:spPr>
                <a:xfrm rot="17998339">
                  <a:off x="3173906" y="2363373"/>
                  <a:ext cx="201117" cy="3263046"/>
                </a:xfrm>
                <a:prstGeom prst="roundRect">
                  <a:avLst>
                    <a:gd name="adj" fmla="val 50000"/>
                  </a:avLst>
                </a:prstGeom>
                <a:solidFill>
                  <a:schemeClr val="accent6"/>
                </a:solidFill>
                <a:ln w="12700" cap="flat">
                  <a:noFill/>
                  <a:miter lim="400000"/>
                </a:ln>
                <a:effectLst/>
              </p:spPr>
              <p:txBody>
                <a:bodyPr wrap="square" lIns="0" tIns="0" rIns="0" bIns="0" numCol="1" anchor="ctr">
                  <a:noAutofit/>
                </a:bodyPr>
                <a:lstStyle/>
                <a:p>
                  <a:pPr>
                    <a:defRPr sz="3200" b="0" cap="none">
                      <a:solidFill>
                        <a:srgbClr val="FFFFFF"/>
                      </a:solidFill>
                      <a:effectLst/>
                      <a:latin typeface="Helvetica Neue Medium"/>
                      <a:ea typeface="Helvetica Neue Medium"/>
                      <a:cs typeface="Helvetica Neue Medium"/>
                      <a:sym typeface="Helvetica Neue Medium"/>
                    </a:defRPr>
                  </a:pPr>
                  <a:endParaRPr dirty="0"/>
                </a:p>
              </p:txBody>
            </p:sp>
            <p:sp>
              <p:nvSpPr>
                <p:cNvPr id="230" name="Rounded Rectangle"/>
                <p:cNvSpPr/>
                <p:nvPr/>
              </p:nvSpPr>
              <p:spPr>
                <a:xfrm rot="17998339">
                  <a:off x="6250007" y="4367865"/>
                  <a:ext cx="201117" cy="2746285"/>
                </a:xfrm>
                <a:prstGeom prst="roundRect">
                  <a:avLst>
                    <a:gd name="adj" fmla="val 50000"/>
                  </a:avLst>
                </a:prstGeom>
                <a:solidFill>
                  <a:schemeClr val="accent6"/>
                </a:solidFill>
                <a:ln w="12700" cap="flat">
                  <a:noFill/>
                  <a:miter lim="400000"/>
                </a:ln>
                <a:effectLst/>
              </p:spPr>
              <p:txBody>
                <a:bodyPr wrap="square" lIns="0" tIns="0" rIns="0" bIns="0" numCol="1" anchor="ctr">
                  <a:noAutofit/>
                </a:bodyPr>
                <a:lstStyle/>
                <a:p>
                  <a:pPr>
                    <a:defRPr sz="3200" b="0" cap="none">
                      <a:solidFill>
                        <a:srgbClr val="FF2600"/>
                      </a:solidFill>
                      <a:effectLst/>
                      <a:latin typeface="Helvetica Neue Medium"/>
                      <a:ea typeface="Helvetica Neue Medium"/>
                      <a:cs typeface="Helvetica Neue Medium"/>
                      <a:sym typeface="Helvetica Neue Medium"/>
                    </a:defRPr>
                  </a:pPr>
                  <a:endParaRPr dirty="0"/>
                </a:p>
              </p:txBody>
            </p:sp>
            <p:sp>
              <p:nvSpPr>
                <p:cNvPr id="231" name="Shape"/>
                <p:cNvSpPr/>
                <p:nvPr/>
              </p:nvSpPr>
              <p:spPr>
                <a:xfrm>
                  <a:off x="7509391" y="312286"/>
                  <a:ext cx="3044008" cy="4720442"/>
                </a:xfrm>
                <a:custGeom>
                  <a:avLst/>
                  <a:gdLst/>
                  <a:ahLst/>
                  <a:cxnLst>
                    <a:cxn ang="0">
                      <a:pos x="wd2" y="hd2"/>
                    </a:cxn>
                    <a:cxn ang="5400000">
                      <a:pos x="wd2" y="hd2"/>
                    </a:cxn>
                    <a:cxn ang="10800000">
                      <a:pos x="wd2" y="hd2"/>
                    </a:cxn>
                    <a:cxn ang="16200000">
                      <a:pos x="wd2" y="hd2"/>
                    </a:cxn>
                  </a:cxnLst>
                  <a:rect l="0" t="0" r="r" b="b"/>
                  <a:pathLst>
                    <a:path w="21499" h="21593" extrusionOk="0">
                      <a:moveTo>
                        <a:pt x="375" y="1"/>
                      </a:moveTo>
                      <a:cubicBezTo>
                        <a:pt x="282" y="6"/>
                        <a:pt x="190" y="31"/>
                        <a:pt x="121" y="77"/>
                      </a:cubicBezTo>
                      <a:cubicBezTo>
                        <a:pt x="-85" y="215"/>
                        <a:pt x="-19" y="442"/>
                        <a:pt x="249" y="521"/>
                      </a:cubicBezTo>
                      <a:cubicBezTo>
                        <a:pt x="5726" y="2598"/>
                        <a:pt x="10285" y="5554"/>
                        <a:pt x="13484" y="9103"/>
                      </a:cubicBezTo>
                      <a:cubicBezTo>
                        <a:pt x="16610" y="12574"/>
                        <a:pt x="18313" y="16497"/>
                        <a:pt x="18482" y="20507"/>
                      </a:cubicBezTo>
                      <a:lnTo>
                        <a:pt x="17522" y="19885"/>
                      </a:lnTo>
                      <a:cubicBezTo>
                        <a:pt x="17444" y="19835"/>
                        <a:pt x="17380" y="19793"/>
                        <a:pt x="17327" y="19762"/>
                      </a:cubicBezTo>
                      <a:cubicBezTo>
                        <a:pt x="17273" y="19731"/>
                        <a:pt x="17230" y="19710"/>
                        <a:pt x="17188" y="19697"/>
                      </a:cubicBezTo>
                      <a:cubicBezTo>
                        <a:pt x="17120" y="19677"/>
                        <a:pt x="17049" y="19666"/>
                        <a:pt x="16975" y="19666"/>
                      </a:cubicBezTo>
                      <a:cubicBezTo>
                        <a:pt x="16902" y="19666"/>
                        <a:pt x="16827" y="19677"/>
                        <a:pt x="16759" y="19697"/>
                      </a:cubicBezTo>
                      <a:cubicBezTo>
                        <a:pt x="16706" y="19713"/>
                        <a:pt x="16657" y="19735"/>
                        <a:pt x="16616" y="19762"/>
                      </a:cubicBezTo>
                      <a:cubicBezTo>
                        <a:pt x="16574" y="19789"/>
                        <a:pt x="16540" y="19821"/>
                        <a:pt x="16515" y="19855"/>
                      </a:cubicBezTo>
                      <a:cubicBezTo>
                        <a:pt x="16453" y="19943"/>
                        <a:pt x="16453" y="20045"/>
                        <a:pt x="16515" y="20133"/>
                      </a:cubicBezTo>
                      <a:cubicBezTo>
                        <a:pt x="16536" y="20160"/>
                        <a:pt x="16570" y="20188"/>
                        <a:pt x="16618" y="20223"/>
                      </a:cubicBezTo>
                      <a:cubicBezTo>
                        <a:pt x="16666" y="20257"/>
                        <a:pt x="16728" y="20297"/>
                        <a:pt x="16806" y="20347"/>
                      </a:cubicBezTo>
                      <a:lnTo>
                        <a:pt x="18392" y="21377"/>
                      </a:lnTo>
                      <a:cubicBezTo>
                        <a:pt x="18470" y="21427"/>
                        <a:pt x="18531" y="21467"/>
                        <a:pt x="18585" y="21498"/>
                      </a:cubicBezTo>
                      <a:cubicBezTo>
                        <a:pt x="18638" y="21529"/>
                        <a:pt x="18684" y="21551"/>
                        <a:pt x="18726" y="21565"/>
                      </a:cubicBezTo>
                      <a:cubicBezTo>
                        <a:pt x="18768" y="21576"/>
                        <a:pt x="18809" y="21581"/>
                        <a:pt x="18852" y="21586"/>
                      </a:cubicBezTo>
                      <a:cubicBezTo>
                        <a:pt x="18938" y="21596"/>
                        <a:pt x="19030" y="21596"/>
                        <a:pt x="19116" y="21586"/>
                      </a:cubicBezTo>
                      <a:cubicBezTo>
                        <a:pt x="19159" y="21581"/>
                        <a:pt x="19201" y="21575"/>
                        <a:pt x="19242" y="21565"/>
                      </a:cubicBezTo>
                      <a:cubicBezTo>
                        <a:pt x="19284" y="21551"/>
                        <a:pt x="19327" y="21529"/>
                        <a:pt x="19381" y="21498"/>
                      </a:cubicBezTo>
                      <a:cubicBezTo>
                        <a:pt x="19434" y="21467"/>
                        <a:pt x="19498" y="21427"/>
                        <a:pt x="19576" y="21377"/>
                      </a:cubicBezTo>
                      <a:lnTo>
                        <a:pt x="21162" y="20347"/>
                      </a:lnTo>
                      <a:cubicBezTo>
                        <a:pt x="21240" y="20297"/>
                        <a:pt x="21302" y="20257"/>
                        <a:pt x="21350" y="20223"/>
                      </a:cubicBezTo>
                      <a:cubicBezTo>
                        <a:pt x="21398" y="20188"/>
                        <a:pt x="21432" y="20160"/>
                        <a:pt x="21452" y="20133"/>
                      </a:cubicBezTo>
                      <a:cubicBezTo>
                        <a:pt x="21515" y="20045"/>
                        <a:pt x="21515" y="19943"/>
                        <a:pt x="21452" y="19855"/>
                      </a:cubicBezTo>
                      <a:cubicBezTo>
                        <a:pt x="21428" y="19821"/>
                        <a:pt x="21394" y="19789"/>
                        <a:pt x="21352" y="19762"/>
                      </a:cubicBezTo>
                      <a:cubicBezTo>
                        <a:pt x="21311" y="19735"/>
                        <a:pt x="21262" y="19713"/>
                        <a:pt x="21208" y="19697"/>
                      </a:cubicBezTo>
                      <a:cubicBezTo>
                        <a:pt x="21072" y="19657"/>
                        <a:pt x="20916" y="19657"/>
                        <a:pt x="20780" y="19697"/>
                      </a:cubicBezTo>
                      <a:cubicBezTo>
                        <a:pt x="20738" y="19710"/>
                        <a:pt x="20692" y="19731"/>
                        <a:pt x="20639" y="19762"/>
                      </a:cubicBezTo>
                      <a:cubicBezTo>
                        <a:pt x="20585" y="19793"/>
                        <a:pt x="20524" y="19835"/>
                        <a:pt x="20446" y="19885"/>
                      </a:cubicBezTo>
                      <a:lnTo>
                        <a:pt x="19524" y="20484"/>
                      </a:lnTo>
                      <a:cubicBezTo>
                        <a:pt x="19326" y="16278"/>
                        <a:pt x="17460" y="12172"/>
                        <a:pt x="14089" y="8566"/>
                      </a:cubicBezTo>
                      <a:cubicBezTo>
                        <a:pt x="10791" y="5037"/>
                        <a:pt x="6163" y="2106"/>
                        <a:pt x="642" y="49"/>
                      </a:cubicBezTo>
                      <a:cubicBezTo>
                        <a:pt x="562" y="11"/>
                        <a:pt x="468" y="-4"/>
                        <a:pt x="375" y="1"/>
                      </a:cubicBezTo>
                      <a:close/>
                    </a:path>
                  </a:pathLst>
                </a:custGeom>
                <a:gradFill flip="none" rotWithShape="1">
                  <a:gsLst>
                    <a:gs pos="27000">
                      <a:srgbClr val="00AEEF"/>
                    </a:gs>
                    <a:gs pos="5000">
                      <a:srgbClr val="F8AE47"/>
                    </a:gs>
                    <a:gs pos="70000">
                      <a:srgbClr val="EE3433"/>
                    </a:gs>
                  </a:gsLst>
                  <a:lin ang="5400000" scaled="0"/>
                </a:gradFill>
                <a:ln w="12700" cap="flat">
                  <a:noFill/>
                  <a:miter lim="400000"/>
                </a:ln>
                <a:effectLst/>
              </p:spPr>
              <p:txBody>
                <a:bodyPr wrap="square" lIns="38100" tIns="38100" rIns="38100" bIns="38100" numCol="1" anchor="ctr">
                  <a:noAutofit/>
                </a:bodyPr>
                <a:lstStyle/>
                <a:p>
                  <a:endParaRPr sz="3200" b="0" cap="none" dirty="0">
                    <a:solidFill>
                      <a:srgbClr val="FFFFFF"/>
                    </a:solidFill>
                    <a:effectLst/>
                    <a:latin typeface="Helvetica Neue Medium"/>
                    <a:ea typeface="Helvetica Neue Medium"/>
                    <a:cs typeface="Helvetica Neue Medium"/>
                  </a:endParaRPr>
                </a:p>
              </p:txBody>
            </p:sp>
            <p:sp>
              <p:nvSpPr>
                <p:cNvPr id="232" name="Line"/>
                <p:cNvSpPr/>
                <p:nvPr/>
              </p:nvSpPr>
              <p:spPr>
                <a:xfrm flipV="1">
                  <a:off x="2948370" y="1473033"/>
                  <a:ext cx="3985648" cy="6905759"/>
                </a:xfrm>
                <a:prstGeom prst="line">
                  <a:avLst/>
                </a:prstGeom>
                <a:noFill/>
                <a:ln w="25400" cap="flat">
                  <a:solidFill>
                    <a:srgbClr val="E3E3E4"/>
                  </a:solidFill>
                  <a:custDash>
                    <a:ds d="200000" sp="200000"/>
                  </a:custDash>
                  <a:miter lim="400000"/>
                </a:ln>
                <a:effectLst/>
              </p:spPr>
              <p:txBody>
                <a:bodyPr wrap="square" lIns="45718" tIns="45718" rIns="45718" bIns="45718" numCol="1" anchor="t">
                  <a:noAutofit/>
                </a:bodyPr>
                <a:lstStyle/>
                <a:p>
                  <a:pPr>
                    <a:defRPr sz="3000" b="0" cap="none">
                      <a:solidFill>
                        <a:srgbClr val="1B1E20"/>
                      </a:solidFill>
                      <a:effectLst/>
                      <a:latin typeface="Helvetica Neue Medium"/>
                      <a:ea typeface="Helvetica Neue Medium"/>
                      <a:cs typeface="Helvetica Neue Medium"/>
                      <a:sym typeface="Helvetica Neue Medium"/>
                    </a:defRPr>
                  </a:pPr>
                  <a:endParaRPr dirty="0"/>
                </a:p>
              </p:txBody>
            </p:sp>
            <p:sp>
              <p:nvSpPr>
                <p:cNvPr id="233" name="Line"/>
                <p:cNvSpPr/>
                <p:nvPr/>
              </p:nvSpPr>
              <p:spPr>
                <a:xfrm>
                  <a:off x="3329444" y="2100720"/>
                  <a:ext cx="3602152" cy="6273936"/>
                </a:xfrm>
                <a:prstGeom prst="line">
                  <a:avLst/>
                </a:prstGeom>
                <a:noFill/>
                <a:ln w="25400" cap="flat">
                  <a:solidFill>
                    <a:srgbClr val="DDDDDD"/>
                  </a:solidFill>
                  <a:custDash>
                    <a:ds d="200000" sp="200000"/>
                  </a:custDash>
                  <a:miter lim="400000"/>
                </a:ln>
                <a:effectLst/>
              </p:spPr>
              <p:txBody>
                <a:bodyPr wrap="square" lIns="45718" tIns="45718" rIns="45718" bIns="45718" numCol="1" anchor="t">
                  <a:noAutofit/>
                </a:bodyPr>
                <a:lstStyle/>
                <a:p>
                  <a:pPr>
                    <a:defRPr sz="3000" b="0" cap="none">
                      <a:solidFill>
                        <a:srgbClr val="1B1E20"/>
                      </a:solidFill>
                      <a:effectLst/>
                      <a:latin typeface="Helvetica Neue Medium"/>
                      <a:ea typeface="Helvetica Neue Medium"/>
                      <a:cs typeface="Helvetica Neue Medium"/>
                      <a:sym typeface="Helvetica Neue Medium"/>
                    </a:defRPr>
                  </a:pPr>
                  <a:endParaRPr dirty="0"/>
                </a:p>
              </p:txBody>
            </p:sp>
            <p:sp>
              <p:nvSpPr>
                <p:cNvPr id="234" name="Rounded Rectangle"/>
                <p:cNvSpPr/>
                <p:nvPr/>
              </p:nvSpPr>
              <p:spPr>
                <a:xfrm rot="1800201">
                  <a:off x="5785903" y="1630888"/>
                  <a:ext cx="201117" cy="3285286"/>
                </a:xfrm>
                <a:prstGeom prst="roundRect">
                  <a:avLst>
                    <a:gd name="adj" fmla="val 50000"/>
                  </a:avLst>
                </a:prstGeom>
                <a:solidFill>
                  <a:schemeClr val="accent2"/>
                </a:solidFill>
                <a:ln w="12700" cap="flat">
                  <a:noFill/>
                  <a:miter lim="400000"/>
                </a:ln>
                <a:effectLst/>
              </p:spPr>
              <p:txBody>
                <a:bodyPr wrap="square" lIns="0" tIns="0" rIns="0" bIns="0" numCol="1" anchor="ctr">
                  <a:noAutofit/>
                </a:bodyPr>
                <a:lstStyle/>
                <a:p>
                  <a:pPr>
                    <a:defRPr sz="3200" b="0" cap="none">
                      <a:solidFill>
                        <a:srgbClr val="FFFFFF"/>
                      </a:solidFill>
                      <a:effectLst/>
                      <a:latin typeface="Helvetica Neue Medium"/>
                      <a:ea typeface="Helvetica Neue Medium"/>
                      <a:cs typeface="Helvetica Neue Medium"/>
                      <a:sym typeface="Helvetica Neue Medium"/>
                    </a:defRPr>
                  </a:pPr>
                  <a:endParaRPr dirty="0"/>
                </a:p>
              </p:txBody>
            </p:sp>
            <p:sp>
              <p:nvSpPr>
                <p:cNvPr id="235" name="Rounded Rectangle"/>
                <p:cNvSpPr/>
                <p:nvPr/>
              </p:nvSpPr>
              <p:spPr>
                <a:xfrm rot="19773078">
                  <a:off x="5680341" y="4961506"/>
                  <a:ext cx="201117" cy="2944455"/>
                </a:xfrm>
                <a:prstGeom prst="roundRect">
                  <a:avLst>
                    <a:gd name="adj" fmla="val 50000"/>
                  </a:avLst>
                </a:prstGeom>
                <a:solidFill>
                  <a:schemeClr val="accent6"/>
                </a:solidFill>
                <a:ln w="12700" cap="flat">
                  <a:noFill/>
                  <a:miter lim="400000"/>
                </a:ln>
                <a:effectLst/>
              </p:spPr>
              <p:txBody>
                <a:bodyPr wrap="square" lIns="0" tIns="0" rIns="0" bIns="0" numCol="1" anchor="ctr">
                  <a:noAutofit/>
                </a:bodyPr>
                <a:lstStyle/>
                <a:p>
                  <a:pPr>
                    <a:defRPr sz="3200" b="0" cap="none">
                      <a:solidFill>
                        <a:srgbClr val="FF2600"/>
                      </a:solidFill>
                      <a:effectLst/>
                      <a:latin typeface="Helvetica Neue Medium"/>
                      <a:ea typeface="Helvetica Neue Medium"/>
                      <a:cs typeface="Helvetica Neue Medium"/>
                      <a:sym typeface="Helvetica Neue Medium"/>
                    </a:defRPr>
                  </a:pPr>
                  <a:endParaRPr dirty="0"/>
                </a:p>
              </p:txBody>
            </p:sp>
            <p:sp>
              <p:nvSpPr>
                <p:cNvPr id="236" name="Rounded Rectangle"/>
                <p:cNvSpPr/>
                <p:nvPr/>
              </p:nvSpPr>
              <p:spPr>
                <a:xfrm rot="1800201">
                  <a:off x="4120744" y="4997725"/>
                  <a:ext cx="201116" cy="2400967"/>
                </a:xfrm>
                <a:prstGeom prst="roundRect">
                  <a:avLst>
                    <a:gd name="adj" fmla="val 50000"/>
                  </a:avLst>
                </a:prstGeom>
                <a:solidFill>
                  <a:schemeClr val="accent6"/>
                </a:solidFill>
                <a:ln w="12700" cap="flat">
                  <a:noFill/>
                  <a:miter lim="400000"/>
                </a:ln>
                <a:effectLst/>
              </p:spPr>
              <p:txBody>
                <a:bodyPr wrap="square" lIns="0" tIns="0" rIns="0" bIns="0" numCol="1" anchor="ctr">
                  <a:noAutofit/>
                </a:bodyPr>
                <a:lstStyle/>
                <a:p>
                  <a:endParaRPr sz="3200" b="0" cap="none" dirty="0">
                    <a:solidFill>
                      <a:srgbClr val="FFFFFF"/>
                    </a:solidFill>
                    <a:effectLst/>
                    <a:latin typeface="Helvetica Neue Medium"/>
                    <a:ea typeface="Helvetica Neue Medium"/>
                    <a:cs typeface="Helvetica Neue Medium"/>
                  </a:endParaRPr>
                </a:p>
              </p:txBody>
            </p:sp>
            <p:sp>
              <p:nvSpPr>
                <p:cNvPr id="237" name="Rounded Rectangle"/>
                <p:cNvSpPr/>
                <p:nvPr/>
              </p:nvSpPr>
              <p:spPr>
                <a:xfrm rot="19773078">
                  <a:off x="3925541" y="1750848"/>
                  <a:ext cx="201117" cy="3155560"/>
                </a:xfrm>
                <a:prstGeom prst="roundRect">
                  <a:avLst>
                    <a:gd name="adj" fmla="val 50000"/>
                  </a:avLst>
                </a:prstGeom>
                <a:solidFill>
                  <a:schemeClr val="accent6"/>
                </a:solidFill>
                <a:ln w="12700" cap="flat">
                  <a:noFill/>
                  <a:miter lim="400000"/>
                </a:ln>
                <a:effectLst/>
              </p:spPr>
              <p:txBody>
                <a:bodyPr wrap="square" lIns="0" tIns="0" rIns="0" bIns="0" numCol="1" anchor="ctr">
                  <a:noAutofit/>
                </a:bodyPr>
                <a:lstStyle/>
                <a:p>
                  <a:pPr>
                    <a:defRPr sz="3200" b="0" cap="none">
                      <a:solidFill>
                        <a:srgbClr val="FFFFFF"/>
                      </a:solidFill>
                      <a:effectLst/>
                      <a:latin typeface="Helvetica Neue Medium"/>
                      <a:ea typeface="Helvetica Neue Medium"/>
                      <a:cs typeface="Helvetica Neue Medium"/>
                      <a:sym typeface="Helvetica Neue Medium"/>
                    </a:defRPr>
                  </a:pPr>
                  <a:endParaRPr dirty="0"/>
                </a:p>
              </p:txBody>
            </p:sp>
            <p:sp>
              <p:nvSpPr>
                <p:cNvPr id="238" name="Shape"/>
                <p:cNvSpPr/>
                <p:nvPr/>
              </p:nvSpPr>
              <p:spPr>
                <a:xfrm rot="5281712">
                  <a:off x="5701764" y="6560928"/>
                  <a:ext cx="3044009" cy="4720442"/>
                </a:xfrm>
                <a:custGeom>
                  <a:avLst/>
                  <a:gdLst/>
                  <a:ahLst/>
                  <a:cxnLst>
                    <a:cxn ang="0">
                      <a:pos x="wd2" y="hd2"/>
                    </a:cxn>
                    <a:cxn ang="5400000">
                      <a:pos x="wd2" y="hd2"/>
                    </a:cxn>
                    <a:cxn ang="10800000">
                      <a:pos x="wd2" y="hd2"/>
                    </a:cxn>
                    <a:cxn ang="16200000">
                      <a:pos x="wd2" y="hd2"/>
                    </a:cxn>
                  </a:cxnLst>
                  <a:rect l="0" t="0" r="r" b="b"/>
                  <a:pathLst>
                    <a:path w="21499" h="21593" extrusionOk="0">
                      <a:moveTo>
                        <a:pt x="375" y="1"/>
                      </a:moveTo>
                      <a:cubicBezTo>
                        <a:pt x="282" y="6"/>
                        <a:pt x="190" y="31"/>
                        <a:pt x="121" y="77"/>
                      </a:cubicBezTo>
                      <a:cubicBezTo>
                        <a:pt x="-85" y="215"/>
                        <a:pt x="-19" y="442"/>
                        <a:pt x="249" y="521"/>
                      </a:cubicBezTo>
                      <a:cubicBezTo>
                        <a:pt x="5726" y="2598"/>
                        <a:pt x="10285" y="5554"/>
                        <a:pt x="13484" y="9103"/>
                      </a:cubicBezTo>
                      <a:cubicBezTo>
                        <a:pt x="16610" y="12574"/>
                        <a:pt x="18313" y="16497"/>
                        <a:pt x="18482" y="20507"/>
                      </a:cubicBezTo>
                      <a:lnTo>
                        <a:pt x="17522" y="19885"/>
                      </a:lnTo>
                      <a:cubicBezTo>
                        <a:pt x="17444" y="19835"/>
                        <a:pt x="17380" y="19793"/>
                        <a:pt x="17327" y="19762"/>
                      </a:cubicBezTo>
                      <a:cubicBezTo>
                        <a:pt x="17273" y="19731"/>
                        <a:pt x="17230" y="19710"/>
                        <a:pt x="17188" y="19697"/>
                      </a:cubicBezTo>
                      <a:cubicBezTo>
                        <a:pt x="17120" y="19677"/>
                        <a:pt x="17049" y="19666"/>
                        <a:pt x="16975" y="19666"/>
                      </a:cubicBezTo>
                      <a:cubicBezTo>
                        <a:pt x="16902" y="19666"/>
                        <a:pt x="16827" y="19677"/>
                        <a:pt x="16759" y="19697"/>
                      </a:cubicBezTo>
                      <a:cubicBezTo>
                        <a:pt x="16706" y="19713"/>
                        <a:pt x="16657" y="19735"/>
                        <a:pt x="16616" y="19762"/>
                      </a:cubicBezTo>
                      <a:cubicBezTo>
                        <a:pt x="16574" y="19789"/>
                        <a:pt x="16540" y="19821"/>
                        <a:pt x="16515" y="19855"/>
                      </a:cubicBezTo>
                      <a:cubicBezTo>
                        <a:pt x="16453" y="19943"/>
                        <a:pt x="16453" y="20045"/>
                        <a:pt x="16515" y="20133"/>
                      </a:cubicBezTo>
                      <a:cubicBezTo>
                        <a:pt x="16536" y="20160"/>
                        <a:pt x="16570" y="20188"/>
                        <a:pt x="16618" y="20223"/>
                      </a:cubicBezTo>
                      <a:cubicBezTo>
                        <a:pt x="16666" y="20257"/>
                        <a:pt x="16728" y="20297"/>
                        <a:pt x="16806" y="20347"/>
                      </a:cubicBezTo>
                      <a:lnTo>
                        <a:pt x="18392" y="21377"/>
                      </a:lnTo>
                      <a:cubicBezTo>
                        <a:pt x="18470" y="21427"/>
                        <a:pt x="18531" y="21467"/>
                        <a:pt x="18585" y="21498"/>
                      </a:cubicBezTo>
                      <a:cubicBezTo>
                        <a:pt x="18638" y="21529"/>
                        <a:pt x="18684" y="21551"/>
                        <a:pt x="18726" y="21565"/>
                      </a:cubicBezTo>
                      <a:cubicBezTo>
                        <a:pt x="18768" y="21576"/>
                        <a:pt x="18809" y="21581"/>
                        <a:pt x="18852" y="21586"/>
                      </a:cubicBezTo>
                      <a:cubicBezTo>
                        <a:pt x="18938" y="21596"/>
                        <a:pt x="19030" y="21596"/>
                        <a:pt x="19116" y="21586"/>
                      </a:cubicBezTo>
                      <a:cubicBezTo>
                        <a:pt x="19159" y="21581"/>
                        <a:pt x="19201" y="21575"/>
                        <a:pt x="19242" y="21565"/>
                      </a:cubicBezTo>
                      <a:cubicBezTo>
                        <a:pt x="19284" y="21551"/>
                        <a:pt x="19327" y="21529"/>
                        <a:pt x="19381" y="21498"/>
                      </a:cubicBezTo>
                      <a:cubicBezTo>
                        <a:pt x="19434" y="21467"/>
                        <a:pt x="19498" y="21427"/>
                        <a:pt x="19576" y="21377"/>
                      </a:cubicBezTo>
                      <a:lnTo>
                        <a:pt x="21162" y="20347"/>
                      </a:lnTo>
                      <a:cubicBezTo>
                        <a:pt x="21240" y="20297"/>
                        <a:pt x="21302" y="20257"/>
                        <a:pt x="21350" y="20223"/>
                      </a:cubicBezTo>
                      <a:cubicBezTo>
                        <a:pt x="21398" y="20188"/>
                        <a:pt x="21432" y="20160"/>
                        <a:pt x="21452" y="20133"/>
                      </a:cubicBezTo>
                      <a:cubicBezTo>
                        <a:pt x="21515" y="20045"/>
                        <a:pt x="21515" y="19943"/>
                        <a:pt x="21452" y="19855"/>
                      </a:cubicBezTo>
                      <a:cubicBezTo>
                        <a:pt x="21428" y="19821"/>
                        <a:pt x="21394" y="19789"/>
                        <a:pt x="21352" y="19762"/>
                      </a:cubicBezTo>
                      <a:cubicBezTo>
                        <a:pt x="21311" y="19735"/>
                        <a:pt x="21262" y="19713"/>
                        <a:pt x="21208" y="19697"/>
                      </a:cubicBezTo>
                      <a:cubicBezTo>
                        <a:pt x="21072" y="19657"/>
                        <a:pt x="20916" y="19657"/>
                        <a:pt x="20780" y="19697"/>
                      </a:cubicBezTo>
                      <a:cubicBezTo>
                        <a:pt x="20738" y="19710"/>
                        <a:pt x="20692" y="19731"/>
                        <a:pt x="20639" y="19762"/>
                      </a:cubicBezTo>
                      <a:cubicBezTo>
                        <a:pt x="20585" y="19793"/>
                        <a:pt x="20524" y="19835"/>
                        <a:pt x="20446" y="19885"/>
                      </a:cubicBezTo>
                      <a:lnTo>
                        <a:pt x="19524" y="20484"/>
                      </a:lnTo>
                      <a:cubicBezTo>
                        <a:pt x="19326" y="16278"/>
                        <a:pt x="17460" y="12172"/>
                        <a:pt x="14089" y="8566"/>
                      </a:cubicBezTo>
                      <a:cubicBezTo>
                        <a:pt x="10791" y="5037"/>
                        <a:pt x="6163" y="2106"/>
                        <a:pt x="642" y="49"/>
                      </a:cubicBezTo>
                      <a:cubicBezTo>
                        <a:pt x="562" y="11"/>
                        <a:pt x="468" y="-4"/>
                        <a:pt x="375" y="1"/>
                      </a:cubicBezTo>
                      <a:close/>
                    </a:path>
                  </a:pathLst>
                </a:custGeom>
                <a:solidFill>
                  <a:srgbClr val="DDDDDD"/>
                </a:solidFill>
                <a:ln w="12700" cap="flat">
                  <a:noFill/>
                  <a:miter lim="400000"/>
                </a:ln>
                <a:effectLst/>
              </p:spPr>
              <p:txBody>
                <a:bodyPr wrap="square" lIns="0" tIns="0" rIns="0" bIns="0" numCol="1" anchor="ctr">
                  <a:noAutofit/>
                </a:bodyPr>
                <a:lstStyle/>
                <a:p>
                  <a:pPr>
                    <a:defRPr sz="3200" b="0" cap="none">
                      <a:solidFill>
                        <a:srgbClr val="FFFFFF"/>
                      </a:solidFill>
                      <a:effectLst/>
                      <a:latin typeface="Helvetica Neue Medium"/>
                      <a:ea typeface="Helvetica Neue Medium"/>
                      <a:cs typeface="Helvetica Neue Medium"/>
                      <a:sym typeface="Helvetica Neue Medium"/>
                    </a:defRPr>
                  </a:pPr>
                  <a:endParaRPr dirty="0"/>
                </a:p>
              </p:txBody>
            </p:sp>
            <p:sp>
              <p:nvSpPr>
                <p:cNvPr id="239" name="Circle"/>
                <p:cNvSpPr/>
                <p:nvPr/>
              </p:nvSpPr>
              <p:spPr>
                <a:xfrm>
                  <a:off x="3362552" y="3350285"/>
                  <a:ext cx="3147017" cy="3147017"/>
                </a:xfrm>
                <a:prstGeom prst="ellipse">
                  <a:avLst/>
                </a:prstGeom>
                <a:solidFill>
                  <a:srgbClr val="FFFFFF"/>
                </a:solidFill>
                <a:ln w="12700" cap="flat">
                  <a:noFill/>
                  <a:miter lim="400000"/>
                </a:ln>
                <a:effectLst/>
              </p:spPr>
              <p:txBody>
                <a:bodyPr wrap="square" lIns="0" tIns="0" rIns="0" bIns="0" numCol="1" anchor="ctr">
                  <a:noAutofit/>
                </a:bodyPr>
                <a:lstStyle/>
                <a:p>
                  <a:pPr>
                    <a:defRPr sz="3200" b="0" cap="none">
                      <a:solidFill>
                        <a:srgbClr val="FFFFFF"/>
                      </a:solidFill>
                      <a:effectLst/>
                      <a:latin typeface="Helvetica Neue Medium"/>
                      <a:ea typeface="Helvetica Neue Medium"/>
                      <a:cs typeface="Helvetica Neue Medium"/>
                      <a:sym typeface="Helvetica Neue Medium"/>
                    </a:defRPr>
                  </a:pPr>
                  <a:endParaRPr dirty="0"/>
                </a:p>
              </p:txBody>
            </p:sp>
            <p:sp>
              <p:nvSpPr>
                <p:cNvPr id="240" name="2020 Business Activity"/>
                <p:cNvSpPr txBox="1"/>
                <p:nvPr/>
              </p:nvSpPr>
              <p:spPr>
                <a:xfrm>
                  <a:off x="3858272" y="4357360"/>
                  <a:ext cx="2172004" cy="1174823"/>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numCol="1" anchor="ctr">
                  <a:noAutofit/>
                </a:bodyPr>
                <a:lstStyle>
                  <a:lvl1pPr defTabSz="2438400">
                    <a:defRPr sz="2400">
                      <a:solidFill>
                        <a:srgbClr val="000000"/>
                      </a:solidFill>
                      <a:effectLst>
                        <a:outerShdw blurRad="12700" dist="12700" dir="18900000" rotWithShape="0">
                          <a:srgbClr val="000000">
                            <a:alpha val="24000"/>
                          </a:srgbClr>
                        </a:outerShdw>
                      </a:effectLst>
                    </a:defRPr>
                  </a:lvl1pPr>
                </a:lstStyle>
                <a:p>
                  <a:r>
                    <a:rPr dirty="0"/>
                    <a:t>202</a:t>
                  </a:r>
                  <a:r>
                    <a:rPr lang="en-GB" dirty="0"/>
                    <a:t>1</a:t>
                  </a:r>
                  <a:r>
                    <a:rPr dirty="0"/>
                    <a:t> Budget Performance Review</a:t>
                  </a:r>
                </a:p>
              </p:txBody>
            </p:sp>
          </p:grpSp>
          <p:sp>
            <p:nvSpPr>
              <p:cNvPr id="242" name="Shape"/>
              <p:cNvSpPr/>
              <p:nvPr/>
            </p:nvSpPr>
            <p:spPr>
              <a:xfrm rot="10532368">
                <a:off x="184447" y="4823889"/>
                <a:ext cx="3044063" cy="4861808"/>
              </a:xfrm>
              <a:custGeom>
                <a:avLst/>
                <a:gdLst/>
                <a:ahLst/>
                <a:cxnLst>
                  <a:cxn ang="0">
                    <a:pos x="wd2" y="hd2"/>
                  </a:cxn>
                  <a:cxn ang="5400000">
                    <a:pos x="wd2" y="hd2"/>
                  </a:cxn>
                  <a:cxn ang="10800000">
                    <a:pos x="wd2" y="hd2"/>
                  </a:cxn>
                  <a:cxn ang="16200000">
                    <a:pos x="wd2" y="hd2"/>
                  </a:cxn>
                </a:cxnLst>
                <a:rect l="0" t="0" r="r" b="b"/>
                <a:pathLst>
                  <a:path w="21499" h="21593" extrusionOk="0">
                    <a:moveTo>
                      <a:pt x="375" y="1"/>
                    </a:moveTo>
                    <a:cubicBezTo>
                      <a:pt x="282" y="6"/>
                      <a:pt x="190" y="31"/>
                      <a:pt x="121" y="77"/>
                    </a:cubicBezTo>
                    <a:cubicBezTo>
                      <a:pt x="-85" y="215"/>
                      <a:pt x="-19" y="442"/>
                      <a:pt x="249" y="521"/>
                    </a:cubicBezTo>
                    <a:cubicBezTo>
                      <a:pt x="5726" y="2598"/>
                      <a:pt x="10285" y="5554"/>
                      <a:pt x="13484" y="9103"/>
                    </a:cubicBezTo>
                    <a:cubicBezTo>
                      <a:pt x="16610" y="12574"/>
                      <a:pt x="18313" y="16497"/>
                      <a:pt x="18482" y="20507"/>
                    </a:cubicBezTo>
                    <a:lnTo>
                      <a:pt x="17522" y="19885"/>
                    </a:lnTo>
                    <a:cubicBezTo>
                      <a:pt x="17444" y="19835"/>
                      <a:pt x="17380" y="19793"/>
                      <a:pt x="17327" y="19762"/>
                    </a:cubicBezTo>
                    <a:cubicBezTo>
                      <a:pt x="17273" y="19731"/>
                      <a:pt x="17230" y="19710"/>
                      <a:pt x="17188" y="19697"/>
                    </a:cubicBezTo>
                    <a:cubicBezTo>
                      <a:pt x="17120" y="19677"/>
                      <a:pt x="17049" y="19666"/>
                      <a:pt x="16975" y="19666"/>
                    </a:cubicBezTo>
                    <a:cubicBezTo>
                      <a:pt x="16902" y="19666"/>
                      <a:pt x="16827" y="19677"/>
                      <a:pt x="16759" y="19697"/>
                    </a:cubicBezTo>
                    <a:cubicBezTo>
                      <a:pt x="16706" y="19713"/>
                      <a:pt x="16657" y="19735"/>
                      <a:pt x="16616" y="19762"/>
                    </a:cubicBezTo>
                    <a:cubicBezTo>
                      <a:pt x="16574" y="19789"/>
                      <a:pt x="16540" y="19821"/>
                      <a:pt x="16515" y="19855"/>
                    </a:cubicBezTo>
                    <a:cubicBezTo>
                      <a:pt x="16453" y="19943"/>
                      <a:pt x="16453" y="20045"/>
                      <a:pt x="16515" y="20133"/>
                    </a:cubicBezTo>
                    <a:cubicBezTo>
                      <a:pt x="16536" y="20160"/>
                      <a:pt x="16570" y="20188"/>
                      <a:pt x="16618" y="20223"/>
                    </a:cubicBezTo>
                    <a:cubicBezTo>
                      <a:pt x="16666" y="20257"/>
                      <a:pt x="16728" y="20297"/>
                      <a:pt x="16806" y="20347"/>
                    </a:cubicBezTo>
                    <a:lnTo>
                      <a:pt x="18392" y="21377"/>
                    </a:lnTo>
                    <a:cubicBezTo>
                      <a:pt x="18470" y="21427"/>
                      <a:pt x="18531" y="21467"/>
                      <a:pt x="18585" y="21498"/>
                    </a:cubicBezTo>
                    <a:cubicBezTo>
                      <a:pt x="18638" y="21529"/>
                      <a:pt x="18684" y="21551"/>
                      <a:pt x="18726" y="21565"/>
                    </a:cubicBezTo>
                    <a:cubicBezTo>
                      <a:pt x="18768" y="21576"/>
                      <a:pt x="18809" y="21581"/>
                      <a:pt x="18852" y="21586"/>
                    </a:cubicBezTo>
                    <a:cubicBezTo>
                      <a:pt x="18938" y="21596"/>
                      <a:pt x="19030" y="21596"/>
                      <a:pt x="19116" y="21586"/>
                    </a:cubicBezTo>
                    <a:cubicBezTo>
                      <a:pt x="19159" y="21581"/>
                      <a:pt x="19201" y="21575"/>
                      <a:pt x="19242" y="21565"/>
                    </a:cubicBezTo>
                    <a:cubicBezTo>
                      <a:pt x="19284" y="21551"/>
                      <a:pt x="19327" y="21529"/>
                      <a:pt x="19381" y="21498"/>
                    </a:cubicBezTo>
                    <a:cubicBezTo>
                      <a:pt x="19434" y="21467"/>
                      <a:pt x="19498" y="21427"/>
                      <a:pt x="19576" y="21377"/>
                    </a:cubicBezTo>
                    <a:lnTo>
                      <a:pt x="21162" y="20347"/>
                    </a:lnTo>
                    <a:cubicBezTo>
                      <a:pt x="21240" y="20297"/>
                      <a:pt x="21302" y="20257"/>
                      <a:pt x="21350" y="20223"/>
                    </a:cubicBezTo>
                    <a:cubicBezTo>
                      <a:pt x="21398" y="20188"/>
                      <a:pt x="21432" y="20160"/>
                      <a:pt x="21452" y="20133"/>
                    </a:cubicBezTo>
                    <a:cubicBezTo>
                      <a:pt x="21515" y="20045"/>
                      <a:pt x="21515" y="19943"/>
                      <a:pt x="21452" y="19855"/>
                    </a:cubicBezTo>
                    <a:cubicBezTo>
                      <a:pt x="21428" y="19821"/>
                      <a:pt x="21394" y="19789"/>
                      <a:pt x="21352" y="19762"/>
                    </a:cubicBezTo>
                    <a:cubicBezTo>
                      <a:pt x="21311" y="19735"/>
                      <a:pt x="21262" y="19713"/>
                      <a:pt x="21208" y="19697"/>
                    </a:cubicBezTo>
                    <a:cubicBezTo>
                      <a:pt x="21072" y="19657"/>
                      <a:pt x="20916" y="19657"/>
                      <a:pt x="20780" y="19697"/>
                    </a:cubicBezTo>
                    <a:cubicBezTo>
                      <a:pt x="20738" y="19710"/>
                      <a:pt x="20692" y="19731"/>
                      <a:pt x="20639" y="19762"/>
                    </a:cubicBezTo>
                    <a:cubicBezTo>
                      <a:pt x="20585" y="19793"/>
                      <a:pt x="20524" y="19835"/>
                      <a:pt x="20446" y="19885"/>
                    </a:cubicBezTo>
                    <a:lnTo>
                      <a:pt x="19524" y="20484"/>
                    </a:lnTo>
                    <a:cubicBezTo>
                      <a:pt x="19326" y="16278"/>
                      <a:pt x="17460" y="12172"/>
                      <a:pt x="14089" y="8566"/>
                    </a:cubicBezTo>
                    <a:cubicBezTo>
                      <a:pt x="10791" y="5037"/>
                      <a:pt x="6163" y="2106"/>
                      <a:pt x="642" y="49"/>
                    </a:cubicBezTo>
                    <a:cubicBezTo>
                      <a:pt x="562" y="11"/>
                      <a:pt x="468" y="-4"/>
                      <a:pt x="375" y="1"/>
                    </a:cubicBezTo>
                    <a:close/>
                  </a:path>
                </a:pathLst>
              </a:custGeom>
              <a:solidFill>
                <a:srgbClr val="DDDDDD"/>
              </a:solidFill>
              <a:ln w="12700" cap="flat">
                <a:noFill/>
                <a:miter lim="400000"/>
              </a:ln>
              <a:effectLst/>
            </p:spPr>
            <p:txBody>
              <a:bodyPr wrap="square" lIns="0" tIns="0" rIns="0" bIns="0" numCol="1" anchor="ctr">
                <a:noAutofit/>
              </a:bodyPr>
              <a:lstStyle/>
              <a:p>
                <a:endParaRPr sz="3200" b="0" cap="none" dirty="0">
                  <a:solidFill>
                    <a:srgbClr val="FFFFFF"/>
                  </a:solidFill>
                  <a:effectLst/>
                  <a:latin typeface="Helvetica Neue Medium"/>
                  <a:ea typeface="Helvetica Neue Medium"/>
                  <a:cs typeface="Helvetica Neue Medium"/>
                </a:endParaRPr>
              </a:p>
            </p:txBody>
          </p:sp>
        </p:grpSp>
      </p:grpSp>
    </p:spTree>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 name="Approved Budget Overview"/>
          <p:cNvSpPr txBox="1"/>
          <p:nvPr/>
        </p:nvSpPr>
        <p:spPr>
          <a:xfrm>
            <a:off x="8601158" y="6568570"/>
            <a:ext cx="11074774" cy="891539"/>
          </a:xfrm>
          <a:prstGeom prst="rect">
            <a:avLst/>
          </a:prstGeom>
          <a:ln w="38100">
            <a:solidFill>
              <a:schemeClr val="accent3"/>
            </a:solidFill>
            <a:miter lim="400000"/>
          </a:ln>
          <a:effectLst>
            <a:outerShdw blurRad="12700" dist="12700" rotWithShape="0">
              <a:srgbClr val="000000">
                <a:alpha val="27675"/>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1918" tIns="121918" rIns="121918" bIns="121918" anchor="ctr">
            <a:spAutoFit/>
          </a:bodyPr>
          <a:lstStyle/>
          <a:p>
            <a:r>
              <a:rPr dirty="0"/>
              <a:t>Economic Profile</a:t>
            </a:r>
          </a:p>
        </p:txBody>
      </p:sp>
      <p:sp>
        <p:nvSpPr>
          <p:cNvPr id="2" name="Rectangle 1">
            <a:extLst>
              <a:ext uri="{FF2B5EF4-FFF2-40B4-BE49-F238E27FC236}">
                <a16:creationId xmlns:a16="http://schemas.microsoft.com/office/drawing/2014/main" id="{A674F031-64BC-4C49-9394-E806EDBE2027}"/>
              </a:ext>
            </a:extLst>
          </p:cNvPr>
          <p:cNvSpPr/>
          <p:nvPr/>
        </p:nvSpPr>
        <p:spPr>
          <a:xfrm>
            <a:off x="8620208" y="7629005"/>
            <a:ext cx="826321" cy="330969"/>
          </a:xfrm>
          <a:prstGeom prst="rect">
            <a:avLst/>
          </a:prstGeom>
          <a:solidFill>
            <a:srgbClr val="00AEEF"/>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9" name="Rectangle 8">
            <a:extLst>
              <a:ext uri="{FF2B5EF4-FFF2-40B4-BE49-F238E27FC236}">
                <a16:creationId xmlns:a16="http://schemas.microsoft.com/office/drawing/2014/main" id="{992B2057-2E5B-4DA7-9033-1088BACC7CFA}"/>
              </a:ext>
            </a:extLst>
          </p:cNvPr>
          <p:cNvSpPr/>
          <p:nvPr/>
        </p:nvSpPr>
        <p:spPr>
          <a:xfrm>
            <a:off x="9483771" y="7629005"/>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0" name="Rectangle 9">
            <a:extLst>
              <a:ext uri="{FF2B5EF4-FFF2-40B4-BE49-F238E27FC236}">
                <a16:creationId xmlns:a16="http://schemas.microsoft.com/office/drawing/2014/main" id="{7F5922DB-07F3-458E-AF34-96825E5C9A7B}"/>
              </a:ext>
            </a:extLst>
          </p:cNvPr>
          <p:cNvSpPr/>
          <p:nvPr/>
        </p:nvSpPr>
        <p:spPr>
          <a:xfrm>
            <a:off x="10347334" y="7629005"/>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1" name="Rectangle 10">
            <a:extLst>
              <a:ext uri="{FF2B5EF4-FFF2-40B4-BE49-F238E27FC236}">
                <a16:creationId xmlns:a16="http://schemas.microsoft.com/office/drawing/2014/main" id="{0D32BE76-23B4-4D55-9BE3-A8BA9BEFA045}"/>
              </a:ext>
            </a:extLst>
          </p:cNvPr>
          <p:cNvSpPr/>
          <p:nvPr/>
        </p:nvSpPr>
        <p:spPr>
          <a:xfrm>
            <a:off x="11210897" y="7629005"/>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2" name="Rectangle 11">
            <a:extLst>
              <a:ext uri="{FF2B5EF4-FFF2-40B4-BE49-F238E27FC236}">
                <a16:creationId xmlns:a16="http://schemas.microsoft.com/office/drawing/2014/main" id="{8930CF1B-6776-4DA5-B7B2-A27E640CCDC0}"/>
              </a:ext>
            </a:extLst>
          </p:cNvPr>
          <p:cNvSpPr/>
          <p:nvPr/>
        </p:nvSpPr>
        <p:spPr>
          <a:xfrm>
            <a:off x="12074460" y="7629005"/>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3" name="Rectangle 12">
            <a:extLst>
              <a:ext uri="{FF2B5EF4-FFF2-40B4-BE49-F238E27FC236}">
                <a16:creationId xmlns:a16="http://schemas.microsoft.com/office/drawing/2014/main" id="{B0A8AD41-A985-4BC5-AE1B-40B5866EBCFB}"/>
              </a:ext>
            </a:extLst>
          </p:cNvPr>
          <p:cNvSpPr/>
          <p:nvPr/>
        </p:nvSpPr>
        <p:spPr>
          <a:xfrm>
            <a:off x="12938023" y="7629005"/>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4" name="Rectangle 13">
            <a:extLst>
              <a:ext uri="{FF2B5EF4-FFF2-40B4-BE49-F238E27FC236}">
                <a16:creationId xmlns:a16="http://schemas.microsoft.com/office/drawing/2014/main" id="{573C7195-DE9F-4352-BA79-2E4EF778AF01}"/>
              </a:ext>
            </a:extLst>
          </p:cNvPr>
          <p:cNvSpPr/>
          <p:nvPr/>
        </p:nvSpPr>
        <p:spPr>
          <a:xfrm>
            <a:off x="13801586" y="7629005"/>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5" name="Rectangle 14">
            <a:extLst>
              <a:ext uri="{FF2B5EF4-FFF2-40B4-BE49-F238E27FC236}">
                <a16:creationId xmlns:a16="http://schemas.microsoft.com/office/drawing/2014/main" id="{67FF79DC-D723-4158-92BE-1C86E7D00A80}"/>
              </a:ext>
            </a:extLst>
          </p:cNvPr>
          <p:cNvSpPr/>
          <p:nvPr/>
        </p:nvSpPr>
        <p:spPr>
          <a:xfrm>
            <a:off x="14665149" y="7629005"/>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6" name="Rectangle 15">
            <a:extLst>
              <a:ext uri="{FF2B5EF4-FFF2-40B4-BE49-F238E27FC236}">
                <a16:creationId xmlns:a16="http://schemas.microsoft.com/office/drawing/2014/main" id="{CD8466A1-CC69-4A40-BCDA-F3CEB3E03AFB}"/>
              </a:ext>
            </a:extLst>
          </p:cNvPr>
          <p:cNvSpPr/>
          <p:nvPr/>
        </p:nvSpPr>
        <p:spPr>
          <a:xfrm>
            <a:off x="15528712" y="7629005"/>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7" name="Rectangle 16">
            <a:extLst>
              <a:ext uri="{FF2B5EF4-FFF2-40B4-BE49-F238E27FC236}">
                <a16:creationId xmlns:a16="http://schemas.microsoft.com/office/drawing/2014/main" id="{03479B8C-A46B-4F4A-81FA-B30C59D82B0E}"/>
              </a:ext>
            </a:extLst>
          </p:cNvPr>
          <p:cNvSpPr/>
          <p:nvPr/>
        </p:nvSpPr>
        <p:spPr>
          <a:xfrm>
            <a:off x="16392275" y="7629005"/>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8" name="Rectangle 17">
            <a:extLst>
              <a:ext uri="{FF2B5EF4-FFF2-40B4-BE49-F238E27FC236}">
                <a16:creationId xmlns:a16="http://schemas.microsoft.com/office/drawing/2014/main" id="{C5108ADC-6070-4F8F-857B-026FD1BE0129}"/>
              </a:ext>
            </a:extLst>
          </p:cNvPr>
          <p:cNvSpPr/>
          <p:nvPr/>
        </p:nvSpPr>
        <p:spPr>
          <a:xfrm>
            <a:off x="17255838" y="7629005"/>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19" name="Rectangle 18">
            <a:extLst>
              <a:ext uri="{FF2B5EF4-FFF2-40B4-BE49-F238E27FC236}">
                <a16:creationId xmlns:a16="http://schemas.microsoft.com/office/drawing/2014/main" id="{7D1BD6E1-AA8A-40E8-BE96-FCA3378C0EA2}"/>
              </a:ext>
            </a:extLst>
          </p:cNvPr>
          <p:cNvSpPr/>
          <p:nvPr/>
        </p:nvSpPr>
        <p:spPr>
          <a:xfrm>
            <a:off x="18119401" y="7629005"/>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20" name="Rectangle 19">
            <a:extLst>
              <a:ext uri="{FF2B5EF4-FFF2-40B4-BE49-F238E27FC236}">
                <a16:creationId xmlns:a16="http://schemas.microsoft.com/office/drawing/2014/main" id="{00FB5FA0-2B48-4E3B-A87A-688B0E6BBE5C}"/>
              </a:ext>
            </a:extLst>
          </p:cNvPr>
          <p:cNvSpPr/>
          <p:nvPr/>
        </p:nvSpPr>
        <p:spPr>
          <a:xfrm>
            <a:off x="18982961" y="7629005"/>
            <a:ext cx="826321" cy="330969"/>
          </a:xfrm>
          <a:prstGeom prst="rect">
            <a:avLst/>
          </a:prstGeom>
          <a:solidFill>
            <a:schemeClr val="bg2">
              <a:lumMod val="40000"/>
              <a:lumOff val="60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252D30"/>
              </a:solidFill>
              <a:effectLst/>
              <a:uFillTx/>
              <a:latin typeface="+mn-lt"/>
              <a:ea typeface="+mn-ea"/>
              <a:cs typeface="+mn-cs"/>
              <a:sym typeface="Helvetica Neue"/>
            </a:endParaRPr>
          </a:p>
        </p:txBody>
      </p:sp>
      <p:sp>
        <p:nvSpPr>
          <p:cNvPr id="26" name="Approved Budget Overview">
            <a:extLst>
              <a:ext uri="{FF2B5EF4-FFF2-40B4-BE49-F238E27FC236}">
                <a16:creationId xmlns:a16="http://schemas.microsoft.com/office/drawing/2014/main" id="{786FF9D0-A414-4DC2-9A2F-F6344FE1E894}"/>
              </a:ext>
            </a:extLst>
          </p:cNvPr>
          <p:cNvSpPr txBox="1"/>
          <p:nvPr/>
        </p:nvSpPr>
        <p:spPr>
          <a:xfrm>
            <a:off x="5502624" y="6568570"/>
            <a:ext cx="3108960" cy="891539"/>
          </a:xfrm>
          <a:prstGeom prst="rect">
            <a:avLst/>
          </a:prstGeom>
          <a:solidFill>
            <a:srgbClr val="1A77B9"/>
          </a:solidFill>
          <a:ln w="38100">
            <a:solidFill>
              <a:schemeClr val="accent3"/>
            </a:solidFill>
            <a:miter lim="400000"/>
          </a:ln>
          <a:effectLst>
            <a:outerShdw blurRad="12700" dist="12700" rotWithShape="0">
              <a:srgbClr val="000000">
                <a:alpha val="27675"/>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121918" tIns="121918" rIns="121918" bIns="121918" anchor="ctr">
            <a:spAutoFit/>
          </a:bodyPr>
          <a:lstStyle/>
          <a:p>
            <a:endParaRPr dirty="0"/>
          </a:p>
        </p:txBody>
      </p:sp>
      <p:sp>
        <p:nvSpPr>
          <p:cNvPr id="21" name="2019">
            <a:extLst>
              <a:ext uri="{FF2B5EF4-FFF2-40B4-BE49-F238E27FC236}">
                <a16:creationId xmlns:a16="http://schemas.microsoft.com/office/drawing/2014/main" id="{A4E1F68A-5840-4E24-AB70-5914D8555D51}"/>
              </a:ext>
            </a:extLst>
          </p:cNvPr>
          <p:cNvSpPr txBox="1"/>
          <p:nvPr/>
        </p:nvSpPr>
        <p:spPr>
          <a:xfrm>
            <a:off x="5354860" y="6566609"/>
            <a:ext cx="3421081" cy="984885"/>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defRPr sz="6400">
                <a:solidFill>
                  <a:schemeClr val="accent4"/>
                </a:solidFill>
                <a:effectLst>
                  <a:outerShdw blurRad="12700" dist="25400" dir="18900000" rotWithShape="0">
                    <a:srgbClr val="000000"/>
                  </a:outerShdw>
                </a:effectLst>
              </a:defRPr>
            </a:lvl1pPr>
          </a:lstStyle>
          <a:p>
            <a:r>
              <a:rPr lang="en-US" dirty="0">
                <a:solidFill>
                  <a:schemeClr val="bg1"/>
                </a:solidFill>
              </a:rPr>
              <a:t>Q1 2021</a:t>
            </a:r>
            <a:endParaRPr dirty="0">
              <a:solidFill>
                <a:schemeClr val="bg1"/>
              </a:solidFill>
            </a:endParaRPr>
          </a:p>
        </p:txBody>
      </p:sp>
    </p:spTree>
    <p:extLst>
      <p:ext uri="{BB962C8B-B14F-4D97-AF65-F5344CB8AC3E}">
        <p14:creationId xmlns:p14="http://schemas.microsoft.com/office/powerpoint/2010/main" val="1784119970"/>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1" name="Text Box 3"/>
          <p:cNvSpPr txBox="1"/>
          <p:nvPr/>
        </p:nvSpPr>
        <p:spPr>
          <a:xfrm>
            <a:off x="4511437" y="837446"/>
            <a:ext cx="15361127" cy="72327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8100" tIns="38100" rIns="38100" bIns="38100" anchor="ctr">
            <a:spAutoFit/>
          </a:bodyPr>
          <a:lstStyle/>
          <a:p>
            <a:r>
              <a:rPr dirty="0"/>
              <a:t>Economic Data — Inflation </a:t>
            </a:r>
          </a:p>
        </p:txBody>
      </p:sp>
      <p:sp>
        <p:nvSpPr>
          <p:cNvPr id="262" name="New York, London, Tokyo are among the top cities that are worst hit by Covid-19. Preventive measures have adversely affected economies and health systems of these cities hit by the virus. Surprisingly, they are able to keep their inflation rate under con"/>
          <p:cNvSpPr/>
          <p:nvPr/>
        </p:nvSpPr>
        <p:spPr>
          <a:xfrm>
            <a:off x="743079" y="8223923"/>
            <a:ext cx="22897842" cy="4066387"/>
          </a:xfrm>
          <a:custGeom>
            <a:avLst/>
            <a:gdLst/>
            <a:ahLst/>
            <a:cxnLst>
              <a:cxn ang="0">
                <a:pos x="wd2" y="hd2"/>
              </a:cxn>
              <a:cxn ang="5400000">
                <a:pos x="wd2" y="hd2"/>
              </a:cxn>
              <a:cxn ang="10800000">
                <a:pos x="wd2" y="hd2"/>
              </a:cxn>
              <a:cxn ang="16200000">
                <a:pos x="wd2" y="hd2"/>
              </a:cxn>
            </a:cxnLst>
            <a:rect l="0" t="0" r="r" b="b"/>
            <a:pathLst>
              <a:path w="21600" h="21600" extrusionOk="0">
                <a:moveTo>
                  <a:pt x="0" y="21263"/>
                </a:moveTo>
                <a:lnTo>
                  <a:pt x="0" y="337"/>
                </a:lnTo>
                <a:cubicBezTo>
                  <a:pt x="0" y="151"/>
                  <a:pt x="27" y="0"/>
                  <a:pt x="60" y="0"/>
                </a:cubicBezTo>
                <a:lnTo>
                  <a:pt x="21540" y="0"/>
                </a:lnTo>
                <a:cubicBezTo>
                  <a:pt x="21573" y="0"/>
                  <a:pt x="21600" y="151"/>
                  <a:pt x="21600" y="337"/>
                </a:cubicBezTo>
                <a:lnTo>
                  <a:pt x="21600" y="21263"/>
                </a:lnTo>
                <a:cubicBezTo>
                  <a:pt x="21600" y="21449"/>
                  <a:pt x="21573" y="21600"/>
                  <a:pt x="21540" y="21600"/>
                </a:cubicBezTo>
                <a:lnTo>
                  <a:pt x="60" y="21600"/>
                </a:lnTo>
                <a:cubicBezTo>
                  <a:pt x="27" y="21600"/>
                  <a:pt x="0" y="21449"/>
                  <a:pt x="0" y="21263"/>
                </a:cubicBezTo>
                <a:close/>
              </a:path>
            </a:pathLst>
          </a:custGeom>
          <a:solidFill>
            <a:srgbClr val="FFFFFF"/>
          </a:solidFill>
          <a:ln w="12700">
            <a:miter lim="400000"/>
          </a:ln>
          <a:effectLst>
            <a:outerShdw blurRad="50800" dist="30504" dir="5400000" rotWithShape="0">
              <a:srgbClr val="000000">
                <a:alpha val="75594"/>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8100" tIns="38100" rIns="38100" bIns="38100" anchor="ctr"/>
          <a:lstStyle/>
          <a:p>
            <a:pPr marL="431800" indent="-381000" algn="l">
              <a:lnSpc>
                <a:spcPct val="110000"/>
              </a:lnSpc>
              <a:spcBef>
                <a:spcPts val="100"/>
              </a:spcBef>
              <a:buClr>
                <a:schemeClr val="accent3"/>
              </a:buClr>
              <a:buSzPct val="122000"/>
              <a:buFont typeface="Helvetica"/>
              <a:buChar char="▸"/>
              <a:defRPr sz="2400" b="0" cap="none">
                <a:solidFill>
                  <a:srgbClr val="000000"/>
                </a:solidFill>
                <a:effectLst/>
              </a:defRPr>
            </a:pPr>
            <a:r>
              <a:rPr lang="en-US" dirty="0"/>
              <a:t>Food Prices have seen rapid inflation over the same period last Year, with an overall increase of inflation rate of 53% in the Last Twelve Months. At the start of the Year 2021, Food inflation was at 20.6% and has continue rising every month YTD </a:t>
            </a:r>
          </a:p>
          <a:p>
            <a:pPr marL="431800" indent="-381000" algn="l">
              <a:lnSpc>
                <a:spcPct val="110000"/>
              </a:lnSpc>
              <a:spcBef>
                <a:spcPts val="100"/>
              </a:spcBef>
              <a:buClr>
                <a:schemeClr val="accent3"/>
              </a:buClr>
              <a:buSzPct val="122000"/>
              <a:buFont typeface="Helvetica"/>
              <a:buChar char="▸"/>
              <a:defRPr sz="2400" b="0" cap="none">
                <a:solidFill>
                  <a:srgbClr val="000000"/>
                </a:solidFill>
                <a:effectLst/>
              </a:defRPr>
            </a:pPr>
            <a:r>
              <a:rPr lang="en-GB" dirty="0"/>
              <a:t>The food inflationary trend increased despite the reopening of the borders in December 2020 after shutting it for over a year </a:t>
            </a:r>
          </a:p>
          <a:p>
            <a:pPr marL="431800" indent="-381000" algn="l">
              <a:lnSpc>
                <a:spcPct val="110000"/>
              </a:lnSpc>
              <a:spcBef>
                <a:spcPts val="100"/>
              </a:spcBef>
              <a:buClr>
                <a:schemeClr val="accent3"/>
              </a:buClr>
              <a:buSzPct val="122000"/>
              <a:buFont typeface="Helvetica"/>
              <a:buChar char="▸"/>
              <a:defRPr sz="2400" b="0" cap="none">
                <a:solidFill>
                  <a:srgbClr val="000000"/>
                </a:solidFill>
                <a:effectLst/>
              </a:defRPr>
            </a:pPr>
            <a:r>
              <a:rPr lang="en-GB" dirty="0"/>
              <a:t>Although slight reduction in the cost of staple food such as rice was recorded, however it has not translated to significant reduction, especially for majority of Nigerians who buy from retailers.</a:t>
            </a:r>
          </a:p>
          <a:p>
            <a:pPr marL="431800" indent="-381000" algn="l">
              <a:lnSpc>
                <a:spcPct val="110000"/>
              </a:lnSpc>
              <a:spcBef>
                <a:spcPts val="100"/>
              </a:spcBef>
              <a:buClr>
                <a:schemeClr val="accent3"/>
              </a:buClr>
              <a:buSzPct val="122000"/>
              <a:buFont typeface="Helvetica"/>
              <a:buChar char="▸"/>
              <a:defRPr sz="2400" b="0" cap="none">
                <a:solidFill>
                  <a:srgbClr val="000000"/>
                </a:solidFill>
                <a:effectLst/>
              </a:defRPr>
            </a:pPr>
            <a:r>
              <a:rPr lang="en-GB" dirty="0"/>
              <a:t>Factors such as reduced local production, exchange rate fluctuation and high costs of energy and transport has further contributed to food inflation.  </a:t>
            </a:r>
          </a:p>
          <a:p>
            <a:pPr marL="431800" indent="-381000" algn="l">
              <a:lnSpc>
                <a:spcPct val="110000"/>
              </a:lnSpc>
              <a:spcBef>
                <a:spcPts val="100"/>
              </a:spcBef>
              <a:buClr>
                <a:schemeClr val="accent3"/>
              </a:buClr>
              <a:buSzPct val="122000"/>
              <a:buFont typeface="Helvetica"/>
              <a:buChar char="▸"/>
              <a:defRPr sz="2400" b="0" cap="none">
                <a:solidFill>
                  <a:srgbClr val="000000"/>
                </a:solidFill>
                <a:effectLst/>
              </a:defRPr>
            </a:pPr>
            <a:r>
              <a:rPr lang="en-GB" dirty="0"/>
              <a:t>Agricultural growth slowed amid difficulties in transporting inputs and produce to the  market,  coupled with banditry, kidnapping and the farmer and herdsmen crisis</a:t>
            </a:r>
            <a:endParaRPr lang="en-US" dirty="0"/>
          </a:p>
        </p:txBody>
      </p:sp>
      <p:sp>
        <p:nvSpPr>
          <p:cNvPr id="263" name="Rectangle"/>
          <p:cNvSpPr/>
          <p:nvPr/>
        </p:nvSpPr>
        <p:spPr>
          <a:xfrm>
            <a:off x="743079" y="2143697"/>
            <a:ext cx="22897842" cy="5868622"/>
          </a:xfrm>
          <a:prstGeom prst="rect">
            <a:avLst/>
          </a:prstGeom>
          <a:solidFill>
            <a:srgbClr val="FFFFFF"/>
          </a:solidFill>
          <a:ln w="12700">
            <a:miter lim="400000"/>
          </a:ln>
          <a:effectLst>
            <a:outerShdw blurRad="50800" dist="25400" dir="5400000" rotWithShape="0">
              <a:srgbClr val="000000">
                <a:alpha val="75653"/>
              </a:srgbClr>
            </a:outerShdw>
          </a:effectLst>
        </p:spPr>
        <p:txBody>
          <a:bodyPr lIns="38100" tIns="38100" rIns="38100" bIns="38100" anchor="ctr"/>
          <a:lstStyle/>
          <a:p>
            <a:pPr algn="l">
              <a:defRPr sz="2000" b="0" cap="none">
                <a:solidFill>
                  <a:srgbClr val="252D30"/>
                </a:solidFill>
                <a:effectLst/>
                <a:latin typeface="+mn-lt"/>
                <a:ea typeface="+mn-ea"/>
                <a:cs typeface="+mn-cs"/>
                <a:sym typeface="Helvetica Neue"/>
              </a:defRPr>
            </a:pPr>
            <a:endParaRPr dirty="0"/>
          </a:p>
        </p:txBody>
      </p:sp>
      <p:sp>
        <p:nvSpPr>
          <p:cNvPr id="266" name="Line"/>
          <p:cNvSpPr/>
          <p:nvPr/>
        </p:nvSpPr>
        <p:spPr>
          <a:xfrm flipV="1">
            <a:off x="11700944" y="3867791"/>
            <a:ext cx="1" cy="3381686"/>
          </a:xfrm>
          <a:prstGeom prst="line">
            <a:avLst/>
          </a:prstGeom>
          <a:ln w="25400">
            <a:solidFill>
              <a:schemeClr val="accent6">
                <a:lumOff val="-11176"/>
              </a:schemeClr>
            </a:solidFill>
          </a:ln>
          <a:effectLst>
            <a:outerShdw blurRad="25400" dist="17804" dir="5400000" rotWithShape="0">
              <a:srgbClr val="000000">
                <a:alpha val="47610"/>
              </a:srgbClr>
            </a:outerShdw>
          </a:effectLst>
        </p:spPr>
        <p:txBody>
          <a:bodyPr lIns="45718" tIns="45718" rIns="45718" bIns="45718"/>
          <a:lstStyle/>
          <a:p>
            <a:pPr algn="l">
              <a:defRPr sz="2000" b="0" cap="none">
                <a:solidFill>
                  <a:srgbClr val="252D30"/>
                </a:solidFill>
                <a:effectLst/>
                <a:latin typeface="+mn-lt"/>
                <a:ea typeface="+mn-ea"/>
                <a:cs typeface="+mn-cs"/>
                <a:sym typeface="Helvetica Neue"/>
              </a:defRPr>
            </a:pPr>
            <a:endParaRPr dirty="0"/>
          </a:p>
        </p:txBody>
      </p:sp>
      <p:sp>
        <p:nvSpPr>
          <p:cNvPr id="267" name="TextBox 7"/>
          <p:cNvSpPr txBox="1"/>
          <p:nvPr/>
        </p:nvSpPr>
        <p:spPr>
          <a:xfrm>
            <a:off x="7566857" y="12580928"/>
            <a:ext cx="8364428" cy="4001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p>
            <a:pPr algn="l" defTabSz="2438400">
              <a:defRPr sz="2000" b="0" i="1">
                <a:solidFill>
                  <a:schemeClr val="accent6">
                    <a:lumOff val="-11176"/>
                  </a:schemeClr>
                </a:solidFill>
                <a:effectLst>
                  <a:outerShdw blurRad="12700" dist="12700" dir="18900000" rotWithShape="0">
                    <a:srgbClr val="000000">
                      <a:alpha val="24000"/>
                    </a:srgbClr>
                  </a:outerShdw>
                </a:effectLst>
              </a:defRPr>
            </a:pPr>
            <a:r>
              <a:rPr dirty="0"/>
              <a:t>Source:  Economic and Planning Department | Lagos Bureau of Statistics</a:t>
            </a:r>
          </a:p>
        </p:txBody>
      </p:sp>
      <p:graphicFrame>
        <p:nvGraphicFramePr>
          <p:cNvPr id="11" name="Chart 10"/>
          <p:cNvGraphicFramePr>
            <a:graphicFrameLocks/>
          </p:cNvGraphicFramePr>
          <p:nvPr>
            <p:extLst>
              <p:ext uri="{D42A27DB-BD31-4B8C-83A1-F6EECF244321}">
                <p14:modId xmlns:p14="http://schemas.microsoft.com/office/powerpoint/2010/main" val="715899978"/>
              </p:ext>
            </p:extLst>
          </p:nvPr>
        </p:nvGraphicFramePr>
        <p:xfrm>
          <a:off x="11948809" y="2743199"/>
          <a:ext cx="11176662" cy="5170406"/>
        </p:xfrm>
        <a:graphic>
          <a:graphicData uri="http://schemas.openxmlformats.org/drawingml/2006/chart">
            <c:chart xmlns:c="http://schemas.openxmlformats.org/drawingml/2006/chart" xmlns:r="http://schemas.openxmlformats.org/officeDocument/2006/relationships" r:id="rId2"/>
          </a:graphicData>
        </a:graphic>
      </p:graphicFrame>
      <p:sp>
        <p:nvSpPr>
          <p:cNvPr id="2" name="TextBox 1"/>
          <p:cNvSpPr txBox="1"/>
          <p:nvPr/>
        </p:nvSpPr>
        <p:spPr>
          <a:xfrm>
            <a:off x="13854994" y="2486040"/>
            <a:ext cx="6695768" cy="4616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ctr" defTabSz="825500" rtl="0" fontAlgn="auto" latinLnBrk="0" hangingPunct="0">
              <a:lnSpc>
                <a:spcPct val="100000"/>
              </a:lnSpc>
              <a:spcBef>
                <a:spcPts val="0"/>
              </a:spcBef>
              <a:spcAft>
                <a:spcPts val="0"/>
              </a:spcAft>
              <a:buClrTx/>
              <a:buSzTx/>
              <a:buFontTx/>
              <a:buNone/>
              <a:tabLst/>
            </a:pPr>
            <a:r>
              <a:rPr lang="en-US" sz="2400" dirty="0"/>
              <a:t>Food Inflation Rate Apr-20 to Mar -21 (LTM)</a:t>
            </a:r>
            <a:endParaRPr kumimoji="0" lang="en-GB" sz="2400" b="1" i="0" u="none" strike="noStrike" cap="small" spc="0" normalizeH="0" baseline="0" dirty="0">
              <a:ln>
                <a:noFill/>
              </a:ln>
              <a:solidFill>
                <a:schemeClr val="accent3"/>
              </a:solidFill>
              <a:effectLst>
                <a:outerShdw blurRad="12700" dist="12700" dir="18900000" rotWithShape="0">
                  <a:srgbClr val="000000">
                    <a:alpha val="40000"/>
                  </a:srgbClr>
                </a:outerShdw>
              </a:effectLst>
              <a:uFillTx/>
              <a:sym typeface="Trebuchet MS"/>
            </a:endParaRPr>
          </a:p>
        </p:txBody>
      </p:sp>
      <p:graphicFrame>
        <p:nvGraphicFramePr>
          <p:cNvPr id="13" name="Chart 12"/>
          <p:cNvGraphicFramePr>
            <a:graphicFrameLocks/>
          </p:cNvGraphicFramePr>
          <p:nvPr>
            <p:extLst>
              <p:ext uri="{D42A27DB-BD31-4B8C-83A1-F6EECF244321}">
                <p14:modId xmlns:p14="http://schemas.microsoft.com/office/powerpoint/2010/main" val="1943206538"/>
              </p:ext>
            </p:extLst>
          </p:nvPr>
        </p:nvGraphicFramePr>
        <p:xfrm>
          <a:off x="1415845" y="2947701"/>
          <a:ext cx="9497961" cy="4965905"/>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p:cNvSpPr txBox="1"/>
          <p:nvPr/>
        </p:nvSpPr>
        <p:spPr>
          <a:xfrm>
            <a:off x="3657600" y="2526858"/>
            <a:ext cx="6989321" cy="4616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ctr" defTabSz="825500" rtl="0" fontAlgn="auto" latinLnBrk="0" hangingPunct="0">
              <a:lnSpc>
                <a:spcPct val="100000"/>
              </a:lnSpc>
              <a:spcBef>
                <a:spcPts val="0"/>
              </a:spcBef>
              <a:spcAft>
                <a:spcPts val="0"/>
              </a:spcAft>
              <a:buClrTx/>
              <a:buSzTx/>
              <a:buFontTx/>
              <a:buNone/>
              <a:tabLst/>
            </a:pPr>
            <a:r>
              <a:rPr lang="en-US" sz="2400" dirty="0"/>
              <a:t>Lagos Inflation Rate Q4 2020 &amp;  Jan – Feb 2021</a:t>
            </a:r>
            <a:endParaRPr kumimoji="0" lang="en-GB" sz="2400" b="1" i="0" u="none" strike="noStrike" cap="small" spc="0" normalizeH="0" baseline="0" dirty="0">
              <a:ln>
                <a:noFill/>
              </a:ln>
              <a:solidFill>
                <a:schemeClr val="accent3"/>
              </a:solidFill>
              <a:effectLst>
                <a:outerShdw blurRad="12700" dist="12700" dir="18900000" rotWithShape="0">
                  <a:srgbClr val="000000">
                    <a:alpha val="40000"/>
                  </a:srgbClr>
                </a:outerShdw>
              </a:effectLst>
              <a:uFillTx/>
              <a:sym typeface="Trebuchet MS"/>
            </a:endParaRPr>
          </a:p>
        </p:txBody>
      </p:sp>
    </p:spTree>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 name="Text Box 3"/>
          <p:cNvSpPr txBox="1"/>
          <p:nvPr/>
        </p:nvSpPr>
        <p:spPr>
          <a:xfrm>
            <a:off x="4511437" y="856183"/>
            <a:ext cx="15361127" cy="6858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8100" tIns="38100" rIns="38100" bIns="38100" anchor="ctr">
            <a:spAutoFit/>
          </a:bodyPr>
          <a:lstStyle/>
          <a:p>
            <a:r>
              <a:rPr dirty="0"/>
              <a:t>Economic Data — Unemployment (Annual Data -&gt; July 2020)</a:t>
            </a:r>
          </a:p>
        </p:txBody>
      </p:sp>
      <p:sp>
        <p:nvSpPr>
          <p:cNvPr id="271" name="The COVID-19 crisis has contributed to the current high unemployment rate in Lagos and Nigeria. As the post-COVID-19 future looks to present a potential change in the structure of the economy, support should be channelled to sectors that can create decen"/>
          <p:cNvSpPr/>
          <p:nvPr/>
        </p:nvSpPr>
        <p:spPr>
          <a:xfrm>
            <a:off x="743079" y="7795009"/>
            <a:ext cx="22897842" cy="3367806"/>
          </a:xfrm>
          <a:custGeom>
            <a:avLst/>
            <a:gdLst/>
            <a:ahLst/>
            <a:cxnLst>
              <a:cxn ang="0">
                <a:pos x="wd2" y="hd2"/>
              </a:cxn>
              <a:cxn ang="5400000">
                <a:pos x="wd2" y="hd2"/>
              </a:cxn>
              <a:cxn ang="10800000">
                <a:pos x="wd2" y="hd2"/>
              </a:cxn>
              <a:cxn ang="16200000">
                <a:pos x="wd2" y="hd2"/>
              </a:cxn>
            </a:cxnLst>
            <a:rect l="0" t="0" r="r" b="b"/>
            <a:pathLst>
              <a:path w="21600" h="21600" extrusionOk="0">
                <a:moveTo>
                  <a:pt x="0" y="21319"/>
                </a:moveTo>
                <a:lnTo>
                  <a:pt x="0" y="281"/>
                </a:lnTo>
                <a:cubicBezTo>
                  <a:pt x="0" y="126"/>
                  <a:pt x="27" y="0"/>
                  <a:pt x="60" y="0"/>
                </a:cubicBezTo>
                <a:lnTo>
                  <a:pt x="21540" y="0"/>
                </a:lnTo>
                <a:cubicBezTo>
                  <a:pt x="21573" y="0"/>
                  <a:pt x="21600" y="126"/>
                  <a:pt x="21600" y="281"/>
                </a:cubicBezTo>
                <a:lnTo>
                  <a:pt x="21600" y="21319"/>
                </a:lnTo>
                <a:cubicBezTo>
                  <a:pt x="21600" y="21474"/>
                  <a:pt x="21573" y="21600"/>
                  <a:pt x="21540" y="21600"/>
                </a:cubicBezTo>
                <a:lnTo>
                  <a:pt x="60" y="21600"/>
                </a:lnTo>
                <a:cubicBezTo>
                  <a:pt x="27" y="21600"/>
                  <a:pt x="0" y="21474"/>
                  <a:pt x="0" y="21319"/>
                </a:cubicBezTo>
                <a:close/>
              </a:path>
            </a:pathLst>
          </a:custGeom>
          <a:solidFill>
            <a:srgbClr val="FFFFFF"/>
          </a:solidFill>
          <a:ln w="12700">
            <a:miter lim="400000"/>
          </a:ln>
          <a:effectLst>
            <a:outerShdw blurRad="50800" dist="30504" dir="5400000" rotWithShape="0">
              <a:srgbClr val="000000">
                <a:alpha val="75885"/>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8100" tIns="38100" rIns="38100" bIns="38100" anchor="ctr"/>
          <a:lstStyle/>
          <a:p>
            <a:pPr marL="431800" indent="-381000" algn="l">
              <a:lnSpc>
                <a:spcPct val="150000"/>
              </a:lnSpc>
              <a:spcBef>
                <a:spcPts val="100"/>
              </a:spcBef>
              <a:buClr>
                <a:schemeClr val="accent3"/>
              </a:buClr>
              <a:buSzPct val="122000"/>
              <a:buFont typeface="Helvetica"/>
              <a:buChar char="▸"/>
              <a:defRPr sz="2400" b="0" cap="none">
                <a:solidFill>
                  <a:srgbClr val="000000"/>
                </a:solidFill>
                <a:effectLst/>
              </a:defRPr>
            </a:pPr>
            <a:r>
              <a:rPr sz="2400" dirty="0"/>
              <a:t>The COVID-19 crisis has contributed to the current high unemployment rate in Lagos and Nigeria. As the post-COVID-19 future looks to present a potential change in the structure of the economy, support should be </a:t>
            </a:r>
            <a:r>
              <a:rPr lang="en-GB" sz="2400" dirty="0"/>
              <a:t>channelled</a:t>
            </a:r>
            <a:r>
              <a:rPr sz="2400" dirty="0"/>
              <a:t> to sectors that can create decent and productive employment for the available workforce. </a:t>
            </a:r>
            <a:endParaRPr lang="en-US" sz="2400" dirty="0"/>
          </a:p>
          <a:p>
            <a:pPr marL="431800" indent="-381000" algn="l">
              <a:lnSpc>
                <a:spcPct val="150000"/>
              </a:lnSpc>
              <a:spcBef>
                <a:spcPts val="100"/>
              </a:spcBef>
              <a:buClr>
                <a:schemeClr val="accent3"/>
              </a:buClr>
              <a:buSzPct val="122000"/>
              <a:buFont typeface="Helvetica"/>
              <a:buChar char="▸"/>
              <a:defRPr sz="2400" b="0" cap="none">
                <a:solidFill>
                  <a:srgbClr val="000000"/>
                </a:solidFill>
                <a:effectLst/>
              </a:defRPr>
            </a:pPr>
            <a:r>
              <a:rPr lang="en-GB" sz="2400" dirty="0"/>
              <a:t>The #EndSARS protest Q4’2020 was a fallout of the increasing rate of unemployment, low economic activities and insecurity in Lagos State and Nigeria</a:t>
            </a:r>
          </a:p>
          <a:p>
            <a:pPr marL="431800" indent="-381000" algn="l">
              <a:lnSpc>
                <a:spcPct val="150000"/>
              </a:lnSpc>
              <a:spcBef>
                <a:spcPts val="100"/>
              </a:spcBef>
              <a:buClr>
                <a:schemeClr val="accent3"/>
              </a:buClr>
              <a:buSzPct val="122000"/>
              <a:buFont typeface="Helvetica"/>
              <a:buChar char="▸"/>
              <a:defRPr sz="2400" b="0" cap="none">
                <a:solidFill>
                  <a:srgbClr val="000000"/>
                </a:solidFill>
                <a:effectLst/>
              </a:defRPr>
            </a:pPr>
            <a:r>
              <a:rPr lang="en-GB" sz="2400" dirty="0"/>
              <a:t>The lack of jobs adds to pressure on consumers in a country where food prices rose more than 20% year-on-year in January. The number of people looking for jobs will keep rising as population growth continues to outpace output expansion</a:t>
            </a:r>
          </a:p>
        </p:txBody>
      </p:sp>
      <p:sp>
        <p:nvSpPr>
          <p:cNvPr id="272" name="Rectangle"/>
          <p:cNvSpPr/>
          <p:nvPr/>
        </p:nvSpPr>
        <p:spPr>
          <a:xfrm>
            <a:off x="743079" y="1964518"/>
            <a:ext cx="22897842" cy="5442628"/>
          </a:xfrm>
          <a:prstGeom prst="rect">
            <a:avLst/>
          </a:prstGeom>
          <a:solidFill>
            <a:srgbClr val="FFFFFF"/>
          </a:solidFill>
          <a:ln w="12700">
            <a:miter lim="400000"/>
          </a:ln>
          <a:effectLst>
            <a:outerShdw blurRad="50800" dist="25400" dir="5400000" rotWithShape="0">
              <a:srgbClr val="000000">
                <a:alpha val="75885"/>
              </a:srgbClr>
            </a:outerShdw>
          </a:effectLst>
        </p:spPr>
        <p:txBody>
          <a:bodyPr lIns="38100" tIns="38100" rIns="38100" bIns="38100" anchor="ctr"/>
          <a:lstStyle/>
          <a:p>
            <a:pPr algn="l">
              <a:defRPr sz="2000" b="0" cap="none">
                <a:solidFill>
                  <a:srgbClr val="252D30"/>
                </a:solidFill>
                <a:effectLst/>
                <a:latin typeface="+mn-lt"/>
                <a:ea typeface="+mn-ea"/>
                <a:cs typeface="+mn-cs"/>
                <a:sym typeface="Helvetica Neue"/>
              </a:defRPr>
            </a:pPr>
            <a:endParaRPr dirty="0"/>
          </a:p>
        </p:txBody>
      </p:sp>
      <p:graphicFrame>
        <p:nvGraphicFramePr>
          <p:cNvPr id="273" name="Chart 13"/>
          <p:cNvGraphicFramePr/>
          <p:nvPr>
            <p:extLst>
              <p:ext uri="{D42A27DB-BD31-4B8C-83A1-F6EECF244321}">
                <p14:modId xmlns:p14="http://schemas.microsoft.com/office/powerpoint/2010/main" val="3922054264"/>
              </p:ext>
            </p:extLst>
          </p:nvPr>
        </p:nvGraphicFramePr>
        <p:xfrm>
          <a:off x="1069975" y="2368843"/>
          <a:ext cx="20846128" cy="4658767"/>
        </p:xfrm>
        <a:graphic>
          <a:graphicData uri="http://schemas.openxmlformats.org/drawingml/2006/chart">
            <c:chart xmlns:c="http://schemas.openxmlformats.org/drawingml/2006/chart" xmlns:r="http://schemas.openxmlformats.org/officeDocument/2006/relationships" r:id="rId2"/>
          </a:graphicData>
        </a:graphic>
      </p:graphicFrame>
      <p:sp>
        <p:nvSpPr>
          <p:cNvPr id="274" name="TextBox 7"/>
          <p:cNvSpPr txBox="1"/>
          <p:nvPr/>
        </p:nvSpPr>
        <p:spPr>
          <a:xfrm>
            <a:off x="8371974" y="12512055"/>
            <a:ext cx="8319665" cy="4001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p>
            <a:pPr algn="l" defTabSz="2438400">
              <a:defRPr sz="2000" b="0" i="1">
                <a:solidFill>
                  <a:schemeClr val="accent6">
                    <a:lumOff val="-11176"/>
                  </a:schemeClr>
                </a:solidFill>
                <a:effectLst>
                  <a:outerShdw blurRad="12700" dist="12700" dir="18900000" rotWithShape="0">
                    <a:srgbClr val="000000">
                      <a:alpha val="24000"/>
                    </a:srgbClr>
                  </a:outerShdw>
                </a:effectLst>
              </a:defRPr>
            </a:pPr>
            <a:r>
              <a:rPr dirty="0"/>
              <a:t>Source: Lagos Bureau of Statistics | ILO Monitor | Meta-Frux Analysis </a:t>
            </a:r>
          </a:p>
        </p:txBody>
      </p:sp>
    </p:spTree>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4" name="Text Box 3"/>
          <p:cNvSpPr txBox="1"/>
          <p:nvPr/>
        </p:nvSpPr>
        <p:spPr>
          <a:xfrm>
            <a:off x="4511437" y="837446"/>
            <a:ext cx="15361127" cy="72327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8100" tIns="38100" rIns="38100" bIns="38100" anchor="ctr">
            <a:spAutoFit/>
          </a:bodyPr>
          <a:lstStyle/>
          <a:p>
            <a:r>
              <a:rPr lang="en-US" dirty="0"/>
              <a:t>LAGOS ECONOMIC HIGHGLIGHTS</a:t>
            </a:r>
            <a:endParaRPr dirty="0"/>
          </a:p>
        </p:txBody>
      </p:sp>
      <p:sp>
        <p:nvSpPr>
          <p:cNvPr id="255" name="The Nigerian economy is projected to contract by -4.2% while Lagos State’s economy is projected to contract by -3.75%…"/>
          <p:cNvSpPr/>
          <p:nvPr/>
        </p:nvSpPr>
        <p:spPr>
          <a:xfrm>
            <a:off x="1528195" y="2342312"/>
            <a:ext cx="21327610" cy="10015660"/>
          </a:xfrm>
          <a:custGeom>
            <a:avLst/>
            <a:gdLst/>
            <a:ahLst/>
            <a:cxnLst>
              <a:cxn ang="0">
                <a:pos x="wd2" y="hd2"/>
              </a:cxn>
              <a:cxn ang="5400000">
                <a:pos x="wd2" y="hd2"/>
              </a:cxn>
              <a:cxn ang="10800000">
                <a:pos x="wd2" y="hd2"/>
              </a:cxn>
              <a:cxn ang="16200000">
                <a:pos x="wd2" y="hd2"/>
              </a:cxn>
            </a:cxnLst>
            <a:rect l="0" t="0" r="r" b="b"/>
            <a:pathLst>
              <a:path w="21600" h="21600" extrusionOk="0">
                <a:moveTo>
                  <a:pt x="0" y="21147"/>
                </a:moveTo>
                <a:lnTo>
                  <a:pt x="0" y="453"/>
                </a:lnTo>
                <a:cubicBezTo>
                  <a:pt x="0" y="203"/>
                  <a:pt x="29" y="0"/>
                  <a:pt x="64" y="0"/>
                </a:cubicBezTo>
                <a:lnTo>
                  <a:pt x="21536" y="0"/>
                </a:lnTo>
                <a:cubicBezTo>
                  <a:pt x="21571" y="0"/>
                  <a:pt x="21600" y="203"/>
                  <a:pt x="21600" y="453"/>
                </a:cubicBezTo>
                <a:lnTo>
                  <a:pt x="21600" y="21147"/>
                </a:lnTo>
                <a:cubicBezTo>
                  <a:pt x="21600" y="21397"/>
                  <a:pt x="21571" y="21600"/>
                  <a:pt x="21536" y="21600"/>
                </a:cubicBezTo>
                <a:lnTo>
                  <a:pt x="64" y="21600"/>
                </a:lnTo>
                <a:cubicBezTo>
                  <a:pt x="29" y="21600"/>
                  <a:pt x="0" y="21397"/>
                  <a:pt x="0" y="21147"/>
                </a:cubicBezTo>
                <a:close/>
              </a:path>
            </a:pathLst>
          </a:custGeom>
          <a:solidFill>
            <a:srgbClr val="FFFFFF"/>
          </a:solidFill>
          <a:ln w="12700">
            <a:miter lim="400000"/>
          </a:ln>
          <a:effectLst>
            <a:outerShdw blurRad="50800" dist="30504" dir="5400000" rotWithShape="0">
              <a:srgbClr val="000000">
                <a:alpha val="76388"/>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8100" tIns="38100" rIns="38100" bIns="38100" anchor="ctr"/>
          <a:lstStyle/>
          <a:p>
            <a:pPr marL="431800" indent="-381000" algn="l">
              <a:lnSpc>
                <a:spcPct val="200000"/>
              </a:lnSpc>
              <a:spcBef>
                <a:spcPts val="100"/>
              </a:spcBef>
              <a:buClr>
                <a:srgbClr val="22BF00"/>
              </a:buClr>
              <a:buSzPct val="122000"/>
              <a:buFont typeface="Helvetica"/>
              <a:buChar char="▸"/>
              <a:defRPr sz="2400" b="0" cap="none">
                <a:solidFill>
                  <a:srgbClr val="000000"/>
                </a:solidFill>
                <a:effectLst/>
              </a:defRPr>
            </a:pPr>
            <a:r>
              <a:rPr lang="en-GB" sz="2800" dirty="0">
                <a:latin typeface="Trebuchet MS" panose="020B0603020202020204" pitchFamily="34" charset="0"/>
              </a:rPr>
              <a:t>The recovery of the economy is slow, with growth targeted at 3.5% this year, after last year’s contraction of -3.5%</a:t>
            </a:r>
          </a:p>
          <a:p>
            <a:pPr marL="431800" indent="-381000" algn="l">
              <a:lnSpc>
                <a:spcPct val="200000"/>
              </a:lnSpc>
              <a:spcBef>
                <a:spcPts val="100"/>
              </a:spcBef>
              <a:buClr>
                <a:srgbClr val="22BF00"/>
              </a:buClr>
              <a:buSzPct val="122000"/>
              <a:buFont typeface="Helvetica"/>
              <a:buChar char="▸"/>
              <a:defRPr sz="2400" b="0" cap="none">
                <a:solidFill>
                  <a:srgbClr val="000000"/>
                </a:solidFill>
                <a:effectLst/>
              </a:defRPr>
            </a:pPr>
            <a:r>
              <a:rPr lang="en-GB" sz="2800" dirty="0">
                <a:latin typeface="Trebuchet MS" panose="020B0603020202020204" pitchFamily="34" charset="0"/>
              </a:rPr>
              <a:t>The high food inflation will further increase the number of citizens that will fall into the poverty net</a:t>
            </a:r>
          </a:p>
          <a:p>
            <a:pPr marL="431800" indent="-381000" algn="l">
              <a:spcBef>
                <a:spcPts val="100"/>
              </a:spcBef>
              <a:buClr>
                <a:srgbClr val="22BF00"/>
              </a:buClr>
              <a:buSzPct val="122000"/>
              <a:buFont typeface="Helvetica"/>
              <a:buChar char="▸"/>
              <a:defRPr sz="2400" b="0" cap="none">
                <a:solidFill>
                  <a:srgbClr val="000000"/>
                </a:solidFill>
                <a:effectLst/>
              </a:defRPr>
            </a:pPr>
            <a:r>
              <a:rPr lang="en-GB" sz="2800" dirty="0">
                <a:latin typeface="Trebuchet MS" panose="020B0603020202020204" pitchFamily="34" charset="0"/>
              </a:rPr>
              <a:t>The outlook remains fragile, clouded by uncertainty regarding the rising inflation, elevated unemployment, security challenges and social tensions.</a:t>
            </a:r>
          </a:p>
          <a:p>
            <a:pPr marL="431800" indent="-381000" algn="l">
              <a:lnSpc>
                <a:spcPct val="200000"/>
              </a:lnSpc>
              <a:spcBef>
                <a:spcPts val="100"/>
              </a:spcBef>
              <a:buClr>
                <a:srgbClr val="22BF00"/>
              </a:buClr>
              <a:buSzPct val="122000"/>
              <a:buFont typeface="Helvetica"/>
              <a:buChar char="▸"/>
              <a:defRPr sz="2400" b="0" cap="none">
                <a:solidFill>
                  <a:srgbClr val="000000"/>
                </a:solidFill>
                <a:effectLst/>
              </a:defRPr>
            </a:pPr>
            <a:r>
              <a:rPr lang="en-GB" sz="2800" dirty="0">
                <a:latin typeface="Trebuchet MS" panose="020B0603020202020204" pitchFamily="34" charset="0"/>
              </a:rPr>
              <a:t>The number of people looking for jobs will keep rising as population growth continues to outpace output expansion</a:t>
            </a:r>
          </a:p>
          <a:p>
            <a:pPr marL="431800" indent="-381000" algn="l">
              <a:spcBef>
                <a:spcPts val="100"/>
              </a:spcBef>
              <a:buClr>
                <a:srgbClr val="22BF00"/>
              </a:buClr>
              <a:buSzPct val="122000"/>
              <a:buFont typeface="Helvetica"/>
              <a:buChar char="▸"/>
              <a:defRPr sz="2400" b="0" cap="none">
                <a:solidFill>
                  <a:srgbClr val="000000"/>
                </a:solidFill>
                <a:effectLst/>
              </a:defRPr>
            </a:pPr>
            <a:r>
              <a:rPr lang="en-GB" sz="2800" dirty="0">
                <a:latin typeface="Trebuchet MS" panose="020B0603020202020204" pitchFamily="34" charset="0"/>
              </a:rPr>
              <a:t>Accelerating double-digit inflation and tight FX liquidity weighed on household purchasing power and general business operations. Hence, slowing down quick economic recovery.</a:t>
            </a:r>
          </a:p>
          <a:p>
            <a:pPr marL="431800" indent="-381000" algn="l">
              <a:lnSpc>
                <a:spcPct val="200000"/>
              </a:lnSpc>
              <a:spcBef>
                <a:spcPts val="100"/>
              </a:spcBef>
              <a:buClr>
                <a:srgbClr val="22BF00"/>
              </a:buClr>
              <a:buSzPct val="122000"/>
              <a:buFont typeface="Helvetica"/>
              <a:buChar char="▸"/>
              <a:defRPr sz="2400" b="0" cap="none">
                <a:solidFill>
                  <a:srgbClr val="000000"/>
                </a:solidFill>
                <a:effectLst/>
              </a:defRPr>
            </a:pPr>
            <a:r>
              <a:rPr lang="en-GB" sz="2800" dirty="0">
                <a:latin typeface="Trebuchet MS" panose="020B0603020202020204" pitchFamily="34" charset="0"/>
              </a:rPr>
              <a:t>Unemployment Rate and Under Employment Rate is still very high at 12.7% and 22% respectively</a:t>
            </a:r>
          </a:p>
          <a:p>
            <a:pPr marL="431800" indent="-381000" algn="l">
              <a:lnSpc>
                <a:spcPct val="200000"/>
              </a:lnSpc>
              <a:spcBef>
                <a:spcPts val="100"/>
              </a:spcBef>
              <a:buClr>
                <a:srgbClr val="22BF00"/>
              </a:buClr>
              <a:buSzPct val="122000"/>
              <a:buFont typeface="Helvetica"/>
              <a:buChar char="▸"/>
              <a:defRPr sz="2400" b="0" cap="none">
                <a:solidFill>
                  <a:srgbClr val="000000"/>
                </a:solidFill>
                <a:effectLst/>
              </a:defRPr>
            </a:pPr>
            <a:r>
              <a:rPr lang="en-GB" sz="2800" dirty="0">
                <a:latin typeface="Trebuchet MS" panose="020B0603020202020204" pitchFamily="34" charset="0"/>
              </a:rPr>
              <a:t>Many businesses and industries are experiencing slow sales revenue and profitability</a:t>
            </a:r>
          </a:p>
          <a:p>
            <a:pPr marL="431800" indent="-381000" algn="l">
              <a:lnSpc>
                <a:spcPct val="110000"/>
              </a:lnSpc>
              <a:spcBef>
                <a:spcPts val="100"/>
              </a:spcBef>
              <a:buClr>
                <a:srgbClr val="22BF00"/>
              </a:buClr>
              <a:buSzPct val="122000"/>
              <a:buFont typeface="Helvetica"/>
              <a:buChar char="▸"/>
              <a:defRPr sz="2400" b="0" cap="none">
                <a:solidFill>
                  <a:srgbClr val="000000"/>
                </a:solidFill>
                <a:effectLst/>
              </a:defRPr>
            </a:pPr>
            <a:endParaRPr lang="en-GB" dirty="0">
              <a:latin typeface="Trebuchet MS" panose="020B0603020202020204" pitchFamily="34" charset="0"/>
            </a:endParaRPr>
          </a:p>
          <a:p>
            <a:pPr marL="431800" indent="-381000" algn="l">
              <a:lnSpc>
                <a:spcPct val="110000"/>
              </a:lnSpc>
              <a:spcBef>
                <a:spcPts val="100"/>
              </a:spcBef>
              <a:buClr>
                <a:srgbClr val="22BF00"/>
              </a:buClr>
              <a:buSzPct val="122000"/>
              <a:buFont typeface="Helvetica"/>
              <a:buChar char="▸"/>
              <a:defRPr sz="2400" b="0" cap="none">
                <a:solidFill>
                  <a:srgbClr val="000000"/>
                </a:solidFill>
                <a:effectLst/>
              </a:defRPr>
            </a:pPr>
            <a:endParaRPr lang="en-US" dirty="0">
              <a:latin typeface="Trebuchet MS" panose="020B0603020202020204" pitchFamily="34" charset="0"/>
            </a:endParaRPr>
          </a:p>
          <a:p>
            <a:pPr marL="431800" indent="-381000" algn="l">
              <a:lnSpc>
                <a:spcPct val="110000"/>
              </a:lnSpc>
              <a:spcBef>
                <a:spcPts val="100"/>
              </a:spcBef>
              <a:buClr>
                <a:srgbClr val="22BF00"/>
              </a:buClr>
              <a:buSzPct val="122000"/>
              <a:buFont typeface="Helvetica"/>
              <a:buChar char="▸"/>
              <a:defRPr sz="2400" b="0" cap="none">
                <a:solidFill>
                  <a:srgbClr val="000000"/>
                </a:solidFill>
                <a:effectLst/>
              </a:defRPr>
            </a:pPr>
            <a:endParaRPr dirty="0">
              <a:latin typeface="Trebuchet MS" panose="020B0603020202020204" pitchFamily="34" charset="0"/>
            </a:endParaRPr>
          </a:p>
        </p:txBody>
      </p:sp>
      <p:sp>
        <p:nvSpPr>
          <p:cNvPr id="258" name="TextBox 7"/>
          <p:cNvSpPr txBox="1"/>
          <p:nvPr/>
        </p:nvSpPr>
        <p:spPr>
          <a:xfrm>
            <a:off x="4330470" y="12546514"/>
            <a:ext cx="15723060" cy="4001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p>
            <a:pPr algn="l" defTabSz="2438400">
              <a:defRPr sz="2000" b="0" i="1">
                <a:solidFill>
                  <a:schemeClr val="accent6">
                    <a:lumOff val="-11176"/>
                  </a:schemeClr>
                </a:solidFill>
                <a:effectLst>
                  <a:outerShdw blurRad="12700" dist="12700" dir="18900000" rotWithShape="0">
                    <a:srgbClr val="000000">
                      <a:alpha val="24000"/>
                    </a:srgbClr>
                  </a:outerShdw>
                </a:effectLst>
              </a:defRPr>
            </a:pPr>
            <a:r>
              <a:rPr dirty="0"/>
              <a:t>Source:  Nigeria MTEF/FSP 2021-2023 | Lagos Bureau of Statistics, World Bank — Nigeria Development Update (NDU) | Meta-Frux Analysis</a:t>
            </a:r>
          </a:p>
        </p:txBody>
      </p:sp>
    </p:spTree>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wfBU.GzWx7JYAnO9kPCS6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15.7724/268.8649/51.84/51.52102"/>
</p:tagLst>
</file>

<file path=ppt/tags/tag108.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76.1163/268.8648/77.76/77.52"/>
</p:tagLst>
</file>

<file path=ppt/tags/tag10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asasas"/>
  <p:tag name="EE4P_AGENDAWIZARD_PROPERTIES" val="47.2363/54/206.64/206.3609"/>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asasasasa"/>
  <p:tag name="EE4P_AGENDAWIZARD_PROPERTIES" val="65.61362/157.5615/588.7731/189.037"/>
</p:tagLst>
</file>

<file path=ppt/tags/tag112.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65.59103/86.09071/54.06362/54.2126"/>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5/94.96071/730.5/0"/>
</p:tagLst>
</file>

<file path=ppt/tags/tag11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Agenda"/>
  <p:tag name="EE4P_AGENDAWIZARD_PROPERTIES" val="49.5/49.03937/566.1416/37.07858"/>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15.7724/268.8649/51.84/51.52102"/>
</p:tagLst>
</file>

<file path=ppt/tags/tag119.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76.1163/268.8648/77.76/77.52"/>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9Wi2RpoOh8MhP11nQUWNuQ"/>
</p:tagLst>
</file>

<file path=ppt/tags/tag12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asasas"/>
  <p:tag name="EE4P_AGENDAWIZARD_PROPERTIES" val="47.2363/54/206.64/206.3609"/>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Eins"/>
  <p:tag name="EE4P_AGENDAWIZARD_PROPERTIES" val="69.73212/210.082/616.5352/252.0493"/>
</p:tagLst>
</file>

<file path=ppt/tags/tag123.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69.73212/114.7876/72.21693/72.28346"/>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5/94.96055/730.5/0"/>
</p:tagLst>
</file>

<file path=ppt/tags/tag12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Agenda"/>
  <p:tag name="EE4P_AGENDAWIZARD_PROPERTIES" val="49.5/49.03929/566.1416/37.07858"/>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scTDpKbc9Fggf2Jqw2mh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4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42.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4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6xZu6yBBHgVIhcyZ6C8bZ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6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6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6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7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72.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7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1DycR12vuVGit5QPlfECE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QIVtVwhYyP6za_VHB02JH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0RFL48wgRbUV2br_Vjm6c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GMuxRE5eLx53od26G2pFp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kJSDcSLerZd1muQo4EUVd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pf.OMUoNOjWt.BVDFA3LZ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3NgDCeKpaXsrZmyuZ5sR9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QNRULdscFiZe9lagu85Ln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c1UpxmdAgPVbPhI9sPsyg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25Nw2mQqezRAy3OrH2.V8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MM556GX6W8PIiTAF_KIQ6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kUsQ3_in.WyzIelBw3Ro1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Ck_Yd0Rwz81GNMxtAkrC1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e.jjLNDPIUqK.YwgSs8_M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m2huOGgOo3KEnGzzt6QHe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74wx8zSz8P7s6YlQy5UZC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yIQCAdr8S0lM3UEU1fFPx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mlVLRG8a_svassTRKBLu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FfpIhtbuz3vGAzzjEunm.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YdtSYtZVbak2vSkEVE9Pt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4psAL3nnkVJ6aruhAZS4T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oWeVVYP7DXYdcVphoEMXd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uv.88cl6F6Ul1HjI6dY45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7nR.RBfuvqXyUqo3xyZrj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ZLnnd7Lvn2nvhv6InqZRM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fwc.v94vKLd3ADy3zL8oC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PMMRUom8LhxY67DRn4o0z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7x9aFfBhjFxudwkDrKxkP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UErVazoS6Lm5_79ofL_S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vT.fdGQhzkFB6b5BE28ST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sU.xcmtZkNw3LTdx0IN7_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Mg6.SSRqsY0hucVx166n0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mOUGLCvJPvoCmtmIkt_Il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3_WYG4IrFF1GN.z.ene4y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weSC6RgARaTTovUwJVnS5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Y8LlwuDNGWLQFZRklOxsL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UK1_lTTthr44DJ6esBW2R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VTy9PgfbPmPSOjV9YUki7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jj6CG2u_vDXHxl5oNZayw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IsWD62ei2SjlwgbGprx1T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dK4m7E_.Hpv33TakgQh9b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IhetJOwdROnIEyEmOnfFtw"/>
</p:tagLst>
</file>

<file path=ppt/theme/theme1.xml><?xml version="1.0" encoding="utf-8"?>
<a:theme xmlns:a="http://schemas.openxmlformats.org/drawingml/2006/main" name="White">
  <a:themeElements>
    <a:clrScheme name="Custom 1">
      <a:dk1>
        <a:srgbClr val="FFFFFF"/>
      </a:dk1>
      <a:lt1>
        <a:srgbClr val="1A77B9"/>
      </a:lt1>
      <a:dk2>
        <a:srgbClr val="A7A7A7"/>
      </a:dk2>
      <a:lt2>
        <a:srgbClr val="535353"/>
      </a:lt2>
      <a:accent1>
        <a:srgbClr val="FF0000"/>
      </a:accent1>
      <a:accent2>
        <a:srgbClr val="FFC000"/>
      </a:accent2>
      <a:accent3>
        <a:srgbClr val="1A77B9"/>
      </a:accent3>
      <a:accent4>
        <a:srgbClr val="002060"/>
      </a:accent4>
      <a:accent5>
        <a:srgbClr val="BFBFBF"/>
      </a:accent5>
      <a:accent6>
        <a:srgbClr val="8C8E91"/>
      </a:accent6>
      <a:hlink>
        <a:srgbClr val="0000FF"/>
      </a:hlink>
      <a:folHlink>
        <a:srgbClr val="FF00FF"/>
      </a:folHlink>
    </a:clrScheme>
    <a:fontScheme name="White">
      <a:majorFont>
        <a:latin typeface="Helvetica"/>
        <a:ea typeface="Helvetica"/>
        <a:cs typeface="Helvetica"/>
      </a:majorFont>
      <a:minorFont>
        <a:latin typeface="Helvetica Neue"/>
        <a:ea typeface="Helvetica Neue"/>
        <a:cs typeface="Helvetica Neue"/>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38100" tIns="38100" rIns="38100" bIns="38100" numCol="1" spcCol="38100" rtlCol="0" anchor="ctr">
        <a:spAutoFit/>
      </a:bodyPr>
      <a:lstStyle>
        <a:defPPr marL="0" marR="0" indent="0" algn="l" defTabSz="825500" rtl="0" fontAlgn="auto" latinLnBrk="0" hangingPunct="0">
          <a:lnSpc>
            <a:spcPct val="100000"/>
          </a:lnSpc>
          <a:spcBef>
            <a:spcPts val="0"/>
          </a:spcBef>
          <a:spcAft>
            <a:spcPts val="0"/>
          </a:spcAft>
          <a:buClrTx/>
          <a:buSzTx/>
          <a:buFontTx/>
          <a:buNone/>
          <a:tabLst/>
          <a:defRPr kumimoji="0" sz="2000" b="0" i="0" u="none" strike="noStrike" cap="none" spc="0" normalizeH="0" baseline="0">
            <a:ln>
              <a:noFill/>
            </a:ln>
            <a:solidFill>
              <a:srgbClr val="252D30"/>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ctr" defTabSz="825500" rtl="0" fontAlgn="auto" latinLnBrk="0" hangingPunct="0">
          <a:lnSpc>
            <a:spcPct val="100000"/>
          </a:lnSpc>
          <a:spcBef>
            <a:spcPts val="0"/>
          </a:spcBef>
          <a:spcAft>
            <a:spcPts val="0"/>
          </a:spcAft>
          <a:buClrTx/>
          <a:buSzTx/>
          <a:buFontTx/>
          <a:buNone/>
          <a:tabLst/>
          <a:defRPr kumimoji="0" sz="4200" b="1" i="0" u="none" strike="noStrike" cap="small" spc="0" normalizeH="0" baseline="0">
            <a:ln>
              <a:noFill/>
            </a:ln>
            <a:solidFill>
              <a:schemeClr val="accent3"/>
            </a:solidFill>
            <a:effectLst>
              <a:outerShdw blurRad="12700" dist="12700" dir="18900000" rotWithShape="0">
                <a:srgbClr val="000000">
                  <a:alpha val="40000"/>
                </a:srgbClr>
              </a:outerShdw>
            </a:effectLst>
            <a:uFillTx/>
            <a:latin typeface="Trebuchet MS"/>
            <a:ea typeface="Trebuchet MS"/>
            <a:cs typeface="Trebuchet MS"/>
            <a:sym typeface="Trebuchet MS"/>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Justice and Progress Grid Custom">
  <a:themeElements>
    <a:clrScheme name="Justice nad Progress">
      <a:dk1>
        <a:srgbClr val="000000"/>
      </a:dk1>
      <a:lt1>
        <a:sysClr val="window" lastClr="FFFFFF"/>
      </a:lt1>
      <a:dk2>
        <a:srgbClr val="002060"/>
      </a:dk2>
      <a:lt2>
        <a:srgbClr val="F2F2F2"/>
      </a:lt2>
      <a:accent1>
        <a:srgbClr val="000B22"/>
      </a:accent1>
      <a:accent2>
        <a:srgbClr val="001B50"/>
      </a:accent2>
      <a:accent3>
        <a:srgbClr val="EEA346"/>
      </a:accent3>
      <a:accent4>
        <a:srgbClr val="0156FF"/>
      </a:accent4>
      <a:accent5>
        <a:srgbClr val="7F7F7F"/>
      </a:accent5>
      <a:accent6>
        <a:srgbClr val="00B050"/>
      </a:accent6>
      <a:hlink>
        <a:srgbClr val="00B5E2"/>
      </a:hlink>
      <a:folHlink>
        <a:srgbClr val="005A71"/>
      </a:folHlink>
    </a:clrScheme>
    <a:fontScheme name="Custom 1">
      <a:majorFont>
        <a:latin typeface="Garamond"/>
        <a:ea typeface=""/>
        <a:cs typeface=""/>
      </a:majorFont>
      <a:minorFont>
        <a:latin typeface="Garamond"/>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flat" cmpd="sng" algn="ctr">
          <a:solidFill>
            <a:schemeClr val="tx2"/>
          </a:solidFill>
          <a:prstDash val="solid"/>
          <a:miter lim="800000"/>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cap="rnd">
          <a:noFill/>
          <a:prstDash val="sysDot"/>
        </a:ln>
      </a:spPr>
      <a:bodyPr wrap="square" lIns="0" tIns="0" rIns="0" bIns="0" rtlCol="0" anchor="ctr" anchorCtr="0">
        <a:noAutofit/>
      </a:bodyPr>
      <a:lstStyle>
        <a:defPPr algn="ctr">
          <a:defRPr sz="1200" dirty="0" err="1" smtClean="0"/>
        </a:defPPr>
      </a:lst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Letter.potx" id="{A1EBF4F3-C7E5-4A85-9933-83862322EE59}" vid="{4CE59DE5-7DBC-452B-97E5-0376318536E8}"/>
    </a:ext>
  </a:extLst>
</a:theme>
</file>

<file path=ppt/theme/theme3.xml><?xml version="1.0" encoding="utf-8"?>
<a:theme xmlns:a="http://schemas.openxmlformats.org/drawingml/2006/main" name="Contents Slide Master">
  <a:themeElements>
    <a:clrScheme name="ALLPPT-SOCCER SPORTS">
      <a:dk1>
        <a:sysClr val="windowText" lastClr="000000"/>
      </a:dk1>
      <a:lt1>
        <a:sysClr val="window" lastClr="FFFFFF"/>
      </a:lt1>
      <a:dk2>
        <a:srgbClr val="44546A"/>
      </a:dk2>
      <a:lt2>
        <a:srgbClr val="E7E6E6"/>
      </a:lt2>
      <a:accent1>
        <a:srgbClr val="5A9BD5"/>
      </a:accent1>
      <a:accent2>
        <a:srgbClr val="224A90"/>
      </a:accent2>
      <a:accent3>
        <a:srgbClr val="010A4F"/>
      </a:accent3>
      <a:accent4>
        <a:srgbClr val="5A9BD5"/>
      </a:accent4>
      <a:accent5>
        <a:srgbClr val="224A90"/>
      </a:accent5>
      <a:accent6>
        <a:srgbClr val="010A4F"/>
      </a:accent6>
      <a:hlink>
        <a:srgbClr val="262626"/>
      </a:hlink>
      <a:folHlink>
        <a:srgbClr val="262626"/>
      </a:folHlink>
    </a:clrScheme>
    <a:fontScheme name="ALLPPT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Section Break Slide Master">
  <a:themeElements>
    <a:clrScheme name="ALLPPT -COLOR 120">
      <a:dk1>
        <a:sysClr val="windowText" lastClr="000000"/>
      </a:dk1>
      <a:lt1>
        <a:sysClr val="window" lastClr="FFFFFF"/>
      </a:lt1>
      <a:dk2>
        <a:srgbClr val="1F497D"/>
      </a:dk2>
      <a:lt2>
        <a:srgbClr val="EEECE1"/>
      </a:lt2>
      <a:accent1>
        <a:srgbClr val="FAAF40"/>
      </a:accent1>
      <a:accent2>
        <a:srgbClr val="F07624"/>
      </a:accent2>
      <a:accent3>
        <a:srgbClr val="E62949"/>
      </a:accent3>
      <a:accent4>
        <a:srgbClr val="2A78BD"/>
      </a:accent4>
      <a:accent5>
        <a:srgbClr val="379153"/>
      </a:accent5>
      <a:accent6>
        <a:srgbClr val="595959"/>
      </a:accent6>
      <a:hlink>
        <a:srgbClr val="0000FF"/>
      </a:hlink>
      <a:folHlink>
        <a:srgbClr val="800080"/>
      </a:folHlink>
    </a:clrScheme>
    <a:fontScheme name="ALLPPT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6.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7.xml><?xml version="1.0" encoding="utf-8"?>
<a:theme xmlns:a="http://schemas.openxmlformats.org/drawingml/2006/main" name="White">
  <a:themeElements>
    <a:clrScheme name="White">
      <a:dk1>
        <a:srgbClr val="000000"/>
      </a:dk1>
      <a:lt1>
        <a:srgbClr val="FFFFFF"/>
      </a:lt1>
      <a:dk2>
        <a:srgbClr val="A7A7A7"/>
      </a:dk2>
      <a:lt2>
        <a:srgbClr val="535353"/>
      </a:lt2>
      <a:accent1>
        <a:srgbClr val="135D91"/>
      </a:accent1>
      <a:accent2>
        <a:srgbClr val="1668A1"/>
      </a:accent2>
      <a:accent3>
        <a:srgbClr val="1A77B9"/>
      </a:accent3>
      <a:accent4>
        <a:srgbClr val="1782CA"/>
      </a:accent4>
      <a:accent5>
        <a:srgbClr val="138BDB"/>
      </a:accent5>
      <a:accent6>
        <a:srgbClr val="8C8E91"/>
      </a:accent6>
      <a:hlink>
        <a:srgbClr val="0000FF"/>
      </a:hlink>
      <a:folHlink>
        <a:srgbClr val="FF00FF"/>
      </a:folHlink>
    </a:clrScheme>
    <a:fontScheme name="White">
      <a:majorFont>
        <a:latin typeface="Helvetica"/>
        <a:ea typeface="Helvetica"/>
        <a:cs typeface="Helvetica"/>
      </a:majorFont>
      <a:minorFont>
        <a:latin typeface="Helvetica Neue"/>
        <a:ea typeface="Helvetica Neue"/>
        <a:cs typeface="Helvetica Neue"/>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38100" tIns="38100" rIns="38100" bIns="38100" numCol="1" spcCol="38100" rtlCol="0" anchor="ctr">
        <a:spAutoFit/>
      </a:bodyPr>
      <a:lstStyle>
        <a:defPPr marL="0" marR="0" indent="0" algn="l" defTabSz="825500" rtl="0" fontAlgn="auto" latinLnBrk="0" hangingPunct="0">
          <a:lnSpc>
            <a:spcPct val="100000"/>
          </a:lnSpc>
          <a:spcBef>
            <a:spcPts val="0"/>
          </a:spcBef>
          <a:spcAft>
            <a:spcPts val="0"/>
          </a:spcAft>
          <a:buClrTx/>
          <a:buSzTx/>
          <a:buFontTx/>
          <a:buNone/>
          <a:tabLst/>
          <a:defRPr kumimoji="0" sz="2000" b="0" i="0" u="none" strike="noStrike" cap="none" spc="0" normalizeH="0" baseline="0">
            <a:ln>
              <a:noFill/>
            </a:ln>
            <a:solidFill>
              <a:srgbClr val="252D30"/>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ctr" defTabSz="825500" rtl="0" fontAlgn="auto" latinLnBrk="0" hangingPunct="0">
          <a:lnSpc>
            <a:spcPct val="100000"/>
          </a:lnSpc>
          <a:spcBef>
            <a:spcPts val="0"/>
          </a:spcBef>
          <a:spcAft>
            <a:spcPts val="0"/>
          </a:spcAft>
          <a:buClrTx/>
          <a:buSzTx/>
          <a:buFontTx/>
          <a:buNone/>
          <a:tabLst/>
          <a:defRPr kumimoji="0" sz="4200" b="1" i="0" u="none" strike="noStrike" cap="small" spc="0" normalizeH="0" baseline="0">
            <a:ln>
              <a:noFill/>
            </a:ln>
            <a:solidFill>
              <a:schemeClr val="accent3"/>
            </a:solidFill>
            <a:effectLst>
              <a:outerShdw blurRad="12700" dist="12700" dir="18900000" rotWithShape="0">
                <a:srgbClr val="000000">
                  <a:alpha val="40000"/>
                </a:srgbClr>
              </a:outerShdw>
            </a:effectLst>
            <a:uFillTx/>
            <a:latin typeface="Trebuchet MS"/>
            <a:ea typeface="Trebuchet MS"/>
            <a:cs typeface="Trebuchet MS"/>
            <a:sym typeface="Trebuchet MS"/>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534E6CCD-6118-49C7-B050-F9369928499A}">
  <we:reference id="wa104381063" version="1.0.0.1" store="en-US" storeType="OMEX"/>
  <we:alternateReferences>
    <we:reference id="wa104381063" version="1.0.0.1" store="wa104381063"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otalTime>22540</TotalTime>
  <Words>2393</Words>
  <Application>Microsoft Macintosh PowerPoint</Application>
  <PresentationFormat>Custom</PresentationFormat>
  <Paragraphs>896</Paragraphs>
  <Slides>23</Slides>
  <Notes>1</Notes>
  <HiddenSlides>0</HiddenSlides>
  <MMClips>0</MMClips>
  <ScaleCrop>false</ScaleCrop>
  <HeadingPairs>
    <vt:vector size="8" baseType="variant">
      <vt:variant>
        <vt:lpstr>Fonts Used</vt:lpstr>
      </vt:variant>
      <vt:variant>
        <vt:i4>11</vt:i4>
      </vt:variant>
      <vt:variant>
        <vt:lpstr>Theme</vt:lpstr>
      </vt:variant>
      <vt:variant>
        <vt:i4>6</vt:i4>
      </vt:variant>
      <vt:variant>
        <vt:lpstr>Embedded OLE Servers</vt:lpstr>
      </vt:variant>
      <vt:variant>
        <vt:i4>1</vt:i4>
      </vt:variant>
      <vt:variant>
        <vt:lpstr>Slide Titles</vt:lpstr>
      </vt:variant>
      <vt:variant>
        <vt:i4>23</vt:i4>
      </vt:variant>
    </vt:vector>
  </HeadingPairs>
  <TitlesOfParts>
    <vt:vector size="41" baseType="lpstr">
      <vt:lpstr>Arial</vt:lpstr>
      <vt:lpstr>Arial Nova Light</vt:lpstr>
      <vt:lpstr>Bookman Old Style</vt:lpstr>
      <vt:lpstr>Calibri</vt:lpstr>
      <vt:lpstr>Garamond</vt:lpstr>
      <vt:lpstr>Helvetica</vt:lpstr>
      <vt:lpstr>Helvetica Neue</vt:lpstr>
      <vt:lpstr>Helvetica Neue Medium</vt:lpstr>
      <vt:lpstr>Open Sans</vt:lpstr>
      <vt:lpstr>Trebuchet MS</vt:lpstr>
      <vt:lpstr>Wingdings</vt:lpstr>
      <vt:lpstr>White</vt:lpstr>
      <vt:lpstr>Justice and Progress Grid Custom</vt:lpstr>
      <vt:lpstr>Contents Slide Master</vt:lpstr>
      <vt:lpstr>Section Break Slide Master</vt:lpstr>
      <vt:lpstr>BCG Grid 16:9</vt:lpstr>
      <vt:lpstr>1_BCG Grid 16:9</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eta-Frux</dc:creator>
  <cp:lastModifiedBy>tumiadeyemi@gmail.com</cp:lastModifiedBy>
  <cp:revision>503</cp:revision>
  <cp:lastPrinted>2020-11-01T09:46:48Z</cp:lastPrinted>
  <dcterms:modified xsi:type="dcterms:W3CDTF">2021-05-10T06:46:47Z</dcterms:modified>
</cp:coreProperties>
</file>